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5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326" r:id="rId2"/>
    <p:sldId id="2147482746" r:id="rId3"/>
    <p:sldId id="2147482747" r:id="rId4"/>
    <p:sldId id="2147482737" r:id="rId5"/>
    <p:sldId id="2147482741" r:id="rId6"/>
    <p:sldId id="2147482782" r:id="rId7"/>
    <p:sldId id="2147482781" r:id="rId8"/>
  </p:sldIdLst>
  <p:sldSz cx="12192000" cy="6858000"/>
  <p:notesSz cx="6797675" cy="9926638"/>
  <p:custDataLst>
    <p:tags r:id="rId1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579D2EF-97FF-40D4-822C-0779ED0D318A}">
          <p14:sldIdLst>
            <p14:sldId id="326"/>
          </p14:sldIdLst>
        </p14:section>
        <p14:section name="Job Postings Analysis" id="{D819EEBB-5664-4F2E-8D08-8449B04310CC}">
          <p14:sldIdLst>
            <p14:sldId id="2147482746"/>
            <p14:sldId id="2147482747"/>
            <p14:sldId id="2147482737"/>
            <p14:sldId id="2147482741"/>
          </p14:sldIdLst>
        </p14:section>
        <p14:section name="Compensation Analysis" id="{A3F2A4F4-D139-4AA7-82E0-B6FFFDAEA2BC}">
          <p14:sldIdLst>
            <p14:sldId id="2147482782"/>
            <p14:sldId id="214748278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ECDB"/>
    <a:srgbClr val="F2DE8A"/>
    <a:srgbClr val="FFFFFF"/>
    <a:srgbClr val="5C5C5C"/>
    <a:srgbClr val="FAEEC3"/>
    <a:srgbClr val="E9CD49"/>
    <a:srgbClr val="C6AA3D"/>
    <a:srgbClr val="AB8933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C1C390-85C1-4AC0-97F8-A5CB8AB3B646}" v="172" dt="2025-05-29T12:23:06.958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552" autoAdjust="0"/>
  </p:normalViewPr>
  <p:slideViewPr>
    <p:cSldViewPr snapToGrid="0">
      <p:cViewPr varScale="1">
        <p:scale>
          <a:sx n="120" d="100"/>
          <a:sy n="120" d="100"/>
        </p:scale>
        <p:origin x="120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kka, Ayushmn" userId="ed96e7a4-3091-4468-b07d-b7e19a497eef" providerId="ADAL" clId="{3D443D03-7177-4442-8E00-B3882C6B4CAB}"/>
    <pc:docChg chg="custSel modMainMaster replTag">
      <pc:chgData name="Sikka, Ayushmn" userId="ed96e7a4-3091-4468-b07d-b7e19a497eef" providerId="ADAL" clId="{3D443D03-7177-4442-8E00-B3882C6B4CAB}" dt="2024-03-01T03:36:40.509" v="37"/>
      <pc:docMkLst>
        <pc:docMk/>
      </pc:docMkLst>
      <pc:sldMasterChg chg="addSp delSp modSp mod">
        <pc:chgData name="Sikka, Ayushmn" userId="ed96e7a4-3091-4468-b07d-b7e19a497eef" providerId="ADAL" clId="{3D443D03-7177-4442-8E00-B3882C6B4CAB}" dt="2024-03-01T03:36:40.509" v="37"/>
        <pc:sldMasterMkLst>
          <pc:docMk/>
          <pc:sldMasterMk cId="3729795247" sldId="2147483648"/>
        </pc:sldMasterMkLst>
        <pc:spChg chg="mod">
          <ac:chgData name="Sikka, Ayushmn" userId="ed96e7a4-3091-4468-b07d-b7e19a497eef" providerId="ADAL" clId="{3D443D03-7177-4442-8E00-B3882C6B4CAB}" dt="2024-03-01T03:36:40.152" v="0" actId="948"/>
          <ac:spMkLst>
            <pc:docMk/>
            <pc:sldMasterMk cId="3729795247" sldId="2147483648"/>
            <ac:spMk id="2" creationId="{00000000-0000-0000-0000-000000000000}"/>
          </ac:spMkLst>
        </pc:spChg>
        <pc:spChg chg="add del mod modVis">
          <ac:chgData name="Sikka, Ayushmn" userId="ed96e7a4-3091-4468-b07d-b7e19a497eef" providerId="ADAL" clId="{3D443D03-7177-4442-8E00-B3882C6B4CAB}" dt="2024-03-01T03:36:40.462" v="22"/>
          <ac:spMkLst>
            <pc:docMk/>
            <pc:sldMasterMk cId="3729795247" sldId="2147483648"/>
            <ac:spMk id="4" creationId="{5146056D-10ED-F520-49B9-C4A18C2ECB2E}"/>
          </ac:spMkLst>
        </pc:spChg>
        <pc:graphicFrameChg chg="add mod ord modVis replST">
          <ac:chgData name="Sikka, Ayushmn" userId="ed96e7a4-3091-4468-b07d-b7e19a497eef" providerId="ADAL" clId="{3D443D03-7177-4442-8E00-B3882C6B4CAB}" dt="2024-03-01T03:36:40.509" v="37"/>
          <ac:graphicFrameMkLst>
            <pc:docMk/>
            <pc:sldMasterMk cId="3729795247" sldId="2147483648"/>
            <ac:graphicFrameMk id="6" creationId="{C90B2E4D-1D35-8557-AA3F-F27E5C0B02F9}"/>
          </ac:graphicFrameMkLst>
        </pc:graphicFrameChg>
      </pc:sldMasterChg>
    </pc:docChg>
  </pc:docChgLst>
  <pc:docChgLst>
    <pc:chgData name="Chamaria, Shridhar" userId="8333b265-e735-45f8-a921-ce459cc3483a" providerId="ADAL" clId="{94C1C390-85C1-4AC0-97F8-A5CB8AB3B646}"/>
    <pc:docChg chg="undo custSel modSld">
      <pc:chgData name="Chamaria, Shridhar" userId="8333b265-e735-45f8-a921-ce459cc3483a" providerId="ADAL" clId="{94C1C390-85C1-4AC0-97F8-A5CB8AB3B646}" dt="2025-05-29T12:23:06.943" v="316"/>
      <pc:docMkLst>
        <pc:docMk/>
      </pc:docMkLst>
      <pc:sldChg chg="addSp delSp modSp mod">
        <pc:chgData name="Chamaria, Shridhar" userId="8333b265-e735-45f8-a921-ce459cc3483a" providerId="ADAL" clId="{94C1C390-85C1-4AC0-97F8-A5CB8AB3B646}" dt="2025-05-29T11:07:16.272" v="35" actId="478"/>
        <pc:sldMkLst>
          <pc:docMk/>
          <pc:sldMk cId="3147993296" sldId="326"/>
        </pc:sldMkLst>
        <pc:spChg chg="add del mod modVis">
          <ac:chgData name="Chamaria, Shridhar" userId="8333b265-e735-45f8-a921-ce459cc3483a" providerId="ADAL" clId="{94C1C390-85C1-4AC0-97F8-A5CB8AB3B646}" dt="2025-05-29T11:01:12.213" v="22"/>
          <ac:spMkLst>
            <pc:docMk/>
            <pc:sldMk cId="3147993296" sldId="326"/>
            <ac:spMk id="2" creationId="{B8E1077B-D800-76CF-B7D7-7C54B55AE481}"/>
          </ac:spMkLst>
        </pc:spChg>
        <pc:spChg chg="mod">
          <ac:chgData name="Chamaria, Shridhar" userId="8333b265-e735-45f8-a921-ce459cc3483a" providerId="ADAL" clId="{94C1C390-85C1-4AC0-97F8-A5CB8AB3B646}" dt="2025-05-29T11:01:31.903" v="27" actId="948"/>
          <ac:spMkLst>
            <pc:docMk/>
            <pc:sldMk cId="3147993296" sldId="326"/>
            <ac:spMk id="3" creationId="{FBD7D053-33B8-42F5-A1D9-DB27B4FBC23D}"/>
          </ac:spMkLst>
        </pc:spChg>
        <pc:spChg chg="add del">
          <ac:chgData name="Chamaria, Shridhar" userId="8333b265-e735-45f8-a921-ce459cc3483a" providerId="ADAL" clId="{94C1C390-85C1-4AC0-97F8-A5CB8AB3B646}" dt="2025-05-29T11:07:14.939" v="34" actId="478"/>
          <ac:spMkLst>
            <pc:docMk/>
            <pc:sldMk cId="3147993296" sldId="326"/>
            <ac:spMk id="4" creationId="{55B54901-05F0-4F8A-960B-F7DA1F3B54ED}"/>
          </ac:spMkLst>
        </pc:spChg>
        <pc:spChg chg="add del mod">
          <ac:chgData name="Chamaria, Shridhar" userId="8333b265-e735-45f8-a921-ce459cc3483a" providerId="ADAL" clId="{94C1C390-85C1-4AC0-97F8-A5CB8AB3B646}" dt="2025-05-29T11:07:16.272" v="35" actId="478"/>
          <ac:spMkLst>
            <pc:docMk/>
            <pc:sldMk cId="3147993296" sldId="326"/>
            <ac:spMk id="7" creationId="{6D11ADC4-7C45-250B-F5BD-5AECCF5C1151}"/>
          </ac:spMkLst>
        </pc:spChg>
        <pc:spChg chg="add del mod">
          <ac:chgData name="Chamaria, Shridhar" userId="8333b265-e735-45f8-a921-ce459cc3483a" providerId="ADAL" clId="{94C1C390-85C1-4AC0-97F8-A5CB8AB3B646}" dt="2025-05-29T11:01:41.177" v="33" actId="478"/>
          <ac:spMkLst>
            <pc:docMk/>
            <pc:sldMk cId="3147993296" sldId="326"/>
            <ac:spMk id="8" creationId="{80E3CB5C-117D-2A1E-DBA1-E121EB007BF9}"/>
          </ac:spMkLst>
        </pc:spChg>
        <pc:graphicFrameChg chg="mod">
          <ac:chgData name="Chamaria, Shridhar" userId="8333b265-e735-45f8-a921-ce459cc3483a" providerId="ADAL" clId="{94C1C390-85C1-4AC0-97F8-A5CB8AB3B646}" dt="2025-05-29T11:01:31.903" v="29"/>
          <ac:graphicFrameMkLst>
            <pc:docMk/>
            <pc:sldMk cId="3147993296" sldId="326"/>
            <ac:graphicFrameMk id="5" creationId="{3DD0EC7F-529A-2890-1775-B9DAC3AB6ED9}"/>
          </ac:graphicFrameMkLst>
        </pc:graphicFrameChg>
      </pc:sldChg>
      <pc:sldChg chg="delSp modSp mod">
        <pc:chgData name="Chamaria, Shridhar" userId="8333b265-e735-45f8-a921-ce459cc3483a" providerId="ADAL" clId="{94C1C390-85C1-4AC0-97F8-A5CB8AB3B646}" dt="2025-05-29T11:54:42.227" v="90"/>
        <pc:sldMkLst>
          <pc:docMk/>
          <pc:sldMk cId="428917263" sldId="2147482737"/>
        </pc:sldMkLst>
        <pc:spChg chg="mod">
          <ac:chgData name="Chamaria, Shridhar" userId="8333b265-e735-45f8-a921-ce459cc3483a" providerId="ADAL" clId="{94C1C390-85C1-4AC0-97F8-A5CB8AB3B646}" dt="2025-05-29T11:47:13.614" v="57"/>
          <ac:spMkLst>
            <pc:docMk/>
            <pc:sldMk cId="428917263" sldId="2147482737"/>
            <ac:spMk id="2" creationId="{00000000-0000-0000-0000-000000000000}"/>
          </ac:spMkLst>
        </pc:spChg>
        <pc:spChg chg="del mod">
          <ac:chgData name="Chamaria, Shridhar" userId="8333b265-e735-45f8-a921-ce459cc3483a" providerId="ADAL" clId="{94C1C390-85C1-4AC0-97F8-A5CB8AB3B646}" dt="2025-05-29T11:53:44.962" v="82" actId="478"/>
          <ac:spMkLst>
            <pc:docMk/>
            <pc:sldMk cId="428917263" sldId="2147482737"/>
            <ac:spMk id="21" creationId="{EB76E133-7490-E181-7D75-D613B139810D}"/>
          </ac:spMkLst>
        </pc:spChg>
        <pc:spChg chg="mod">
          <ac:chgData name="Chamaria, Shridhar" userId="8333b265-e735-45f8-a921-ce459cc3483a" providerId="ADAL" clId="{94C1C390-85C1-4AC0-97F8-A5CB8AB3B646}" dt="2025-05-29T11:54:42.227" v="90"/>
          <ac:spMkLst>
            <pc:docMk/>
            <pc:sldMk cId="428917263" sldId="2147482737"/>
            <ac:spMk id="34" creationId="{00000000-0000-0000-0000-000000000000}"/>
          </ac:spMkLst>
        </pc:spChg>
        <pc:picChg chg="del">
          <ac:chgData name="Chamaria, Shridhar" userId="8333b265-e735-45f8-a921-ce459cc3483a" providerId="ADAL" clId="{94C1C390-85C1-4AC0-97F8-A5CB8AB3B646}" dt="2025-05-29T11:53:44.962" v="82" actId="478"/>
          <ac:picMkLst>
            <pc:docMk/>
            <pc:sldMk cId="428917263" sldId="2147482737"/>
            <ac:picMk id="5" creationId="{7C7B5FD4-5E79-9417-CE7B-E3768242CFE7}"/>
          </ac:picMkLst>
        </pc:picChg>
        <pc:picChg chg="del">
          <ac:chgData name="Chamaria, Shridhar" userId="8333b265-e735-45f8-a921-ce459cc3483a" providerId="ADAL" clId="{94C1C390-85C1-4AC0-97F8-A5CB8AB3B646}" dt="2025-05-29T11:53:44.962" v="82" actId="478"/>
          <ac:picMkLst>
            <pc:docMk/>
            <pc:sldMk cId="428917263" sldId="2147482737"/>
            <ac:picMk id="7" creationId="{DD3A76A9-4128-5C83-AC47-2692672842DD}"/>
          </ac:picMkLst>
        </pc:picChg>
        <pc:picChg chg="del">
          <ac:chgData name="Chamaria, Shridhar" userId="8333b265-e735-45f8-a921-ce459cc3483a" providerId="ADAL" clId="{94C1C390-85C1-4AC0-97F8-A5CB8AB3B646}" dt="2025-05-29T11:53:44.962" v="82" actId="478"/>
          <ac:picMkLst>
            <pc:docMk/>
            <pc:sldMk cId="428917263" sldId="2147482737"/>
            <ac:picMk id="8" creationId="{E6A8A3ED-B5DB-EE4E-D34C-BB32865D86C7}"/>
          </ac:picMkLst>
        </pc:picChg>
        <pc:picChg chg="del">
          <ac:chgData name="Chamaria, Shridhar" userId="8333b265-e735-45f8-a921-ce459cc3483a" providerId="ADAL" clId="{94C1C390-85C1-4AC0-97F8-A5CB8AB3B646}" dt="2025-05-29T11:53:44.962" v="82" actId="478"/>
          <ac:picMkLst>
            <pc:docMk/>
            <pc:sldMk cId="428917263" sldId="2147482737"/>
            <ac:picMk id="9" creationId="{A04AFC1B-D6C0-BAF6-B13A-A91B32213B09}"/>
          </ac:picMkLst>
        </pc:picChg>
        <pc:picChg chg="del">
          <ac:chgData name="Chamaria, Shridhar" userId="8333b265-e735-45f8-a921-ce459cc3483a" providerId="ADAL" clId="{94C1C390-85C1-4AC0-97F8-A5CB8AB3B646}" dt="2025-05-29T11:53:44.962" v="82" actId="478"/>
          <ac:picMkLst>
            <pc:docMk/>
            <pc:sldMk cId="428917263" sldId="2147482737"/>
            <ac:picMk id="10" creationId="{AE57DAF3-20E6-CE77-69B9-50E0CA938D86}"/>
          </ac:picMkLst>
        </pc:picChg>
        <pc:picChg chg="del">
          <ac:chgData name="Chamaria, Shridhar" userId="8333b265-e735-45f8-a921-ce459cc3483a" providerId="ADAL" clId="{94C1C390-85C1-4AC0-97F8-A5CB8AB3B646}" dt="2025-05-29T11:53:44.962" v="82" actId="478"/>
          <ac:picMkLst>
            <pc:docMk/>
            <pc:sldMk cId="428917263" sldId="2147482737"/>
            <ac:picMk id="23" creationId="{09D60E86-1E1F-26D7-6C28-25751DD1C036}"/>
          </ac:picMkLst>
        </pc:picChg>
        <pc:picChg chg="del">
          <ac:chgData name="Chamaria, Shridhar" userId="8333b265-e735-45f8-a921-ce459cc3483a" providerId="ADAL" clId="{94C1C390-85C1-4AC0-97F8-A5CB8AB3B646}" dt="2025-05-29T11:53:44.962" v="82" actId="478"/>
          <ac:picMkLst>
            <pc:docMk/>
            <pc:sldMk cId="428917263" sldId="2147482737"/>
            <ac:picMk id="25" creationId="{705BED59-108E-AF8F-907D-810C277C9A73}"/>
          </ac:picMkLst>
        </pc:picChg>
      </pc:sldChg>
      <pc:sldChg chg="delSp modSp mod">
        <pc:chgData name="Chamaria, Shridhar" userId="8333b265-e735-45f8-a921-ce459cc3483a" providerId="ADAL" clId="{94C1C390-85C1-4AC0-97F8-A5CB8AB3B646}" dt="2025-05-29T11:59:14.864" v="99"/>
        <pc:sldMkLst>
          <pc:docMk/>
          <pc:sldMk cId="949524891" sldId="2147482741"/>
        </pc:sldMkLst>
        <pc:spChg chg="mod">
          <ac:chgData name="Chamaria, Shridhar" userId="8333b265-e735-45f8-a921-ce459cc3483a" providerId="ADAL" clId="{94C1C390-85C1-4AC0-97F8-A5CB8AB3B646}" dt="2025-05-29T11:47:13.614" v="57"/>
          <ac:spMkLst>
            <pc:docMk/>
            <pc:sldMk cId="949524891" sldId="2147482741"/>
            <ac:spMk id="2" creationId="{00000000-0000-0000-0000-000000000000}"/>
          </ac:spMkLst>
        </pc:spChg>
        <pc:spChg chg="del mod">
          <ac:chgData name="Chamaria, Shridhar" userId="8333b265-e735-45f8-a921-ce459cc3483a" providerId="ADAL" clId="{94C1C390-85C1-4AC0-97F8-A5CB8AB3B646}" dt="2025-05-29T11:58:56.714" v="95" actId="478"/>
          <ac:spMkLst>
            <pc:docMk/>
            <pc:sldMk cId="949524891" sldId="2147482741"/>
            <ac:spMk id="33" creationId="{5270BBA3-9F76-D293-69CC-CD5699B90452}"/>
          </ac:spMkLst>
        </pc:spChg>
        <pc:spChg chg="mod">
          <ac:chgData name="Chamaria, Shridhar" userId="8333b265-e735-45f8-a921-ce459cc3483a" providerId="ADAL" clId="{94C1C390-85C1-4AC0-97F8-A5CB8AB3B646}" dt="2025-05-29T11:59:14.864" v="99"/>
          <ac:spMkLst>
            <pc:docMk/>
            <pc:sldMk cId="949524891" sldId="2147482741"/>
            <ac:spMk id="34" creationId="{00000000-0000-0000-0000-000000000000}"/>
          </ac:spMkLst>
        </pc:spChg>
        <pc:picChg chg="del">
          <ac:chgData name="Chamaria, Shridhar" userId="8333b265-e735-45f8-a921-ce459cc3483a" providerId="ADAL" clId="{94C1C390-85C1-4AC0-97F8-A5CB8AB3B646}" dt="2025-05-29T11:58:56.714" v="95" actId="478"/>
          <ac:picMkLst>
            <pc:docMk/>
            <pc:sldMk cId="949524891" sldId="2147482741"/>
            <ac:picMk id="28" creationId="{7BAA36BF-CA03-7FE1-99C7-C37FF1942F80}"/>
          </ac:picMkLst>
        </pc:picChg>
        <pc:picChg chg="del">
          <ac:chgData name="Chamaria, Shridhar" userId="8333b265-e735-45f8-a921-ce459cc3483a" providerId="ADAL" clId="{94C1C390-85C1-4AC0-97F8-A5CB8AB3B646}" dt="2025-05-29T11:58:56.714" v="95" actId="478"/>
          <ac:picMkLst>
            <pc:docMk/>
            <pc:sldMk cId="949524891" sldId="2147482741"/>
            <ac:picMk id="29" creationId="{37428E92-F56D-34E7-84A5-609D56CAD091}"/>
          </ac:picMkLst>
        </pc:picChg>
        <pc:picChg chg="del">
          <ac:chgData name="Chamaria, Shridhar" userId="8333b265-e735-45f8-a921-ce459cc3483a" providerId="ADAL" clId="{94C1C390-85C1-4AC0-97F8-A5CB8AB3B646}" dt="2025-05-29T11:58:56.714" v="95" actId="478"/>
          <ac:picMkLst>
            <pc:docMk/>
            <pc:sldMk cId="949524891" sldId="2147482741"/>
            <ac:picMk id="30" creationId="{CBC7E508-FC0B-187C-E62F-E4DB39F14943}"/>
          </ac:picMkLst>
        </pc:picChg>
        <pc:picChg chg="del">
          <ac:chgData name="Chamaria, Shridhar" userId="8333b265-e735-45f8-a921-ce459cc3483a" providerId="ADAL" clId="{94C1C390-85C1-4AC0-97F8-A5CB8AB3B646}" dt="2025-05-29T11:58:56.714" v="95" actId="478"/>
          <ac:picMkLst>
            <pc:docMk/>
            <pc:sldMk cId="949524891" sldId="2147482741"/>
            <ac:picMk id="32" creationId="{7DBB2646-BBC4-96C2-8152-DE4E0B7E20CA}"/>
          </ac:picMkLst>
        </pc:picChg>
        <pc:picChg chg="del">
          <ac:chgData name="Chamaria, Shridhar" userId="8333b265-e735-45f8-a921-ce459cc3483a" providerId="ADAL" clId="{94C1C390-85C1-4AC0-97F8-A5CB8AB3B646}" dt="2025-05-29T11:58:56.714" v="95" actId="478"/>
          <ac:picMkLst>
            <pc:docMk/>
            <pc:sldMk cId="949524891" sldId="2147482741"/>
            <ac:picMk id="35" creationId="{FAB7FC20-F133-8250-7565-39D5E946DEE3}"/>
          </ac:picMkLst>
        </pc:picChg>
        <pc:picChg chg="del">
          <ac:chgData name="Chamaria, Shridhar" userId="8333b265-e735-45f8-a921-ce459cc3483a" providerId="ADAL" clId="{94C1C390-85C1-4AC0-97F8-A5CB8AB3B646}" dt="2025-05-29T11:58:56.714" v="95" actId="478"/>
          <ac:picMkLst>
            <pc:docMk/>
            <pc:sldMk cId="949524891" sldId="2147482741"/>
            <ac:picMk id="40" creationId="{15D32E2F-BD89-7975-3E7D-3FD7E43E9FD2}"/>
          </ac:picMkLst>
        </pc:picChg>
      </pc:sldChg>
      <pc:sldChg chg="delSp modSp mod">
        <pc:chgData name="Chamaria, Shridhar" userId="8333b265-e735-45f8-a921-ce459cc3483a" providerId="ADAL" clId="{94C1C390-85C1-4AC0-97F8-A5CB8AB3B646}" dt="2025-05-29T11:46:40.161" v="56"/>
        <pc:sldMkLst>
          <pc:docMk/>
          <pc:sldMk cId="1605365227" sldId="2147482746"/>
        </pc:sldMkLst>
        <pc:spChg chg="mod">
          <ac:chgData name="Chamaria, Shridhar" userId="8333b265-e735-45f8-a921-ce459cc3483a" providerId="ADAL" clId="{94C1C390-85C1-4AC0-97F8-A5CB8AB3B646}" dt="2025-05-29T11:46:40.161" v="56"/>
          <ac:spMkLst>
            <pc:docMk/>
            <pc:sldMk cId="1605365227" sldId="2147482746"/>
            <ac:spMk id="12" creationId="{8B4C8C31-82B0-B7A5-701D-FB67D7B32FCC}"/>
          </ac:spMkLst>
        </pc:spChg>
        <pc:spChg chg="del mod">
          <ac:chgData name="Chamaria, Shridhar" userId="8333b265-e735-45f8-a921-ce459cc3483a" providerId="ADAL" clId="{94C1C390-85C1-4AC0-97F8-A5CB8AB3B646}" dt="2025-05-29T11:46:20.696" v="53" actId="478"/>
          <ac:spMkLst>
            <pc:docMk/>
            <pc:sldMk cId="1605365227" sldId="2147482746"/>
            <ac:spMk id="23" creationId="{15830456-DFD9-FF7D-F744-8196416F4E9F}"/>
          </ac:spMkLst>
        </pc:sp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13" creationId="{3EB1856E-4DBF-E213-CE84-7348CF223CCC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14" creationId="{191E7273-57E5-3F0B-326A-2A9C5182A001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17" creationId="{37ADF68C-5BC9-5F49-6369-081075861B32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19" creationId="{11991248-F72F-D4A1-009F-F375B3398ABE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21" creationId="{B69125F5-CDFE-C26D-8049-C8DA2A7314A3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22" creationId="{3B2771D0-B27F-4622-0DCB-9BC1BA81B6E9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36" creationId="{22F4651D-9E72-B0F5-E4ED-AC81BA4569AE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38" creationId="{601F4BEC-CFFB-73EA-9C1F-A6A2C56A2C5A}"/>
          </ac:picMkLst>
        </pc:picChg>
        <pc:picChg chg="del">
          <ac:chgData name="Chamaria, Shridhar" userId="8333b265-e735-45f8-a921-ce459cc3483a" providerId="ADAL" clId="{94C1C390-85C1-4AC0-97F8-A5CB8AB3B646}" dt="2025-05-29T11:46:20.696" v="53" actId="478"/>
          <ac:picMkLst>
            <pc:docMk/>
            <pc:sldMk cId="1605365227" sldId="2147482746"/>
            <ac:picMk id="54" creationId="{B821CF7E-B3FC-2C5F-24A7-7DECDBC8BF0F}"/>
          </ac:picMkLst>
        </pc:picChg>
      </pc:sldChg>
      <pc:sldChg chg="delSp modSp mod">
        <pc:chgData name="Chamaria, Shridhar" userId="8333b265-e735-45f8-a921-ce459cc3483a" providerId="ADAL" clId="{94C1C390-85C1-4AC0-97F8-A5CB8AB3B646}" dt="2025-05-29T11:52:01.996" v="77"/>
        <pc:sldMkLst>
          <pc:docMk/>
          <pc:sldMk cId="1710926425" sldId="2147482747"/>
        </pc:sldMkLst>
        <pc:spChg chg="mod">
          <ac:chgData name="Chamaria, Shridhar" userId="8333b265-e735-45f8-a921-ce459cc3483a" providerId="ADAL" clId="{94C1C390-85C1-4AC0-97F8-A5CB8AB3B646}" dt="2025-05-29T11:47:13.614" v="57"/>
          <ac:spMkLst>
            <pc:docMk/>
            <pc:sldMk cId="1710926425" sldId="2147482747"/>
            <ac:spMk id="2" creationId="{00000000-0000-0000-0000-000000000000}"/>
          </ac:spMkLst>
        </pc:spChg>
        <pc:spChg chg="mod">
          <ac:chgData name="Chamaria, Shridhar" userId="8333b265-e735-45f8-a921-ce459cc3483a" providerId="ADAL" clId="{94C1C390-85C1-4AC0-97F8-A5CB8AB3B646}" dt="2025-05-29T11:50:29.587" v="70"/>
          <ac:spMkLst>
            <pc:docMk/>
            <pc:sldMk cId="1710926425" sldId="2147482747"/>
            <ac:spMk id="41" creationId="{0E8CBC40-69EC-4C6D-89AF-673340620316}"/>
          </ac:spMkLst>
        </pc:spChg>
        <pc:spChg chg="mod">
          <ac:chgData name="Chamaria, Shridhar" userId="8333b265-e735-45f8-a921-ce459cc3483a" providerId="ADAL" clId="{94C1C390-85C1-4AC0-97F8-A5CB8AB3B646}" dt="2025-05-29T11:49:22.868" v="66" actId="20577"/>
          <ac:spMkLst>
            <pc:docMk/>
            <pc:sldMk cId="1710926425" sldId="2147482747"/>
            <ac:spMk id="51" creationId="{C7C292A6-30D0-4A22-8B98-FA88FEBBCAFF}"/>
          </ac:spMkLst>
        </pc:spChg>
        <pc:spChg chg="mod">
          <ac:chgData name="Chamaria, Shridhar" userId="8333b265-e735-45f8-a921-ce459cc3483a" providerId="ADAL" clId="{94C1C390-85C1-4AC0-97F8-A5CB8AB3B646}" dt="2025-05-29T11:47:56.246" v="59"/>
          <ac:spMkLst>
            <pc:docMk/>
            <pc:sldMk cId="1710926425" sldId="2147482747"/>
            <ac:spMk id="58" creationId="{A10B9E1B-35A6-41FE-9A6D-C737C6EA780A}"/>
          </ac:spMkLst>
        </pc:spChg>
        <pc:spChg chg="mod">
          <ac:chgData name="Chamaria, Shridhar" userId="8333b265-e735-45f8-a921-ce459cc3483a" providerId="ADAL" clId="{94C1C390-85C1-4AC0-97F8-A5CB8AB3B646}" dt="2025-05-29T11:52:01.996" v="77"/>
          <ac:spMkLst>
            <pc:docMk/>
            <pc:sldMk cId="1710926425" sldId="2147482747"/>
            <ac:spMk id="65" creationId="{23ADF47C-756B-4635-9F16-F4510E3749A6}"/>
          </ac:spMkLst>
        </pc:spChg>
        <pc:spChg chg="del mod">
          <ac:chgData name="Chamaria, Shridhar" userId="8333b265-e735-45f8-a921-ce459cc3483a" providerId="ADAL" clId="{94C1C390-85C1-4AC0-97F8-A5CB8AB3B646}" dt="2025-05-29T11:51:45.496" v="74" actId="478"/>
          <ac:spMkLst>
            <pc:docMk/>
            <pc:sldMk cId="1710926425" sldId="2147482747"/>
            <ac:spMk id="92" creationId="{60A08641-84C0-478C-B58B-337395C4D61C}"/>
          </ac:spMkLst>
        </pc:spChg>
        <pc:picChg chg="del">
          <ac:chgData name="Chamaria, Shridhar" userId="8333b265-e735-45f8-a921-ce459cc3483a" providerId="ADAL" clId="{94C1C390-85C1-4AC0-97F8-A5CB8AB3B646}" dt="2025-05-29T11:49:46.794" v="67" actId="478"/>
          <ac:picMkLst>
            <pc:docMk/>
            <pc:sldMk cId="1710926425" sldId="2147482747"/>
            <ac:picMk id="88" creationId="{3D4EA770-421E-4C08-8449-8FCE1B5097D2}"/>
          </ac:picMkLst>
        </pc:picChg>
        <pc:picChg chg="del">
          <ac:chgData name="Chamaria, Shridhar" userId="8333b265-e735-45f8-a921-ce459cc3483a" providerId="ADAL" clId="{94C1C390-85C1-4AC0-97F8-A5CB8AB3B646}" dt="2025-05-29T11:49:46.794" v="67" actId="478"/>
          <ac:picMkLst>
            <pc:docMk/>
            <pc:sldMk cId="1710926425" sldId="2147482747"/>
            <ac:picMk id="89" creationId="{DF3EF67B-A26F-4BEF-84B3-6833946B0486}"/>
          </ac:picMkLst>
        </pc:picChg>
        <pc:picChg chg="del">
          <ac:chgData name="Chamaria, Shridhar" userId="8333b265-e735-45f8-a921-ce459cc3483a" providerId="ADAL" clId="{94C1C390-85C1-4AC0-97F8-A5CB8AB3B646}" dt="2025-05-29T11:49:46.794" v="67" actId="478"/>
          <ac:picMkLst>
            <pc:docMk/>
            <pc:sldMk cId="1710926425" sldId="2147482747"/>
            <ac:picMk id="90" creationId="{A85592E0-20E5-46F9-B75D-02D92458439C}"/>
          </ac:picMkLst>
        </pc:picChg>
        <pc:picChg chg="del">
          <ac:chgData name="Chamaria, Shridhar" userId="8333b265-e735-45f8-a921-ce459cc3483a" providerId="ADAL" clId="{94C1C390-85C1-4AC0-97F8-A5CB8AB3B646}" dt="2025-05-29T11:51:45.496" v="74" actId="478"/>
          <ac:picMkLst>
            <pc:docMk/>
            <pc:sldMk cId="1710926425" sldId="2147482747"/>
            <ac:picMk id="91" creationId="{046C9F29-6251-4D63-97CB-C061AA2B019D}"/>
          </ac:picMkLst>
        </pc:picChg>
        <pc:picChg chg="del">
          <ac:chgData name="Chamaria, Shridhar" userId="8333b265-e735-45f8-a921-ce459cc3483a" providerId="ADAL" clId="{94C1C390-85C1-4AC0-97F8-A5CB8AB3B646}" dt="2025-05-29T11:51:45.496" v="74" actId="478"/>
          <ac:picMkLst>
            <pc:docMk/>
            <pc:sldMk cId="1710926425" sldId="2147482747"/>
            <ac:picMk id="93" creationId="{AE903E4F-460A-4FF3-A58E-E928C2CCF629}"/>
          </ac:picMkLst>
        </pc:picChg>
        <pc:picChg chg="del">
          <ac:chgData name="Chamaria, Shridhar" userId="8333b265-e735-45f8-a921-ce459cc3483a" providerId="ADAL" clId="{94C1C390-85C1-4AC0-97F8-A5CB8AB3B646}" dt="2025-05-29T11:51:45.496" v="74" actId="478"/>
          <ac:picMkLst>
            <pc:docMk/>
            <pc:sldMk cId="1710926425" sldId="2147482747"/>
            <ac:picMk id="94" creationId="{BFF68B28-27A1-4F1B-8BB2-911225408EC3}"/>
          </ac:picMkLst>
        </pc:picChg>
        <pc:picChg chg="del">
          <ac:chgData name="Chamaria, Shridhar" userId="8333b265-e735-45f8-a921-ce459cc3483a" providerId="ADAL" clId="{94C1C390-85C1-4AC0-97F8-A5CB8AB3B646}" dt="2025-05-29T11:51:45.496" v="74" actId="478"/>
          <ac:picMkLst>
            <pc:docMk/>
            <pc:sldMk cId="1710926425" sldId="2147482747"/>
            <ac:picMk id="95" creationId="{0C9BF141-4563-4D27-A9E2-2D4F65AE3560}"/>
          </ac:picMkLst>
        </pc:picChg>
        <pc:picChg chg="del">
          <ac:chgData name="Chamaria, Shridhar" userId="8333b265-e735-45f8-a921-ce459cc3483a" providerId="ADAL" clId="{94C1C390-85C1-4AC0-97F8-A5CB8AB3B646}" dt="2025-05-29T11:51:45.496" v="74" actId="478"/>
          <ac:picMkLst>
            <pc:docMk/>
            <pc:sldMk cId="1710926425" sldId="2147482747"/>
            <ac:picMk id="96" creationId="{820D8466-3593-42FA-96DC-8E6709283B68}"/>
          </ac:picMkLst>
        </pc:picChg>
        <pc:picChg chg="del">
          <ac:chgData name="Chamaria, Shridhar" userId="8333b265-e735-45f8-a921-ce459cc3483a" providerId="ADAL" clId="{94C1C390-85C1-4AC0-97F8-A5CB8AB3B646}" dt="2025-05-29T11:51:45.496" v="74" actId="478"/>
          <ac:picMkLst>
            <pc:docMk/>
            <pc:sldMk cId="1710926425" sldId="2147482747"/>
            <ac:picMk id="97" creationId="{A2462C40-EC94-4115-9836-420C92B09492}"/>
          </ac:picMkLst>
        </pc:picChg>
      </pc:sldChg>
      <pc:sldChg chg="addSp delSp modSp mod">
        <pc:chgData name="Chamaria, Shridhar" userId="8333b265-e735-45f8-a921-ce459cc3483a" providerId="ADAL" clId="{94C1C390-85C1-4AC0-97F8-A5CB8AB3B646}" dt="2025-05-29T12:22:37.422" v="313"/>
        <pc:sldMkLst>
          <pc:docMk/>
          <pc:sldMk cId="3410295180" sldId="2147482781"/>
        </pc:sldMkLst>
        <pc:spChg chg="mod">
          <ac:chgData name="Chamaria, Shridhar" userId="8333b265-e735-45f8-a921-ce459cc3483a" providerId="ADAL" clId="{94C1C390-85C1-4AC0-97F8-A5CB8AB3B646}" dt="2025-05-29T12:08:04.432" v="244" actId="948"/>
          <ac:spMkLst>
            <pc:docMk/>
            <pc:sldMk cId="3410295180" sldId="2147482781"/>
            <ac:spMk id="2" creationId="{00000000-0000-0000-0000-000000000000}"/>
          </ac:spMkLst>
        </pc:spChg>
        <pc:spChg chg="add del mod modVis">
          <ac:chgData name="Chamaria, Shridhar" userId="8333b265-e735-45f8-a921-ce459cc3483a" providerId="ADAL" clId="{94C1C390-85C1-4AC0-97F8-A5CB8AB3B646}" dt="2025-05-29T12:08:02.401" v="220"/>
          <ac:spMkLst>
            <pc:docMk/>
            <pc:sldMk cId="3410295180" sldId="2147482781"/>
            <ac:spMk id="5" creationId="{CF8461AF-2025-0391-7509-0A4F446F5D60}"/>
          </ac:spMkLst>
        </pc:spChg>
        <pc:spChg chg="mod">
          <ac:chgData name="Chamaria, Shridhar" userId="8333b265-e735-45f8-a921-ce459cc3483a" providerId="ADAL" clId="{94C1C390-85C1-4AC0-97F8-A5CB8AB3B646}" dt="2025-05-29T12:19:56.451" v="301" actId="12789"/>
          <ac:spMkLst>
            <pc:docMk/>
            <pc:sldMk cId="3410295180" sldId="2147482781"/>
            <ac:spMk id="13" creationId="{A5E8B563-7911-9CB9-BFF3-0DF90271FFCC}"/>
          </ac:spMkLst>
        </pc:spChg>
        <pc:spChg chg="mod">
          <ac:chgData name="Chamaria, Shridhar" userId="8333b265-e735-45f8-a921-ce459cc3483a" providerId="ADAL" clId="{94C1C390-85C1-4AC0-97F8-A5CB8AB3B646}" dt="2025-05-29T12:19:56.451" v="301" actId="12789"/>
          <ac:spMkLst>
            <pc:docMk/>
            <pc:sldMk cId="3410295180" sldId="2147482781"/>
            <ac:spMk id="16" creationId="{B5BCEFDC-149A-69F0-1BDC-8180A3F19892}"/>
          </ac:spMkLst>
        </pc:spChg>
        <pc:spChg chg="mod">
          <ac:chgData name="Chamaria, Shridhar" userId="8333b265-e735-45f8-a921-ce459cc3483a" providerId="ADAL" clId="{94C1C390-85C1-4AC0-97F8-A5CB8AB3B646}" dt="2025-05-29T12:19:56.451" v="301" actId="12789"/>
          <ac:spMkLst>
            <pc:docMk/>
            <pc:sldMk cId="3410295180" sldId="2147482781"/>
            <ac:spMk id="18" creationId="{DC5D6BFB-3A39-54DC-B23A-7F1AC173267F}"/>
          </ac:spMkLst>
        </pc:spChg>
        <pc:spChg chg="mod">
          <ac:chgData name="Chamaria, Shridhar" userId="8333b265-e735-45f8-a921-ce459cc3483a" providerId="ADAL" clId="{94C1C390-85C1-4AC0-97F8-A5CB8AB3B646}" dt="2025-05-29T12:19:56.451" v="301" actId="12789"/>
          <ac:spMkLst>
            <pc:docMk/>
            <pc:sldMk cId="3410295180" sldId="2147482781"/>
            <ac:spMk id="19" creationId="{49D10823-5105-83C8-4B84-23DE0F14AC12}"/>
          </ac:spMkLst>
        </pc:spChg>
        <pc:spChg chg="add mod">
          <ac:chgData name="Chamaria, Shridhar" userId="8333b265-e735-45f8-a921-ce459cc3483a" providerId="ADAL" clId="{94C1C390-85C1-4AC0-97F8-A5CB8AB3B646}" dt="2025-05-29T12:20:16.933" v="302" actId="113"/>
          <ac:spMkLst>
            <pc:docMk/>
            <pc:sldMk cId="3410295180" sldId="2147482781"/>
            <ac:spMk id="31" creationId="{01683CA3-86FC-CA27-B8AB-A5C4AF564C0E}"/>
          </ac:spMkLst>
        </pc:spChg>
        <pc:spChg chg="add mod">
          <ac:chgData name="Chamaria, Shridhar" userId="8333b265-e735-45f8-a921-ce459cc3483a" providerId="ADAL" clId="{94C1C390-85C1-4AC0-97F8-A5CB8AB3B646}" dt="2025-05-29T12:20:18.539" v="303" actId="113"/>
          <ac:spMkLst>
            <pc:docMk/>
            <pc:sldMk cId="3410295180" sldId="2147482781"/>
            <ac:spMk id="32" creationId="{1571A9FE-6027-AF3A-2363-D98E50861526}"/>
          </ac:spMkLst>
        </pc:spChg>
        <pc:spChg chg="add mod">
          <ac:chgData name="Chamaria, Shridhar" userId="8333b265-e735-45f8-a921-ce459cc3483a" providerId="ADAL" clId="{94C1C390-85C1-4AC0-97F8-A5CB8AB3B646}" dt="2025-05-29T12:20:20.160" v="304" actId="113"/>
          <ac:spMkLst>
            <pc:docMk/>
            <pc:sldMk cId="3410295180" sldId="2147482781"/>
            <ac:spMk id="33" creationId="{0AE6E1E3-399B-A1DE-AEC1-AD7C05804A2A}"/>
          </ac:spMkLst>
        </pc:spChg>
        <pc:spChg chg="mod">
          <ac:chgData name="Chamaria, Shridhar" userId="8333b265-e735-45f8-a921-ce459cc3483a" providerId="ADAL" clId="{94C1C390-85C1-4AC0-97F8-A5CB8AB3B646}" dt="2025-05-29T12:22:37.422" v="313"/>
          <ac:spMkLst>
            <pc:docMk/>
            <pc:sldMk cId="3410295180" sldId="2147482781"/>
            <ac:spMk id="44" creationId="{4F46BDC2-C31D-AB1F-B4E0-23EAD21C40B0}"/>
          </ac:spMkLst>
        </pc:spChg>
        <pc:graphicFrameChg chg="add mod ord modVis">
          <ac:chgData name="Chamaria, Shridhar" userId="8333b265-e735-45f8-a921-ce459cc3483a" providerId="ADAL" clId="{94C1C390-85C1-4AC0-97F8-A5CB8AB3B646}" dt="2025-05-29T12:08:04.432" v="246"/>
          <ac:graphicFrameMkLst>
            <pc:docMk/>
            <pc:sldMk cId="3410295180" sldId="2147482781"/>
            <ac:graphicFrameMk id="30" creationId="{871A09C2-F456-CC12-8CC7-67E56CF45274}"/>
          </ac:graphicFrameMkLst>
        </pc:graphicFrameChg>
        <pc:picChg chg="del mod">
          <ac:chgData name="Chamaria, Shridhar" userId="8333b265-e735-45f8-a921-ce459cc3483a" providerId="ADAL" clId="{94C1C390-85C1-4AC0-97F8-A5CB8AB3B646}" dt="2025-05-29T12:16:18.169" v="278" actId="478"/>
          <ac:picMkLst>
            <pc:docMk/>
            <pc:sldMk cId="3410295180" sldId="2147482781"/>
            <ac:picMk id="54" creationId="{7B13F259-3B5E-76B8-7659-032EF56A4D9D}"/>
          </ac:picMkLst>
        </pc:picChg>
      </pc:sldChg>
      <pc:sldChg chg="addSp delSp modSp mod">
        <pc:chgData name="Chamaria, Shridhar" userId="8333b265-e735-45f8-a921-ce459cc3483a" providerId="ADAL" clId="{94C1C390-85C1-4AC0-97F8-A5CB8AB3B646}" dt="2025-05-29T12:23:06.943" v="316"/>
        <pc:sldMkLst>
          <pc:docMk/>
          <pc:sldMk cId="2983029108" sldId="2147482782"/>
        </pc:sldMkLst>
        <pc:spChg chg="mod">
          <ac:chgData name="Chamaria, Shridhar" userId="8333b265-e735-45f8-a921-ce459cc3483a" providerId="ADAL" clId="{94C1C390-85C1-4AC0-97F8-A5CB8AB3B646}" dt="2025-05-29T12:01:02.833" v="106" actId="948"/>
          <ac:spMkLst>
            <pc:docMk/>
            <pc:sldMk cId="2983029108" sldId="2147482782"/>
            <ac:spMk id="2" creationId="{00000000-0000-0000-0000-000000000000}"/>
          </ac:spMkLst>
        </pc:spChg>
        <pc:spChg chg="mod">
          <ac:chgData name="Chamaria, Shridhar" userId="8333b265-e735-45f8-a921-ce459cc3483a" providerId="ADAL" clId="{94C1C390-85C1-4AC0-97F8-A5CB8AB3B646}" dt="2025-05-29T12:23:06.943" v="316"/>
          <ac:spMkLst>
            <pc:docMk/>
            <pc:sldMk cId="2983029108" sldId="2147482782"/>
            <ac:spMk id="5" creationId="{00000000-0000-0000-0000-000000000000}"/>
          </ac:spMkLst>
        </pc:spChg>
        <pc:spChg chg="add del mod modVis">
          <ac:chgData name="Chamaria, Shridhar" userId="8333b265-e735-45f8-a921-ce459cc3483a" providerId="ADAL" clId="{94C1C390-85C1-4AC0-97F8-A5CB8AB3B646}" dt="2025-05-29T12:01:02.849" v="126"/>
          <ac:spMkLst>
            <pc:docMk/>
            <pc:sldMk cId="2983029108" sldId="2147482782"/>
            <ac:spMk id="8" creationId="{109A4BE9-6494-2ECA-B713-8F5950AB56EB}"/>
          </ac:spMkLst>
        </pc:spChg>
        <pc:spChg chg="add mod">
          <ac:chgData name="Chamaria, Shridhar" userId="8333b265-e735-45f8-a921-ce459cc3483a" providerId="ADAL" clId="{94C1C390-85C1-4AC0-97F8-A5CB8AB3B646}" dt="2025-05-29T12:04:49.129" v="170" actId="1076"/>
          <ac:spMkLst>
            <pc:docMk/>
            <pc:sldMk cId="2983029108" sldId="2147482782"/>
            <ac:spMk id="12" creationId="{ACC2D8D3-6D3E-7E71-19C8-DFBBD1A28FC0}"/>
          </ac:spMkLst>
        </pc:spChg>
        <pc:spChg chg="add mod">
          <ac:chgData name="Chamaria, Shridhar" userId="8333b265-e735-45f8-a921-ce459cc3483a" providerId="ADAL" clId="{94C1C390-85C1-4AC0-97F8-A5CB8AB3B646}" dt="2025-05-29T12:05:01.284" v="176" actId="20577"/>
          <ac:spMkLst>
            <pc:docMk/>
            <pc:sldMk cId="2983029108" sldId="2147482782"/>
            <ac:spMk id="13" creationId="{E7A14ADA-7544-9337-9727-11B285CD22D2}"/>
          </ac:spMkLst>
        </pc:spChg>
        <pc:spChg chg="add mod">
          <ac:chgData name="Chamaria, Shridhar" userId="8333b265-e735-45f8-a921-ce459cc3483a" providerId="ADAL" clId="{94C1C390-85C1-4AC0-97F8-A5CB8AB3B646}" dt="2025-05-29T12:05:22.192" v="182" actId="20577"/>
          <ac:spMkLst>
            <pc:docMk/>
            <pc:sldMk cId="2983029108" sldId="2147482782"/>
            <ac:spMk id="14" creationId="{2FC8FF2A-EB06-87F4-86CB-57C7B56F1EB2}"/>
          </ac:spMkLst>
        </pc:spChg>
        <pc:spChg chg="add mod">
          <ac:chgData name="Chamaria, Shridhar" userId="8333b265-e735-45f8-a921-ce459cc3483a" providerId="ADAL" clId="{94C1C390-85C1-4AC0-97F8-A5CB8AB3B646}" dt="2025-05-29T12:05:35.004" v="186" actId="1076"/>
          <ac:spMkLst>
            <pc:docMk/>
            <pc:sldMk cId="2983029108" sldId="2147482782"/>
            <ac:spMk id="15" creationId="{45D15C79-0175-656A-CFC8-4748C7AC3744}"/>
          </ac:spMkLst>
        </pc:spChg>
        <pc:spChg chg="add mod">
          <ac:chgData name="Chamaria, Shridhar" userId="8333b265-e735-45f8-a921-ce459cc3483a" providerId="ADAL" clId="{94C1C390-85C1-4AC0-97F8-A5CB8AB3B646}" dt="2025-05-29T12:05:47.559" v="192" actId="20577"/>
          <ac:spMkLst>
            <pc:docMk/>
            <pc:sldMk cId="2983029108" sldId="2147482782"/>
            <ac:spMk id="16" creationId="{D11BBF19-D998-20DA-02F8-4CB7E4003453}"/>
          </ac:spMkLst>
        </pc:spChg>
        <pc:spChg chg="add mod">
          <ac:chgData name="Chamaria, Shridhar" userId="8333b265-e735-45f8-a921-ce459cc3483a" providerId="ADAL" clId="{94C1C390-85C1-4AC0-97F8-A5CB8AB3B646}" dt="2025-05-29T12:06:06.379" v="198" actId="20577"/>
          <ac:spMkLst>
            <pc:docMk/>
            <pc:sldMk cId="2983029108" sldId="2147482782"/>
            <ac:spMk id="17" creationId="{FBC20BD4-1B83-3C2A-FE9E-9ACB456FD04A}"/>
          </ac:spMkLst>
        </pc:spChg>
        <pc:spChg chg="add del mod">
          <ac:chgData name="Chamaria, Shridhar" userId="8333b265-e735-45f8-a921-ce459cc3483a" providerId="ADAL" clId="{94C1C390-85C1-4AC0-97F8-A5CB8AB3B646}" dt="2025-05-29T12:03:57.555" v="157" actId="20577"/>
          <ac:spMkLst>
            <pc:docMk/>
            <pc:sldMk cId="2983029108" sldId="2147482782"/>
            <ac:spMk id="34" creationId="{A81B505D-E1FF-9CB9-A68D-C2F76A002FB1}"/>
          </ac:spMkLst>
        </pc:spChg>
        <pc:graphicFrameChg chg="add mod ord modVis">
          <ac:chgData name="Chamaria, Shridhar" userId="8333b265-e735-45f8-a921-ce459cc3483a" providerId="ADAL" clId="{94C1C390-85C1-4AC0-97F8-A5CB8AB3B646}" dt="2025-05-29T12:01:02.885" v="140"/>
          <ac:graphicFrameMkLst>
            <pc:docMk/>
            <pc:sldMk cId="2983029108" sldId="2147482782"/>
            <ac:graphicFrameMk id="9" creationId="{D7726215-D1C4-6F1A-6E9B-492CB55CA35E}"/>
          </ac:graphicFrameMkLst>
        </pc:graphicFrameChg>
        <pc:picChg chg="add del">
          <ac:chgData name="Chamaria, Shridhar" userId="8333b265-e735-45f8-a921-ce459cc3483a" providerId="ADAL" clId="{94C1C390-85C1-4AC0-97F8-A5CB8AB3B646}" dt="2025-05-29T12:04:46.968" v="169" actId="478"/>
          <ac:picMkLst>
            <pc:docMk/>
            <pc:sldMk cId="2983029108" sldId="2147482782"/>
            <ac:picMk id="18" creationId="{E63D01C6-C733-2A4E-E991-3F6ABB3CD852}"/>
          </ac:picMkLst>
        </pc:picChg>
        <pc:picChg chg="add del">
          <ac:chgData name="Chamaria, Shridhar" userId="8333b265-e735-45f8-a921-ce459cc3483a" providerId="ADAL" clId="{94C1C390-85C1-4AC0-97F8-A5CB8AB3B646}" dt="2025-05-29T12:04:57.276" v="173" actId="478"/>
          <ac:picMkLst>
            <pc:docMk/>
            <pc:sldMk cId="2983029108" sldId="2147482782"/>
            <ac:picMk id="19" creationId="{370298FE-C07C-9455-A61C-CDC798C1AE22}"/>
          </ac:picMkLst>
        </pc:picChg>
        <pc:picChg chg="add del">
          <ac:chgData name="Chamaria, Shridhar" userId="8333b265-e735-45f8-a921-ce459cc3483a" providerId="ADAL" clId="{94C1C390-85C1-4AC0-97F8-A5CB8AB3B646}" dt="2025-05-29T12:05:08.478" v="179" actId="478"/>
          <ac:picMkLst>
            <pc:docMk/>
            <pc:sldMk cId="2983029108" sldId="2147482782"/>
            <ac:picMk id="20" creationId="{BF10CBD9-F4FB-460D-EC9C-04F2EB675AB3}"/>
          </ac:picMkLst>
        </pc:picChg>
        <pc:picChg chg="add del">
          <ac:chgData name="Chamaria, Shridhar" userId="8333b265-e735-45f8-a921-ce459cc3483a" providerId="ADAL" clId="{94C1C390-85C1-4AC0-97F8-A5CB8AB3B646}" dt="2025-05-29T12:05:41.141" v="188" actId="478"/>
          <ac:picMkLst>
            <pc:docMk/>
            <pc:sldMk cId="2983029108" sldId="2147482782"/>
            <ac:picMk id="21" creationId="{45ADFF73-5037-E908-BDC6-910BE7113A52}"/>
          </ac:picMkLst>
        </pc:picChg>
        <pc:picChg chg="add del">
          <ac:chgData name="Chamaria, Shridhar" userId="8333b265-e735-45f8-a921-ce459cc3483a" providerId="ADAL" clId="{94C1C390-85C1-4AC0-97F8-A5CB8AB3B646}" dt="2025-05-29T12:05:50.542" v="193" actId="478"/>
          <ac:picMkLst>
            <pc:docMk/>
            <pc:sldMk cId="2983029108" sldId="2147482782"/>
            <ac:picMk id="22" creationId="{92741513-C569-701C-FCF5-C44A26708935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1ED704-4185-4AC7-97BE-7725AB3F580A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FBBF6A-8EEC-4D6C-B4AE-21A9C5ABBD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752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EEBD66-DF86-4345-8B6F-B41E5D14686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609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wrap="square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2E00FB-2EE5-47C9-A49B-BD1653453EE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9270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95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7897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079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90B2E4D-1D35-8557-AA3F-F27E5C0B02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27085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0B2E4D-1D35-8557-AA3F-F27E5C0B0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Sample Output_Job Postings and ..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CN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notesSlide" Target="../notesSlides/notesSlide1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image" Target="../media/image8.svg"/><Relationship Id="rId47" Type="http://schemas.openxmlformats.org/officeDocument/2006/relationships/image" Target="../media/image13.svg"/><Relationship Id="rId50" Type="http://schemas.openxmlformats.org/officeDocument/2006/relationships/image" Target="../media/image16.png"/><Relationship Id="rId55" Type="http://schemas.openxmlformats.org/officeDocument/2006/relationships/image" Target="../media/image21.svg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9" Type="http://schemas.openxmlformats.org/officeDocument/2006/relationships/tags" Target="../tags/tag34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image" Target="../media/image6.emf"/><Relationship Id="rId45" Type="http://schemas.openxmlformats.org/officeDocument/2006/relationships/image" Target="../media/image11.png"/><Relationship Id="rId53" Type="http://schemas.openxmlformats.org/officeDocument/2006/relationships/image" Target="../media/image19.svg"/><Relationship Id="rId5" Type="http://schemas.openxmlformats.org/officeDocument/2006/relationships/tags" Target="../tags/tag10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image" Target="../media/image9.png"/><Relationship Id="rId48" Type="http://schemas.openxmlformats.org/officeDocument/2006/relationships/image" Target="../media/image14.png"/><Relationship Id="rId56" Type="http://schemas.openxmlformats.org/officeDocument/2006/relationships/image" Target="../media/image22.png"/><Relationship Id="rId8" Type="http://schemas.openxmlformats.org/officeDocument/2006/relationships/tags" Target="../tags/tag13.xml"/><Relationship Id="rId51" Type="http://schemas.openxmlformats.org/officeDocument/2006/relationships/image" Target="../media/image17.svg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slideLayout" Target="../slideLayouts/slideLayout2.xml"/><Relationship Id="rId46" Type="http://schemas.openxmlformats.org/officeDocument/2006/relationships/image" Target="../media/image12.png"/><Relationship Id="rId20" Type="http://schemas.openxmlformats.org/officeDocument/2006/relationships/tags" Target="../tags/tag25.xml"/><Relationship Id="rId41" Type="http://schemas.openxmlformats.org/officeDocument/2006/relationships/image" Target="../media/image7.png"/><Relationship Id="rId54" Type="http://schemas.openxmlformats.org/officeDocument/2006/relationships/image" Target="../media/image20.pn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image" Target="../media/image15.svg"/><Relationship Id="rId57" Type="http://schemas.openxmlformats.org/officeDocument/2006/relationships/image" Target="../media/image23.svg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image" Target="../media/image10.svg"/><Relationship Id="rId52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25.em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24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4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11.png"/><Relationship Id="rId4" Type="http://schemas.openxmlformats.org/officeDocument/2006/relationships/tags" Target="../tags/tag55.xml"/><Relationship Id="rId9" Type="http://schemas.openxmlformats.org/officeDocument/2006/relationships/image" Target="../media/image2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6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11.png"/><Relationship Id="rId4" Type="http://schemas.openxmlformats.org/officeDocument/2006/relationships/tags" Target="../tags/tag61.xml"/><Relationship Id="rId9" Type="http://schemas.openxmlformats.org/officeDocument/2006/relationships/image" Target="../media/image27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9.jpeg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28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1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67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30.emf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image" Target="../media/image29.jpeg"/><Relationship Id="rId5" Type="http://schemas.openxmlformats.org/officeDocument/2006/relationships/tags" Target="../tags/tag75.xml"/><Relationship Id="rId10" Type="http://schemas.openxmlformats.org/officeDocument/2006/relationships/image" Target="../media/image1.emf"/><Relationship Id="rId4" Type="http://schemas.openxmlformats.org/officeDocument/2006/relationships/tags" Target="../tags/tag74.xml"/><Relationship Id="rId9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D0EC7F-529A-2890-1775-B9DAC3AB6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897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0EC7F-529A-2890-1775-B9DAC3AB6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Workforce Deck 5 – Job Postings and Compensation analysis</a:t>
            </a:r>
          </a:p>
        </p:txBody>
      </p:sp>
      <p:pic>
        <p:nvPicPr>
          <p:cNvPr id="6" name="btfpPhotoGeneric378912">
            <a:extLst>
              <a:ext uri="{FF2B5EF4-FFF2-40B4-BE49-F238E27FC236}">
                <a16:creationId xmlns:a16="http://schemas.microsoft.com/office/drawing/2014/main" id="{980B812D-9F52-4FF3-9730-D388769EB08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86" t="24423" r="13938" b="51090"/>
          <a:stretch/>
        </p:blipFill>
        <p:spPr>
          <a:xfrm>
            <a:off x="8624595" y="3220135"/>
            <a:ext cx="3232474" cy="1469358"/>
          </a:xfrm>
          <a:prstGeom prst="rect">
            <a:avLst/>
          </a:prstGeom>
        </p:spPr>
      </p:pic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kkRwkDcp+/igEYEdfT5g1iHzqw9xWxC6/XrxaTpFcf+LPDbhIpU0rd1jP5XauCtGSeZEpYDYel10iZFCvTOvAg4bN+K8WqQBDtilZI0DKSXguWnwGN+0+pDV5WhM1CVprs+XuZ6iPreudxzCewNNHgnKHG1cicPOEkGMqZI2W5geExxMeQYrsHAVEZ81eAncDa4IHuRWzxQt/YsfmxxWqDKx+ipcNWVDLymQJuxbcSEeADcX62cvb+S8BuhjMRjZooAEQS/U0tNmwHJXIBq6mMU1RPxxq71CT3yH29043a5b2AU8QzzOKxZBpSvC/+TrNHs22X80mEUfWSolCCuitnMvUwBitZbunkrK9n4FuWLTSf8YnNWQhpq7jzRwq++Q2y1EYzNQY6q6XZvuMj1AoUs34jCks7V362Ub6MfSQqMYqJYwvDzme5a7LLkOBe04XfkAiz6wX5+LK99SffHI78tEWA1ojDxD1Cu3bRKeG2/tZyNPLwdzr2CsmwehdDuR+qdE4RuxbbTWYIBQTaJLi9wnPAqudIb/wGnIdQ9iuDviQ0/VJ5aksujFwMQtp1KZV2hyVpRWDWPbtFKUMMXJyh5owGdZne+3M0/SShswf6g5ufBuFjunAZv9eEa2zUYfYjo+YePOXJVT1MDg1VrpRZ9NhG0a4ZEuBm9c8BRc9RDwXeDEvMnhEZwIhoNUOz6xtdKg6z9jQO2VYW+W4640Cn/aNNKOtYwxyEzoPd23mugRxiBptvHwORmTDK8xN4Z6CbmGX5wRxCSdvVL25nYvqZYCRznjJ9vw3ztCL3RR7Ip9TxLFWYEviALLXqHCdOV8dMk9rp94W0lOTUoIDsJrw92jJARzdZxezSk0i9N5rm74VX9yZoUnVLovj1G4rsCQDIyDo0yyhY63URddJnT997jOZ88mXKPoz+Ol+yadNno7hSe6JMz2jMVeQzDlxCl9fIjONVb32nh4D2wueOotY0pTLcIWYlc8jIrQvZkCz2JnfCq86T9k/SZZDcvgq3897OsjrdLy80kvUcp2gUL/AWj77Ca+6+H2hkjJUwdoRzP+0gKPhs7aSN20R4uHNcYAhpBh4AUmBkAdJTkPqg1vos2+2N0EcPC5uF3NiiyH962i2UgvjXZq0M8WADYHUuOpnq4cfndhd8RF4g6e5Cdtl1fAxzVRovB4IgW4Kzw8qMoNhxBKMCQgztYWZWrNzhImhNgfQ59wj6/bHcyMQj80w7tyujxGLHkc2ns/gn32BqR1rb6t5Y8xpBr05XfRpWh/mtrfrWph8HRJigWUG7Enq5W01bx/lRXR1apt0RUhnXrJ/uAo8uv1rtUwxEDGAT23k0uun341ndwiIk45g3INdfNbrPY5V6NyKwYjTDLykYL98vihX1YZqiuqwI4eFHoUL8ZiJYgRhHc00kEn51yxxyavtC/QMvF/PGhAIjMi08gK+S2rhyyvMp98rVE6JefxbmZF/MCC5h3/zar2+epMOa1lN+L/gwWqd/6tN/gOEqWNHJ6rCoWzKHQJXmDH6po7khmwzhOPG3izeLMsoEpf0pkvKf/x0TJM9Cf2kMQrnEyLNfPFr8RNdytxZQJJjk5oWnStsKWFw4/ikHhGaNaZA7S9OnmKGsPmoui9pLeT8vU6yzxi2E4TNEIGDzQgWugJcAJwNFXHaC/seW1N4Q+oBkptWzkmuY0pi7ap3MRwGNNuMdy3JqVImakLA0cnuEbCo5YQvRq5ut42ockI3oqNz4h7YMwdR9c/inoLIiiQNeFldqeaLMi6ms3ozjvfH79tStlYWEhw+y5b/5h1ivkZCtiiMpCByFEI2EvXkBWCru4zSKeuB2e/kV1H7KeL0ME+kmjbjxEx8lgVp/Y4niY9JpXYuPuhldWjrAU/KCY5sXrzjhI+ZY5DCuevXhR9+2tknYtoVYj7roH0oC8l+opp/pG6jazFJk+B9/o3WiOf215FwYQxo39MdTthjHHQkGnfC64KgpYSHW6fS5Ji9YXt8iYU3fijOvJYy9EMBOwNUDFuH0m01tqPaNnYkEg4IdWl4vGhhHFSqgTpmP3VEsW+7NluwRDGqG/TGzFI7J11VuMjn60zLDbTY0CSvxyWoX8NWl4Nheq0xJDjFVF0i+MSWY6g1sjlLbVjxMsDTFMvBw4MN+mY1Hx0JqxJ3MZH+gLa6qkGxDQ6RnD8tzLt4HXEfalP/LDIH3CDD8XrrN8qxtKQbDsTnZnjtaE6NxKcrrw1L9/vb0ieBjPVQXyFsDhYYne0Q/sRoZ/Ka8eBl7A23Dt5ZJbsZAj/TehDRgXE38TQof3jgRyKD3esRGwsPpND8E52SqG1Fi5m1GXn8RB9Bv7sTzK3fcrN/RfOwHO2S/LdhPHOkoTbrHHyusZS46Dxl7yFRgHGMJxarlYSDU5rJRsa0GUcihzXstetwEkq7bTjO1N1aOhmKKvoDBHdl1FPmrxBylJW8fAMWWtyd6vWEb1xF1Axlg3djE1eKwyfJnHUm72fuXwE00hPu0ZtH8b7wfgPdIsf2Pj5XlSgcJb6hDx9BlCr/TzLHYFVTRm7QraIlhv9BGLY3jnTGlwUB8T1vPs0YIk/c8edOwMkfjAzjvcJFevwR/Twp3tf/Fsd6XEOOMcwqHkmtk7ux+Y+JaZo0uz+nCcYSNtGnVGTOmjppFKFA5PEkw4ZOfUq4nmF7wYmVeFiebYDu9bapgjBsLtZcpn1JeMc4NLu0C2aX16vIlGQdiTOGg77wuWDz6wC3t81DQd/7qFCGuXAsbwjYGY3UBHlSMTN98/a+r7+GqedS5yXDnZR1zJxQdPdzcPyQdI7TNcWinb3JzqJ0cddcHFTu86YRzWTWhP/jsHevqi7LWYc582ZrKF/8/eqsR2ULLOzX80OFG9GRwgnr1RCj0gG1tKr+pLhkQG+tqNeBqOwY/G/pwUslf7I3D3tN3W1tCpphBlD5E/2FB0KzCHzmLXoFBSyHf2aGtfbTMG0i5WcRuuxt0HnwzLyn5QejesP1Hg+KwsoWr+pR8R1gzKZtrpbAAuG+wbtGQr/hYZ/oWMVoJZR9QXinDlkEUma7yHFonEmDSjmZbn5BL3oL+Tpm3Efaf9EXdYChvwuQURxxqeDT60NBUaervsoxjK31PmlwkzHVUg91ziCfEb+wfIyALSv21ODqE/Gc5hhyBCRbf+FSYlnZGEoEowjZIgRdMtJm6BcFxtbiON0RotMvBYZUn5LCZiKSbs4y79jpvbsVV+mqjXGOqJZ0D7ByC8meEd6RQ9nqpNsiJis0tvQ7vh4eKitSLieXDY2n/Z4mYCVBAXC9DTTP6njvBnQNOORhDYy5E1OkYeRpyPMjSt8eC2CCBEIpCA9gKAIhRm/NQ8IXHnt0CBqUmcfDeeOUWps0hLXzFGFASa87CA/SKSHLiW2T53S9LiNjrJ0luTgpuHc2Nla/Kw5BfQOlJ6PMEu0mCj7eVRmaNoZIANt/Q3Meu33Sw5GiPW5Lv7o18x5WRmvQ6gxu/a2Oftc4biVZi+XeC9PAR1/zoYwabv1lCU61b+raWfxZU7gnwdOM/eA01McmChE0x5M8LR+1YxXBIO2tiwgtdoiJWuJ7Nit2dPTmSbNP7aFbc4keii42xMdLX10ubTB6MAuctS4IWVaJtu2MFzuwg+9WJIwIoc0fD04b77pv3KXeeasIauFkt4SWzX58l0jOgaviYOJ+IYwDaiqxi1zV1TRqjSVwogL3epL7Z1oYQ4wA5X4eQAPG/nzPQh3nQnkjBYnyPp4IttNE7Dxq7Z9Px/0oPOtwc7cxwnXqccGYicLZBu+dU/9h7igRwa9VSGgU88VGMFhIMv/u+Ej71o1SHIMw7YRqcTj6CI6zn0lxXH0PVDQdHLvELAtFHQli7NsUwWHaHqdjBrmz8F3oJtP5HuLtOk8VhIchLSezqfYJ8RlwQ4RewT6YsHvE17fTZpN7prv4iN83SVvCCy4cfrX6BDntgp+kfPuD8J0QleV/FzN4vp3R1yDYzjz3r5xq53Vq3urbx2F8vlV9KlGlxhPBinJrDCN/I6gfdUEIbqKu4Up7cvFcfuabZd7lpjgbymUUbyqKyeQSVKNs/egOuMRk7PAZ2xDeI4axMN4vwzeeYI3MEIHVHG1To8cH7NJwBUSmFMEiuV8MeVkwYUvtgNY0yj9cYXRSSbjmRFNfwNyfq1fpa/STEkvVX7io2WDD4Z5juyvxKgw1kAisdeFW6zyphCzvkx6Qd3CibsUt1eyk/+yKx4jBGdQwQCP78y6M+9Y+jpiKB2pXeuvykzTbhhAUcm+jash12JhHL7kAsu1QQyTjM8Becu+5BQLOIn4OMQVXhT0meBuvgB5/h2hO1rTM6hiFC+i9sea0Dsi1+6XTkOdUFfDtLJm5V7rj/bxJnnMOSRTQErIvLPKQgpHH9CqH4M/aatjFt2XxMyojx7YrRqMLijwDpGTbMoLnvjylt+ZdOTCHolIgk1e6hvWDI7nQl2/iWdzcreRy/KWe0/RYm3J7SPCYmVBApDhnIFtoFwzAWlmAI/2kK1aJS8TwyRRDTZZ5oqPK0GlpgeWGks0cHpkSMAdzTGNhLUSri6HjWdJSTEgoh3U7AUqaYV7ethhU8ZIu0vAVGlk+wpLot0na8AKy3VS+qZ8xzIfRSKUkd7f/OsGpuU/keLywhdQ0F0bnNqBZe4VRseBXfiuxscg1Hn251vdB+q21o5QHbuKmSrluv2uOWmmDr+FoWPF3XUBZlDzqtKqIRbkCB7MbhDoinPymzs+vtCpKJUqE8NpnxFt6sROUffDZInxe8lTY9Wc1jHzxwZZaF9uMbCC0KmTHr9cO+tIqjm33g8D53ElcQA5s+kPkcRLgQGLRP6uVroAu6tkU6D1G+PeToXvkubH3ah2uR7oJg2KhLCGzoa7zMSc8IcfVpMaz2MLejGtb2Q4vSS4ZQz5ORlN3YpiemAKDlK3gYctJb+Pq6HZXz0LtXyVmICy5x+7sXG2dkSqYl6s2Upc18yGprOqWUX9uYwddaFty82gxPKw1PJa/fJpPR5nicvFAW2SJrV0rIFU0zLAayS2YlbBCV8LgsQfWBQZ7x2fOWeN3/8Ye2H3FtoKK/k1bFHEoHBq5+1EQVClAyW/pclxt2FP9cLlfdzVJUViHEhzsCuh8Qn7RCbatwkQ7pRjCFRq8Hkruy9RDDExNkQTeZJrP3IU0W59HLEStGD84XFxQsi8pWdQKgeI3UtEjl4SK6xu6h0PU25lOjeCKyzBdzR8OhalSO8rR7j66OhtLUcxcmS4jvV1nNdHQivCMWNzcMRA20OYcUfjY7yX4Pg/0mLha2v0I3YSpJkqp1u5OJLfgf9X9bMfF60T8oZgjoVE0U3+vj05DU3wWyHhe4bbaMrxc31ot7Ea5fmYGLOZL8nXzvsEyUlWJMT4ekkZ1GVrq5obEQr5dSpt5QJ4QbRBiGwolY+Prv2QXINuYMw9DoATRxMwuuwhjU/26/Ft6Y8L24Ge8R1fU/QTddBcJz1QtVZUmDivhwyq11rfO06ViDicx0P5GZdsT3c8xVCUGrSFzP64tWhytTR/iVxVNDSbXwO7glCyKaqu21bhNQpD+rn7bRNFLss1GMZitQFoJ0DO+KOr+oxxMLoOdLkSMpFMOzrea6py7yvS4TNvlj8T5hZsyJI+P+FF898mjwWF6/O9QUiidAWc9hRiOaMNsT+8RQ2eHbYHSrBoci+crie/2JZT2NeKoc/j0+evjH0dXgZ3WgYCAmVYCKciQGtvvIgwom7D8tr+63eIdUpUUJ8cViZegHwK7NaPybzvGasuyBqWhEuFqmSUnkGN0824T6uEMsFQJ21/fwtIj4z0dSi7ZhH4TNSUNd60tL1WpJ7H6yVc8kGR8y59qARrfFJFf/ol2NvNmHAGFfMwd3oCv+OrzI8ZwxcEwcF9ZnB3dfIO9CAf37CMDUvs8cP4CwPZS5NPmxrq1xzjx4CX9b+9O0Stzk29CJcsTjItbgzrvIR4oZLX27FoyjC71V+wBR+QnJF/Op/CXqsxJmVGqiyu0d8fi+iz7exfrXuxFbqgIT3pzsDH41XjWGU1OxBDA/31gIjMS53pKTMg1wBZ6HvEHqNqhBTc6AcgDapvdztgjieyp2JAtKtLUE3/NIdq9mqhvgE+77uYolrSn6PC/jlKXLz49rvvstRwMLCP41YpIXmDZFleXj9n15OP1Ns2VBnIh307nsN2DIWKs8C/dg34ea+EzdDLRE4VL/LoxAOoMaUufaiS7u2tEytR4PnEv5qnarnshuYEBfHfuNxm6ddoU8ToFxDbdw/ifZU1zoO2hVYQ+3/b1Gkr1rqYUqNYC0LchtsQy1gaxJV+jOu1XBCBgXyEMPL/Pt14CPGF7lQy3TpF1qpx0QLc7ZNffjxfwnOuQMAa1ZwQJUTEHVSaIZD09NHsQZilkhLHx4DlnbpXUy6HPvhjpdLJio2+XDX3N/65fTRb+MP+rMm6j1A2hmxyBUP7l0cxbcYhHJWaBorSq1g0EUzWaD3wNUXUF2BVUOTTNl59IL3KQUU1+4ZsQCxI/QzZRIXhQ6XqTyG6rv29piGiGWCKAwlGb5Q+RctSLQSmVc+J1HwNR15WIqEzxONc1qGmTg3n8Z3kMkuNwgBDrKbaZshDgo4wV3LkqtCZcHagFuKmW4o9JMCJbN7QbK9wGslfTJPRao/RNt3rgJbB1PWm9XloRmF8nZ3g0/KAug483u5qBgmd9sNbXcE5NPwAqLvIWdSX33mPBwbmMQzhqf5I/iPdryMDt2Leg0LlhLVeNHBkIYncigvPmRVCXVFHkPFjhRCrqRK8Z/xig5MutoOYHIxHV2Mc2avMJb4MmZp74SKi6A/mBYmbi90Y0kZ3A5KRI2n2NWI1jBW9auGqXlHvkUYDeiHOJhvHh/LEOVR/7CeK+NkwGUJ6xp4+g33tXNJgiGiObf75uAIqLkSE7rggMRdJMrhOGKJmA6NG9MH+2QQsL3Zczfya+hiNH412B0h69ILPQCgIe18KxZoZCWhY32lOfTGbS9tUCeDctR9K94Yn3DpOeZZ57MTD60PHsdzs4LCLs7ALy0RY/mti0p/Ud+Stk1HI+FLc4lXIh1oK9auSD6tQssJP8abvIWLcK9Z65v1G248PgW6HyDtBrTdLhxVYe0Hj/5hm8tTkxDFVpsluC1BNqLbO6X29NKd3C07HfN+6AfaiiyfgjOtIeNPumi01tpkzVF+CyaQTRZ2w2XdbOZoPi2g10tn1JMj8Rtckw7iACYcAS2sQQzQNFyKqU7aB5aNJl8Tc6b2ABQUQ9InJoB4ho7LvJdrKal4TBf09TH4YXPffhLxZhzGr+q812eVXT/KfVP9rPPx/1Ypp7w6nH8elf/Hi9zFfP6PMTgNzbgBn8lJRXKtcygOejaEdZHlXVw/Ke4kgLIB3TN+18JEfUisVZh4EY+pVZ7DhPzIKJkw3Qgr710FbTgZ2uMOjcAARQ8JM+akt/rKm0nshNeN6xzz2MVBjacaAn3ksVQn8o9faHW+FuHXyh4tWCTkGCOy1BXj+13pNDqP0LdZARmnPhuLf1hPB7ojhB9j19Sj3dDUpNmsccjMk7yW9gyz951hVDYfKzaAbNNEMeU7FOiSbaWWvrkl+2BWhte+a4GOq7/fpSX6EPst6cTSLMovJts2DwJEQS/lXQvBBP895vqJvupCI/l6I0fHlPAd4B44A0aAbSXuVr/2nI2h/LnUDFh2LHKYAQ4gmcBhJXkQdDZisk61nVlyi8H2sfWBsUZINP3Iuw03OkGcznMvuzwqcuMUx9Q5s/Snqao7qrxxXfYQy0J8a6ryI7F5duQNAvE5z7PkIwy2hFv4WHFJyMycHxHedxvnpN2bLEQmNzXCBLeFDeF2MCZyrAW4lCiOLiuxFyLJjSEiAz3kT6q/fUOx8REaIfgbpHvKbWJNxK9Im4WktUvCtxygU6lHscD7a+g5HpLBmsrzzU1pFYnujOm+4r1uoV0U3WJ2amwQwhcnPIDG6jHwjxAk1qDr8FFIJSFUGGj2QSS+T4ZYN1h2rHU0W/wFl3s8M5e8H8RSOSjrEMIwMYHmiorR35rUEAyWkWlApBexfZlOXWIPIo4X2/SIHIHcC2dyeVx+5CdkT+zh5Ily03hkW088zwGgiU5icXe6zPbEKI5ARX2jN29Wv1YRhB1DrHU0JVU/+ROWfipV1QkC6RFERHAYNUejxFyYbR0LKP1a/XLqGK/bbs4xyyqIA8EZPASleBgDN9yUrDUAq7kSnjFyHXvCS5NjNxH4pJCJ9CrPPZDUElx2F4dslKMonz6DNgCV6Fdhgf1oSqK6trRZxENAYeAcRrV9D91QN0oyM0Uv3d+p067lJEL59RtY5+JRnLMNXKhEfHJUZ+2n4yi48DaMcMd6EVFlm5hYPkLrrkempDmaTEIlJ1Swf/8GXA3qsasskVMLQ3/6RNQ39/uPtQ/zBTelaXPmOgW+IBALts5GakSii6cItDZO3lMAxu566WIIXAb/WGd6Ql89PfgKHFCCJCMgk8lOxjXp5TB7qVTRJP1mCstfH5UWceVSsQ4uKz/ofjGvt13ahC2Ibvo/1wAfYkzpHisjYaQiOcrmWr8cedkTBpL9GIQfGk5w2xYKkJT85ou2txvMZ0QWe8r4C3rL30zzau2S2FPHcazid5/vd2uFiwQG/CwfUtYtVUozWeuouO359S0I+SfozBU8Qds0UH/s9Gu1YLvlv2zD8VXdLnJ8muYC/7ibiZGC5+eW+MdDIAsQEEbBAerq2CYMvKg02NPavdAxVKiH6j9iqAM6nf+Bn0Dn8jq4n9YLtDEHkwC6a8MAv6GQuZJnZbS58LMOkDTCijj9DI7f+7MGqfOJNRhWzG32a4pXHoqgLJQ34fDEs/FecgGWYfVAhlJonFB41wKB138LGJNQhRFv1hmRidf3MbFm3lRy9A7JFaF66NaFJ3komzlqwc1D7Z3c1shj4g8hDHcSsC+DgjSJcrOVklS+YQVd9ZlB8vmHmDOZGOWzNk63SNADPhFBWqPAt7nt8bvcikznyLbSV+1F/X28KpIoz8ym/s+2vj6SoreNvJ2u1B3akGNKZs5nPOGPnCN8fNAeZBkMIPEj58D1/cTzgoOAuTrxmbIZxWS5Oulr7/QNE+lher/3bTNO58bFkFeB9XueBtfKB93CfS5hp/zhInkyHrQJBV7RhihChGNR1/rFz2RJ51L9oL17w6ZMfqrbN0XAT24vGaDtt5Y0s/Hjfg4/nI0fs7PjuunBYl+yWBLgHsgS2lFd/QJi4kLOrb1C/NXcTb9qVYTZ9EGDvPpxTIaJmud4bbEW8dv75WYgWgotedAgOc3Qrz6wOmAH0iidBi3307EerAPRsAN9NvL6ZZaVSXpiUp29D+mlwUMfUmilYjtGYvfdP1Ya+jIRd02o6ODLwGa7WU2dObVLXa8wasPz/+AhFQTawvgAvzwdeLd08FqVarwPBrZivWigLnsMqtKsCB/e69BOLsgHQk8lUV/N3S190+36haTVy+TDDuGtTXPE1Rf+UuCcHOk3/GoDLtQSk1I+hSyu1FIlB0wOXwjHdRabPjhWvWHgF+SK2J/rIsIF7rBuwMeGNYw3FVgyYq4L8iY1yoVZwuujE+Lbj7MWZXSDACq6lqa0kxoj3xYK/B+MxxTvgvaO/y5IEEHvG6GrXjGEUB4L/JGi2SVs5zHKufiPyS9SSptZBDAB2RHpeCG1vCh8Vr4xQfbgA7YG9ezugpnxgjuZCrN/1g8oFrCXdNoq6YIjUlPzTrjoWT9Z8WwCyOH5Rw4NMe4fVQzlvUvDeoLxMUxJjIruTFP0XCw6qhljNCgS7FE/EXyXdaGHJH1IYxARftkfcy9HAOZeXF1uc3o2JVZMicScGa3KfO2GD822SEn0/YFON53s96PwXNkaVEkyJMeqEmzqdTjXmUiGG/cJ5OGtWiez7Sy7grELzH5xPsAEyK9TUnmu0j1nF3/fctewWWdynVnVVgo3BtY2Cy4zC4cJzNQMx4w0M09/cfSRi/JZO8A4uzAcU/7HrYpgtY8bsELL+TtBahInxo0G1cTYOXmMGUb8qrltdg4EdUUS6nTw/9Ao6icPW//siFQ/2jiHx9LMTUO/+8geXSXY5OIqxnMH1qxBx4h6cfQLYo6iQ89iIPdR+rirLVNVAZw3MxeQG2nm5eCqJHKCXsEq2tLQe0w34wl/5NRQWmsm0BfGX25J6byj1eNHub8HFDgKpc4Ovc8WWVmpAevsmtfgjuRkYud+dtuzMwj42PJbbX3mwYzJpUelwJkkF+I94brs6Z14LLzTHc63iy7cJo0AqV0VxJqTqwaAWkHV3dS9Mbm8H0Szu4IHPb0C9m33xXTq20doBOEVmk+i0c1ByQ5owf/iiNQqxicSAUsmWdLuZXqlMV/HnsFaOBjCiU1hmZmQpEdNzTLjRP4rHcw3Z1xSClxaFMoBpxsukUn83415MgQ8zlQMWGjuw2QNZQG5yCmEspKxky6kw5hZN0JHIKMZpiSylOf06RvFZPAeSOBzCE+/niK21CSnhEdULuXbLKvIlCizMrbxcJ2A3jySIDTCgO0434ig5kgoq/iC6dQ5n1AXXQwJx5PIdVEvpmvZGRD13bM/oZH5VqU0viDBQbxAr/BKPw4Kw2Xw3AjOEy1Fh+yC82dUGUtJhfRheitHsLogxHn786HBFxF8WcfwkdJS19ZYhM9Z4JJfE7pxV+YXCQzieJb4Z1Ny1yBdg2QddvB9agk9nllnhZyf6dPt0AsiNUFwi7I1SJEAMxh1pbs+xLf2oQoLjiOvPQ9Ala9GzC/guf+x3ygxoUxb71X1N2OztFJy3XqHN7Jle2ZaxEfOU+GnlQCf489f92LYu5NmP0YjwzZJtt37iJA5Je2w445yFEztdQ0uLa7zrL11RROkIWCyw+fQxdxb73q/pTFYZcvk5DOhIB0whG91ykqVQHS/vmOezX+ajJZdMJHDxs/K1tmLrT4ywb3xgwjnHjvxipBAjCGdIuimpmSSqLMa1rj42OQMJR3jzx1TXWkkY3eE9Be1hWNMq3UNYr6CaAKGGB2rw1KHEzVYs/m9lUhJF0oJ68CkTgJudXMUd7fxpewE9uP8i7WgX6nOSCaSXfK/CgUsp4IZvsHmE2VWEMMl4It2gq0oKXi4axQzDkC3fv+aqzlkl/ZckFAbG0i5AOlSwPK04tfuooqgti5k81LRVXtzHgH3wy9mykZ8P7BbmUOKQkmsODSO9y2BQ+jmxQnwYHpKzVQzE87qt6BQixRrLORwWauqbOVOG/YXJi/qL6O1zHMUKJwWf55H0RkboHXYBODgLS2JZyIlNTKHWT/NtepGvSuHSeFp6DtsjAIZnSTYS5ckj1YVvxSPz0XZrb3Hc7npPM+gep/KLrsG4qCTOwhrafvM/e+5JWNICXcTUxkFEfhpMdLfkkYTuDFD/wcjHtJR6kTWOkX+CbFxz18F/PpWDU+SJUVnwV2JDN1ddMUuv3nJR+fgcbcCxsg7qxxy4AXXfbHhUwRo10XafPf62Vlo1WETkf0CeWs4h4h0Awk8qHaJNsDausfo615abJN9p+ist82iUXis4FN52YEx+nMJWLqKXvHwq+yqeslHnzHx1nMRypwjXobsSncySELkeeBHfELE4EmzrpH2b12txOJmJUBYFv8UF1rawybnjeBVzyjuaG7A8pDMdSqFZOcCyK0hoI2Xcd5F32lCaawfltsb4AHcIG8bOsQf2XkhEMI/yzt0lyCh+p5AlihzxOUwvTSQ/QV3mUnxwHB6uqATa0R4E66RiJ/F8a6ga7mtYIIf4yC6nciSX63/HJIZWM5YKgM89JVDyotuTp984+Q7KdhUDRbfVw4/TnHYlR6QduwDoGntJT7/NoUDNoBLesqJYbNppge6gX3xCSxqoolsWbIj90+32CAXSL+am28bvrNNLdzaUsNqKVQ00AGXAlwuDPEpu8xDmF71ZuKJC9EgZ7wZF3Gv5MALVupyiSP4NaZfvB0bSoePV2lB/KO2xaEuBXnmnjYItNEuZLvk30fM96eG5fqazSXw+p2e16SFgsKqg9zGj12X+hQMwn+tumckL4DUkQJOeEtnC5M909IOJAE8XsHSvuCtwKgww644vQlsuDXNctz6VEOQPF3iTYvqWkELFQQ630sL6pf326lztIUDBTdo181FmzP0s/bhGlniJ/SwNrzNf1PN+B1jmoLHPKXv6dfX8HwATBDEKL+Ia0yV+sZcT8njd7M9QPXtPC/CwKeu8MAXaK3SXFyv9q5x6iAs/cyuweY7PVYG/skvdU7UBhezRNmRVDhnL0Qis9UgceQtxdeM67LPWRBevLOLrAmIj5CpGAeywAgZvFL4LbvCUDddvKOBFS6sGmEq94WOXjF4794cZM0E3NVNdP+455nSXx6zes+JfFZ71mhf+hj5OVlSIsrSiFvXHtPwFd2FRT9p7Wh9DxLKD8My27b45KxCxsgc5QPa7lhGr7Nmd/tB5ZS7d1G05sVBJ8XmUPPL7esUbjvDX3ADhvWHJEDPOdQGiooceVg5eActdNVCZIW9XVuskAVSfbNGux6+L3u2dg97U8NRkveCZbKvOhQaW1W61DA40QA5v5VjD6lqv8RPV2tVjfJdS2CkY9ygB1VdyPYU8yOuLNG30ev0C6s47z2T7XJdfrMAYItB+1mVdOIXUzqpIIn4//892jhahiRK2RXUcP0V/bAfL0OA44+9wm3T9Y6QQmtb7Sansldq2lu7uG2HOf8aA4/5BOfGl/kbTMcGOpTHQcJzqco3LmTfWh9HifMu5Q6+TCaqyxxintJHU7+PazKCDbdEc6wskW43D2/NI0jc0QymI/vCn16AnAiW0dIYx956YcibtugFUzhBx5Dbf5ajxzjc9Y3cndO40uFkSUvKT969wdTq+H+k+nx5AArkm4bbFxFROD7jbuhnGFcRKltK/Fjc7HL/vUqxBjckBxc3JM0Vr033MJSvWocUOsBJSa6t0p/0NNb8xziSw4AvC9612973x3Ag/DYdQezVpg/YCdhhG2wkb8RsiF/2URmYFtSoqUti3DT6+h2/k9qOWiQd2of1IQ9ZEJH1sTuiUdjpNbBAwfI6ttZF0x/fCwCjTKSyFWpbHmRX8jk+xVQKHWwvu7elsCNjJu40xdH/t23/sfUIqjvg3IIWV/rXQ/11GIDkdYSO7lR2E7u9btfEqV0Kp9Rx34kAAEKOliknCR1bmXn/byaqyOucbu62Be87ooyJ6ydoh99Ck9h5Ypz3s8hCAO6qfEj2hgtrL8HVQa8SFL24dIj9Uf0gdOl024MXCCtt8UCLxoZjOUH3ORKgXB9Bx3V7R9w/BQUe0FMzjN5lx5xal2lHhStB/ww3W7pUZtq0N3CSw+d3QJmuY6MJqH7sHUV/0wSAvKzM8RNT8vvMopJ3GBcbBz98FSeeOP2XH20PW02+2d9+nMoa+odcx0PrH7B+V86djOYTDMzwAhBpU64kiP2cN29PToeug73OTTv7TKCqTPs2aap5HKHy17EqjNdV601HJBt1o3cS3WGdJIQKaTeSkOISeQbkzMAByxoQqu7q4vzxn9wxJKPq5hi0aIRjKHQ+BR+6wBf/1PcaU21g5vX8dkd2dAXRV3JsczdC6aa6+vFKu6mp6W+IYaFfZqg6BuVHRkcSa5bxSsUwMjZ96sNJ1UbVdsUhvMjUyPh03o5d5QErR1vODUpQBy7R+e0236CUz6GtvpNFUWKLW5W023BwwSseXnk/KRJahnTmGhe4DgxBq1fimHaiTSSxa/A/cOm6Ah2qKx16WV8GN+OUZvAR0r8py5+buk87PoCO0uWyUsjZUT9L5spcL8sxp8H/MEAWR3JWnPhazDtYgBMvzOLes0ugVyiFyqQRNSAiJvD6xETt9PBsmO2I6i5fAGnbIYZHX36HiM84Gki5GJ8ZlAO45ymAggCTkPjDhhkcVYWklYsuhGkqaDc2ts6FYvUWJN6tm+fwT1+HEzpZeu4ogtMZUO2CAsteY3sX7xyozmiiweiUP2XNDoxqTtVW8aA0zWZzauNSQcTQEBs/PWjdh9GXYNSFuSovWeFT6ENPOUHrrb3F00ZItMdUwJOhGtddNq6f+vQlVxWjlJ6Me+AQNP4cy1dghw5jV5yA/0dbIBmbfjYc92JyuxqhuKQMHc2eJq85OEa04Yl9dRdiee7wRRkODRXc7ohKkI2/0s1A/DUiyc/RIy8BnPXeQw06MlgXD/fbslpTh9LEqtoEUNBX9ejH95ssBtEUh+ZFqDzCfR/p/+xRXG6nqdHKzw6Hi2BjsBX4n/BLaxujQat6jW8a/dZNQ9e04dkfdm6MrpIlkbxuADdcfQc/Nh/jSQhebmTkiemvJh6DMZKsvnoguBHM7LLYbeII6oV+ne9EOe0Cv9bBfDgKLEcxN+IglVQA/izVkXkrzDqhkeoBH+aEcmyNHChP6CUfM1RY/PSwaCf0glAhLv+Wt1RAViC2Km/2gDwj7kk0B2rFpMkYMung85HbbMtWv5kcoZkQXXa210r7PXII7KWFvxcJuPPrXWyN+kWlNv14cNmoq+BV92OhbDt4H+HrS0hMJTAqBIjVn3z0EirBxkKge5emDWOmx0J0kssTZBjkGAElDQBtUBbEDG7P9HuHQkIsk0pGk85g9MDkqhCsHS80HI603gsOqkR5Gx8IPQC9ZJFvn8lEjDo1Fmk5X3777sVtx3EmdfSZXW872R7mJjmj6DK+AXJ6Uuj8Qj7D0ec6Gk8zNzb2Wi23osC7RVoRcd/kMJXO7YOu/IQ86dlrPmF+OlFgqep2/rkJupmlT3Flh7n29PjjP1L6FwI8ejsx39EX48H7WlceifI2/5TasIpcb7PWYqaaWrAzQaXQ6I23fOujsDSfrRcYOVTdvsE6RwxtS7sqFd4rS3cIyyptstGHGZUJwpaj4k+wfBmkQfpx0nrkvKc/+ERL0Fx5txBx/dyDVGyGbQCwm9Ui8aRtq6SIPiJiRs0XFmZZdEfbpuWr9YWKjdWVVS+VKfC3cIq+N1sB+qnbfPTQotwGaZpZJxp4S+GwqE+O4wzS7GaGbh8H53679YX8ANBLTGA57tfoIwnk5quc1+6qZCAsiANS3THjxffD2fOjT4VwP78wSaUNSiFmNzKe5NhJn/wncKQpVbCuYbzGn7dEdboSoxfH8UkK7mv1fFL2PE2pOD0MpYhyfNvXE9wODol0YuP8aC2MrT2XXPnp7jmUNAjg/dyVPj25uOpoIpDXYAvV7QCRScEA2rIyeR7lPlK2njj3mPsJo6YuSefDMZUnofYa71MINGm0eOVXa9fmYlZzxZOtiTWe3Z64uBAPuwfkljFUPwMbUE6HjQGZ9TjbybeLIsH4s2ckCCAgZ8WKFyyHxHXkMpt/V7wj7LxQvIEgVibpjPqNcFqTmqr83ieZkgV/V7fMHIMT1XzxfOyE9x7uOOC9pM2Fhc/VicedO5YR1v2MikydFTtAgexEE4JDD/s/vE9rnQeFzrhC67SP3nt2bvd2PUI7pE8JmFzZm5qrD5FAhzpAk0eV7yo6HDHvL3jFUbAfbtkhdl1OYlJcbzm+GHpm9D/6G9kxJwwOAi1YRrjtsZgz+mxnlM3Rl790ASR2XXQ2uYJVhp8+WNh8ryhBn9SIVh0qfY3VR97chk/1ky5IK6kBQs2pFTlwKuFYZ4egZK68pT9TDwUEUuQWgVepiPKuFZ4XmF/5duBjA3aJDgvXh3ORiG302KEuWxQsQnxKp/2ikLs8oHugaIBb3qdLuSeQQMmWhYkSmAecXMeZ/P5Q3ODq6ZDTaqU8mPLPN5zPpYcRP0g/O+COiSxKCxfKL6GdMBEmRjdQfb28sRQ6S7xo+WTOZUIzsV5MSvuFxgO/o21w/P3UcNK6ddPrnxlywUSeDJ1gs7fmIA47mfFIZddQ+fr0LNp27j7Nyke8FDbp3owIDs/1L0XAH5XtlG5ZFfj1e9+FbArfTh7+6I4nPc5cYMEvZcIGhjMM6IyrYQvYN7dEWRmGg0M/5EtQA1pNo91BDuFJBFNIt8xRDwMI+vYwatY1icsDwqaAotyDhUKadmdDg0xXvFNaKm+9SycbCvJZw03JFfHPu5MiFB8IULgU6fDbnpXmMX+M2TQt5esySIzeFFLTJnGz8FLFDCRJcOPMHP5hLZH/2JJSrwWYDPDpNZny2XB8tEjXDNyri0FVhp9/FHJXu9KvQR5tQilI2M0IP2ByIygHv3dvi72NI/M8nVQQ1xsK/QU7Unr26flePDQ+zCC8GK4idDf2QNSMWj00J3EA7ojkW8brptJp+pPlOjFqGRziv9k2CmURczOuuui5/ehiSoGvg8HEibFYOGoJ1J9DXnXAbe0RDo2snks+5uegQNdwt/JrOpM5h5WHZTzHk4RjzoBcsDTGtxt6aW4+QkpkRPPeo0tjCU0YTivtqMjudY4mhH2+olPdIpZcgNGtDcubaAmle+I+ySPv0vgAVS5l0XTXK4QXym5U85EXMdOcbfkIv6P6cbGsrE4fHpu+roFzHQIQr8UyggFIRAJ4FWqxEnXVKFypo6529oD8acjkdKHaEanlcOZGBflEMJeKWwSMlvTVr6yCPTFfXTk6kUQWx1iEiwfz9W/89v4bylCSm2OVLdmZSTVwHGkeM8aOgPtHg/3BkbKZOKhaJlqAECfBiEJe75rG8AHRgBtrrJn50/TsgLfoZDVZRhe7fnRkWodt8Qs7kTtEqUyvd6cn/ZNoGiXYpFBTxI9fpSYIgDK2aKTC71q20ay4C//UaFbKdYv3GMP6ayailq6ZRiJ6ZSeLRbX0wJZFtu6L6zed00BgqYFmuVs8D2/o9QyaUNiyo3nIsxcVlsuL1LBKgDCLo56Rm18GRYL5+NMm//sz7nrZ5ItT+BTiL8gXypqeCipo5iBwGB6DrqEXHze9bPjB+KIC3rONn80W5YbCil0RcZw5mIcK6PZ67Zx69aCEhhEDPrByHybfdrPyPLM5zB96Op2+T+H16xVatlTgi1cQil9eaCN2b4I6Ld2amM27AX3V2Acbm0rGNNUJBqBmbmW9liMif0KDElM+FCN9x4Dq5J1dIpqYvseXC002px0ypBmsJLWNUxhUZnVq8cmP/evTcdDGTQDOEM1sw2Jf7RJP9+9j2i49itnEdTmYvtZNaVftEV8WCj8dbMpb8j0HPu+YqMQJ5PjffvoIU3liDoGKQBOQGtqWROuSc4g0irqaBFzqHpRh3eJBIVyy20fq8W/UTBsr+3hbk/fD9Jl0ZCHpxKs9JBjYU883GV44NowDq3Sup6TS4UEsI6mdpXqVbGzXcvSrcTCwagNHdQStPuUGT5ORXFa/cbUmQNaf4GMhbvEPgruSmAt/37ziTQBe4cFD+FiQu/GelCRKvUqTY03wAK4dSlg9s2T4q4mdXwoY3AaPKBZiKE3BA3ukIyKuiW9TnOwA/ODJRosAdczsn4jwa7YByu10L6qPRBMrEeHm36mvLUhiqkhXooCXPb4lPjAL2ln1mG1fNEC4rjkr+76NZPsP4jwNTWH/eb4a6IRNVv2Psbg1D0tcaYgqmBsiJvrbgH5Gc6/ycFEVkEMUJjCzE2/WEWtbBRYwsjWquEDjxjlAw5jLlWBvb8dTln4sZ95+zCblUZINVM36zKFTfe2zrKCZjrpfAlw+nzG6fhgEhQwuOZV7GgH9Rkroly9eTn1Ej8yEgwoSlD+9euCyk1WDVolJ74PU34MmiLnVadxxdE5rF7DtG1Ilk3+VgtaFh3MxbhBZ5D/XJvgxDc96b31jeMHoaDCb8YhcIxRpgg5XF+6XzPgASfTL2C+nRnQb+m/Ed0UPOQinm75lOVuvQQimU6QrfLX/ko+/nP08aemV3ed/LO3g1+3uEXDA0WtLYQGTWz8MPL0Qbz1tF/3ZeiKOUpFEbBtXX2gLVliqS+WVATbL1f13eX2Z1b8O7opMNdFbo3Xdpu01y0n64/bBcJxWniaHXWj6Zz2tpgKtbncYRc+hMOJ6Bjrvc7GEOMj8AJQSYWzjyGDD9SgZzs2srrKwDADtTi4Ao/z5N0u01PPm+ygSG8vEOjh2Eb5zi53HPEX75NXbS/vBBUm6i+rlsxl/2v7/zLotYEB3j6ZOX+h/w0zlDecxwAZ445kC76SkDiGjwh8QsCLg3wL4ss0SWC4ZUUcaTYJYHNxxlPcRGnC25JaLtHS61w3950TOloI/2bMduNjGrr+rQoG64THm5qp3R9C7LnwWdhOET22Q7Va1HfV9y3Q7XorqYyTGSljlweZ6mXIQhBgnObH2pMgbGyBqy2Ww63llYBfc8Qcehkwj+oQcgO0mrMHnrgKAL+Za5NpOh9WIk2T+lfRiAq2wZ/7pfbtsO+o1ZRbre/ed5/8JKcT4CG/2KFCXonV9lqKPUkUWpEE3BGYA+SoaXkdRIhMLK6ciX47zSkFlcuYnDgaLEtewMxq84tDx9n8ACjxv6duXDAux0xBIK/ccsEVb86tHRvDX1vcZMnGHsXSjw0mUiHkCmLVAA7r1I/6L5aM5DLSanwc8nw5N5URClOwqmN9MnLEK2XypwVq3yIianR0IqooDgvwXBF9FJToYRr0sUgseqUWWAfeeSWOmvedEgrgb+kajZab8wxNY0zPPfIkB2EXtU7TrLTWFdfVJxiwAy2JOa6jXioYn4MUj51rO1qen1+5ZDd9UJRbFPqFuvD4ccMPNNMPZ4f/Jr7IemhgJcZDvivXLKM4Q9oTW2NrMrow54VfxNeY9BRqtXn41+88VbjPcrmOAwyuYEO8Wp51m79xyHKA6pNhheshutlEtYiMDNs2JeRT48fSnH7vwO3RNTT9npm2esJBEGtZkxo0QVbVZlC9iS1+bpLduZn0mUdUxTPMNwZtyj59f+WTnuK7Q78jsaC/hZN13A0lpP1u8OYbMKbYwrQIW0qk66frAcw2BqRJQFAHM0HfeNrXU1Y1h2LOLCz0pStjh3V09m29tU8QgmG5aRgK032VT2na1lJ/u5AmMhAJsJCdf8mySDmAfOFGJoGH1hGSfzVsdAySuo82DcdyurosgK9Th3Ei3aHpXXxckNmiudXyLqbrYdgRmST609sIOm4Tz95prjDq1jfSFiIEIg8V4v9bLzSIq02MtEr64oKF3qfuFgRLY82t+aqlv0LpR0pwsGeKQyZ042VfNmfZro4HqtMYe36ZL5OUakXYlVMN66fuhREhQAj0PCZZ6fR3cEqjERZ0ipkyYdwFUubhymXiFGj6c40scIGihFIlC0tfk82+EjWeFx7gh6+bM332vmfa5f/dZLoipqvU3BagFj7cIBdXYNP4VYraZeXqgbL7QgdU//MHegDAQfgw9VniQBwtojMOb5oS5aPbUo+GQU3NBp+hVPbjwCZ/zK4Qsf4fTAxRDN8UX6akPWnokTDXUZ+jzSVaMlL6J8HScxVg+Z1zZIS9gOdzh7la8qmg0zlBCPE9m58THZN3UsfoI61GuS9iSioW7C0aycFSlYnqwPhA/FJQbyYi+3iDu6iL6dO6EbVXh64X/R2y8k1YmOVPjy8fDy+FrtA42eYF/cVxgZjFNm+4TEeOGJp7pkOKGCc1lrlxzqRj90zpEv0OoSnQHshkp7/2uPzRfLk+3aSq3PIK0tnxrtYnMdPjPKZSISd8xyQ5CkE8g0H4Gg4oDpzXzS6agM+XR9H/zelDOQLBDA+XlBSLPxmZR7VxqX2YDyBjF/zhqakAxSj6kztKXvBh4SQsF5ylGXOfTMJ8i6Y6WNXlcBM2Mrz2NBUj9v5xxPMaQUfabZYdTbLv29iWYPJI679CVwvM9Udh8P97g5OSSdkSwvrfhcXDtsfKVarFjOPqz0ZBLr0a+yBYwqIvl3+7T7E/kk7PbKcAHP1KCjNl0PUb0H8xmLm80mBti5RD3/x+2HttKJnZVcWOzGAMmmixZQZkyp9/qA3vRK0hP9Ey58GsokS9RdqhOnbBtOmROS3/Q+768UR99mVzuBZ5y3f5tzvxFNmKKpCQmKg0g9N40wQcAghkhM8aMG+0FI4J7dElIiy2qZZ7HtTQALo46JNrwcDD2o8k2nOgIBzakJiGhVhVL+GMl4KVAvqkEgPAyCU8rbcXKldMHv0FtdXE+cRPDKaHxxzydFAWf63j4WCSFPFmEDYwGEmSmPsnyd3mGuX/eZA1fF9pgy0qkFo7AFwSkVp1EssWkk4oM6/2ddGpyJlqTrMScwkmfsqdW+V/ciV2+UUWXiCfNE4/5zYHLV7RXeq6GEiGkdYyhgY541ZY996q45xauLI+/X3VpxI7G0sNDwEC96f/YGRjFhQc0gGfYza/9Y758JOkLNJSLU57/Xk7gSo3doUzkRue+5Tzv2tU8wvbJMISnA1E/vBPLY1Z43jrdyH+VFEJUpFtkG6MMLocA897L5ITwpFEgjnuAi8Nq104t7SwQ5eeXuT255581hIOBJQue/GRVGdXznECCGUSqGZzhNj4nJBy7+pj/aDwZtp4YrOl/G2XzVtwU747VCTN+Wl9HMjgbK1ZVF6MifPKAtrp9K7DcEm6rZf5dMj0EILnZJgTJwHCoU/TUoqtPrmdwhf8ucuIXF5kzAVVpAt99cqWjmFgRK9WWlzX1IAoW9QdCuADGiiYAEfMG8ALBmOg4mop1JxdNotmBhagIsIkZz/eD1L6jTr16i9xP1KveiJMdGgWIhsNVW38kNsE/2/31HDZLm6fnjqPxHNGgecQF1gX9YVHfHNcSMR7g5KPwAcB/umUEk4JIyiIF9wrarhO9kLEhnEJoHnywhNQECJKMglQVtINKmza52v2mK3A1twJIcUaW8MfhMLGRCgltcsP3gmn+48WTMnNUJx0iEy6SJqDP7rOEL2klcRyX4Rgqs80sQQOIQ7TaVp6r/TFDvhmNnezBPGDCpCiux/iUbLcHz5Qv2fjaHrR3Ktfqd8bAX/gcypqccG07nxE7Ux6ziF8BEduNMMv48JERFTX2q2y/MHKd9nfIzDQd8J5cYlPRD858zsx31hSCe6wyARdaNS6EDQAfywc4vcpi7udzQ0T9pMTLPUYEwdAu9IyDo07G6pv5VSqaD8FBOwdTqFcF0QS51u4Fm7Oo6oMaNQ1ZCUSx3nUgIpgbCHcyVxmjB3LHe7FQesTXY2b4y7ZABa/vJT1klR/iUOVSnNhPSKozB3q8gPrDPBXDGVmpxKrNi2rOwnQMXT2qLdVQalSu65VCtTlEdiyY5bVdOfsyIokE5ayqvJupAB+bQ0Nl4RYhwFpyB76OHjxjI50QxGtwXOzDcg3CkhMQPOsIrOgF8biYnmrwqN80Umb9QmLqbV+X8i1iF+OLj2W3nAAWoKZ7eASUw8ZzyXsBO83d2w4TQeYf7/o65C2aSKYZr/85sIIPUZVxXJaHKjFrKqUo/oRQD1AdXx8SAXL78rh/6nC5CFr4+VJpOplTvUGZfMbpdDHAGbvkQD0Jko85hCt7NL9unRq8a1Jvzzwu54AokvGHX2ZOovbjT6mW9LDsiu62ezTNmQ+Dfqf/MlKw6iou5RTIA3W2rxGn8sLABsPRzy5uGrYtfUH4S/V0C8uUKm/bXOxXTWXICj3PrqOLWoMGTQwIQ2cr117HLa/SmKXaCtHFVT6lLYsbW1FVA27Q4UnxcnQ5Ji+BhD/qWoX8sVCoc0wVUATPrhXTcXs2Z/3gAoLwLtp4ucxKYtUu9Ft+xQBnLx8SZ937mCkehlXvnE8nNSVX1jPQ+5LLwQ1WH/GB3+sK1MVnXpSbIzfN7Ke8OBkgvSTA1wHLU0Njs3jLYMB5cCvtTmU3mVeUlso+n4MQDAPjIhqrGQaBUApSI2UWUxmqbsAi9SHBX+hTwakKUWMc/8c9iWOFcZDO7Hsda/DoduWNeKbsBCM+/OrnXbuZvU6JInbzfLcACU2OOpqdGVP3nC/oYvwlPt9hdSdJy6EOhqMw+3xfu9CCoWkiaHqV8K98y+tFQRwlVJXgO8j+dVGuQB29rPcJglYsyDs32DQkaaHwd2RIWNAIDDhUhu3F51E7FFhOgE7n4lT6mpEPBQxN7BqIBqbUBGgbPX6Y3WOC8VSZHIWy+6gZDm48mJksiYI9FmmffIRjJE7c8rBILcqSdfOT1QbAvS+qVsifrvhuNZ/gBklLOm0by2HMUHivocwhWc7SQMx+iL8Th8ezjD73auaOPiIxvozOWoRBL17Io6OKQdUu6O4UjolUG6Y3vmgfbDXZc/wfhIp10t8wU5hUr5b3MmexpRyEgHF29MnAzXouZo4U8N+8f6bbWh/zfJedS3LDK2ZTLNEmmMWWuc6TzEuV8WCESyKh8dafWdP0QOfcG+piNCbLfrb0X2Pimvu6zU4syP0A8piX4Ex2m1BToUSm+V1TO9Qyyxa4Dw1UgEtmZuz0BBWnh/PYoA9YENC7uSj8bG80sVf5AC0Np1evHGtgZRe/ZJn60GdpjGE6QjEMTqmNwtcPggCDMcncBH/ddi6pmS+i8fSoNBVlGGdzaLMa0Wq2ZEJTGGIHtXiwrHQ11MSXfIsElzrt1pVxXwoefEXGNHCv+oguvR07F/nAJf7QXVtgNceDW91OhWGulWTWABb2z0QlcREiYWJgOU2dpHmpg/k/ZHcsXZLhf82MUz3kBNz+z0lEshqAeqau0ug+AsS96kUMq0eWzwHgDm4g9rf6EUr3DsjAY2fHA7KUKvagdLib/1P+/yI54LWx4/rUSKxzEQ4HjV1MxC/jfvlMbVu9QY/4ZoBgiZEvZFn9GrR9mMYY+UmaByQLmq4PiK8aDXmG9uiWpKH2qu78xrUPeVjye5YK27RUzJOi3wi0ERz7sVdWh/aQK0HuG8aXkZSPmWJ1R0uapd56X3RT+9q7eT0tFh+zfKLivuzQaN5wwIWT6q6w3mFYJW9A5FmNUmo+w4mO8TN99+8yVvjJjPYDV/j4Dfo/2Yk/K+hCWtNL1yMCbCbUPRXPOsEuodDoiIsHt5hwnHitdIkbLt9zVuh8UWj/RtrqslbGsHUWQDXwbXJqfUrvX8f9C2QH1YGGhPs+ui6f9/x3J5m+jzIw5KhY6hHvsmPGbQ8G6mFNzDffQspBIMbiRh58hcwYOKJF8O3FgsR+8TnTxtlQ8lnXSXCogjyBUktvcjaKEi3u7a9Tau9uDd9SaNW41MgJF7oKWVKgS+PUTmThRcppbokUW4XyemXxBSE3LaY21Lh/Jjk7XzXZCaQaCey5IgxC6k1WZw7hP5GjBA3odQDcCaKahtlW3wkp8WRNTjBi0fsjkBB10IKxtUp8OzJV2BTr8t0T8hFgQvQshJ1rgYPTNa/DdJU3D3oA4yORVA4mMKsydrP4p1Tk/Slnq0KxgwEVZLVTjUIR28ifTw3p1oRzM53AvdihM1faWfYN5uPtIWYCpyKjkrcE1O3KRg+lqMt3Kw10UwEydUAY4tCbsXfjVaylHl0tjTYAwqCHqnDuo1cTN6iQGk8kaVnRY4e5qsm5JVOJI2u19TH0/p8QDtE2Hk3lDyJO2qELIs7oiPGTk41RuHdY48n4u0HiD2x3/7Ezae4VbG1QGaho9pESK0YTIq9LKiOmc3DfN2/jtRyAd8BpSCKEX9FrIgyb64ESFeSUUlLiykcZgrmu3HYxA47TqKmRWh0uvJ7XH5LZ4guSPVs8WCgs+U4C0HMe0VhRQW7Ao2e6MpFr8p1R6J51zYNh3dTfuXXMfofSv90oWDqAvNWoYvO+PtnOXc59+3OPRTW0Vcf8/bzV4A9/CrD2y3oogwVVASB8ATEZxoCoQotZdKmdjiAV9CTOkQNxcI1+DPapF+oXzN58uFwYRY4lZEzpDRVG0F836JkKchC1AK2d8PFS8Vil1ehgmxHcsmBSCHrbXlmD/DOlbypFvsTU+O7M6LnJZm5NIG+KJkvdZ4NOM4KyGNNKJqHTLIzWqEIQLpw6O0qQTBB+MCNIdPQFoob0DXaJ0qIS16KOlNByNKzq+t2ox+2uF39Ll+cF5auIJ/8bhL2tlUC3ilI7XnkW7lELLe5GjQYooA1cKmxz87Fm+EAZq+5KPnrOJaZO5bQr3IyQKyN+tUXfvnyud3KWcAHN5sNIOJGTEbWmmqD346Fxuv8UkLRsW3FjLufF1t6T+Ue4Fnir9vWV2aX+KZ9eDe9HvM6gW8o2oKNLHD7FhImLmkwBkPB/cmOyWSiFIeb10nucunC3n9F+g0+5vkMhvpPt1gHD/wi5W+BQtkJL2ZMBduwDD9iLt6grb5nFr1I580r2NZc43v0EKgpKD5OjeXwUmTmL14ntS0vTzuLyrh9ZHwtqE2BDr3e2QfgloCWXO9qBykkXm5Qp0Wx6UrSWPeMoPhS2boPM3kZarfM0FJPKpGyI8H0hD5UB7V1kX5lW3PsdT1wgn92NPIbF9BJRSA1fd06iMbwX47l1ML2JLaOa9mAGnHxTTHafsA3RtJNq4VHy7boePnBY9p7mLYvRZ7+QrZ+xzC+4yLY0ie/TNB/X2cboFUFv90oksQiHT0yVZPSdoNR9Q8FovvSxvdiM59pJIlk1sfTdQaPtnb1juBrj5DtJ+cy3BhAP4Ti9Djy9MjK//fVa+vm+ig6ccId0/3m+JIEz5mHa7FEA/fJBXdiYQbl6VlFF80tMi76K3UEu6GzPwffJ90oDp3M4I0UKM5usfjlJy2FSOxj3FWO3Jp5qsbstrDVKrYhXbGdJPLDxC3WrJTWgkP7vp0UzMG4C5i3/VsMMcKzkhmnmyOOVYULKokZwcFylH7P73+yomAy+ReVyNd6HCKR1h5b4Vk08VZ37SrkSQow3KamoT9BVpqFX09oLahKQ8+44Yxuq+dkohfHSYzesapy4YngAI7ht1a1XKfIe0/b8e4HDyOQ2lLIjkWtt0mWnAvkMVn38w7sj/VBGXzs/IY0vT0tK6njMPl0t52ZPtEg6YnWMdIY9j6vIjsAohzsn4CucO0U0DJYXL0VmQ5/Shr0B1ZzHEGuhpyXrwsYzYL6+ROBnYeSXiq5sxEJx5Lziu3lCaUOPRh8PWqiH2j9eMIOUmdKVZOVY8GH9GoaokhMwaT8sZy4u4lhHCsZoDYbOSpm/rB7PlpMBsvi7X6LoFsdmWBhkYVz438hJaOyZNkhT51PmeTOMBURNIrRQ6zXrpKWOrDGo+F8qfCjJRaUkoO+57COFbMlnWJlrC5OdCoFj7oQePh5K1hgxn7rPcVFglDVagXW64JzjJvWpUZ0kGtiFGnKXZFW51z1PZg92w7/YOqHxsW3qXUPGEgfIF0dA2fwQeEbmAD8miIXxAKPkLWL8OOgBWUaxs1IuBHIWuXItLOQNYFwGX8iIpV+i1M/f3Gz75qf7b36Eu9wDSBXnY7+mYexi6s56rpMaIeDmPXCGAXpuGuavzPLTHizmXsGBeFE3uocpT+qYLDZPt4rP7Qq4bFGOc00z+u1E6mlxnCWN74xiAq2aOSvNs8X79KUdHIE5yzm3Fzfgh1PgTZWjMrN8Iv2gLLeyUnQ12a4xF6mqtaO5/0/wNYjT8iRJGhZUoK61BsBz2BPc+0wxvFV1yLaiakVRPbwWcWf4diWf/NBh5DQaI7Yx/5zDIljHxrFVfLK0rNSDgjBSoMgNOtomemyp1T7TqNVNoKplvbfJ019GrEGxxXB8zrhapZ4DtiWN1YdB9ORXw3PacMXbYQKTCeMwImS/lsGDLEHcf82g6oZ9esByYX0Rs74Ed9zYZ0/+gl8EaTBJKOPYd5WRuw0FLpmtuIKb5kD9krNAMza/FnYqrZpBf6Vk0lxvEYeWmf5XIQFNIkZwt0jAoQ0RmqkhLB+gujKmx+uA4HyPCrE8i/GQoGmjeN2D5z5TNIm5Rnd+52XR6ZC9xLxd+6tic0kmdfcaHOS1Am92D6QLY+CJMNWpY/7EDsFp4r/2vADVDYA0MqmqhDW+o00LMpDoo64uDJvyY7SXqyRH6fTt6F/dBzc3YqjREz053ElFRI53v8ktM/EjX2rhvLUOCrlVh9dynGQkTquRGpBOUV4wui8pXrnQDg0a4T5KSm5tXv9Jxysq8u0U6wH+OUacxdIr2xo8iRoKCo9+RBZGDleqgxzcMHwTFmY1dq8pROJsYGzddwhVfSw8yAp4Acg3Ma+KH7zEQhqT/zauXMQb+VksI2yUtTHf29KjWYz3j6n436xmkPfIJyeyUIsBT4KdhZR0wCPRT/9mgPfWGVUNvzXAri6bs/9EVAKEi8hAx2pUG4QfW6x3pNwpW0cwXaCLCJGc9rIuefLp0zPBCw7OUPVSmVbshhtq8+liPVoE34NtuOYa0uQaUMmd//cmtf2V9FBcp0EbcZfgmFdY0GDBXjFTe3nU6qL+NnoBTyOiZTLeXz9PPpJDNet6aBaWyviiUM+fiVNdEHQb3m3sU5vWZSrO5p7pZQ8bNLNolLQpNJ70A+09mVvk7a9M1bEM6Ngx74jtzFNulzcVygEu0mnlvGk6aQk3CPTB0bwN9wETEeXJAEgHcSTX4sO/nvoORLw21SvadsTAojEL0yAvWYnDOtJsD5QEboZxRVwNNuTi3X/wwDJctrAMu3D8FTOVf/8Fc4z7t94HY4wqsv1CvYvDrqy1KOUcUJIf2PmOkndiLHnq4ugfzwGR1mD9NDZXjQQlXiBoEVAuARq63o3CqSOu2AQ4ClRGWYibnfzWPIPPyDHSyhucnnVtkybwA1AVhajb45rT0RogYXyKXzeY6Mbpro6kZfANPSO+pytFPi8U4miiwm/b2CP1Er2XCb8NKSlZJPyktsiX6naKAUHQ/mcoOU6Ext34irN/IRSZ0tI25CmzYFqTDkjiBHSBR/NSUN5Ic+uCVopslne+Cege+t5rHH82YXyrGMre5v5YugZx/5tTZTxWvser2xib05+xE86JVDj7xDYaVOJOBiwxoj2pFjyUfjIG3XHYVRAbn6kLXbufdfbYaq5x+t5bArrVgKG16i5ojcZHLvRs7AF87sk3HPtAniBuvA+H2hoI2Nvso27gyRf82l+wwfnE62QXzoE2EGC6Zks7GlbrshL8xs9Dldrb4TErFD24nwJ2PZuCWlXab7Rhcrdk+dXgm1E1YfEeZObUelBhakd3T4XGSot0rp913Js+foaXbI4VSxY+IPAZ10yhXhGUpjdDb5P0CuvProVEHtnk6qNUp0GHAFzIIO+DP+PirwyRNlavuhyF8ZLu/3McdSW0deNovvgEIJDSTUsXEV/XqXoAj+aX0Hl5LHUx+jlQdv1PvW6BpZXk62n8T2LbxcFKXXw8HuZrGJOdfdDSH5K6tQn1SPHICxTzquW7aPeA0s+fZ+IMEf1CPVMW8+whULcWIuDdBzSNK7/8x3XQfm9SimwvoRh1w6lrB6QVHJJTjTbGnmEvE/R//KYJyU8Lzpk2jRKeA79ZrlMz31faum97iMOolg7Jbm3/end8LN2BslLBnBCM8A63ZUfMCxJK8o7lORTRSQQTDPdGAh5AjVKO8g1Twj0Za+kpJXjzytN8ShFuOWmYQ/1IUDhCTbag7IxyyTOw5n2DofiQyMGDYSC3apk0Fl2lnmbFUHILohdlzoyRmaHCPtV1S6trR/VnhzRFMHwKXpe17BrPnV5M+pX1wIiMkSWeKQCJaU60ZV/soNMakcmolHT7NpG6apat7AyloZQzhYUnFXhZgMJw/bA1l20Lm7pOTBLylo/NHcYynjiEw/Xtet1NsoAUy968HWimzja/WSHboR7Umg58JCPLTgzTk78ZQnjezVTki1dOCnSXFxuKlOpjUrKUdkYMq2F2DLqjwisRjNwQV9q1Q5A5MIX7GDUi+QrzvhNXc3W33KOttnd/vScpQTRzS2+o3eRORh6WhKVACnEPCWXn/bVSYnYUf3n6DbdXWT8BZbiIOgGaGizFEm2wiWTg3JAlIlfHvgFA/WSa67pWRhhPufR4Ek7Pdf46xXgTqhxZVlDa6ZzpgYrrmhSYKgZ4qRjJej8Q73XC1VkWKXx+bj3LKlYxTzdyqfuuX3sKl51B6PB1P0XxZ9FOe2Lz0d2bdihg0PuaZ9Hlc/UmJpblZw1+kKwGFcBdPqX4LUq1Q8neZZPQC1QnLbsamS3iSb/Mnm7vjmhGqFta8ledDUSdGHaOKLz/1q476eVC2yfbAQ9FhiAx/8QNtiyCV8+OWYievTqH6+XGFa2c9sIxcWJCvWFWyDJn+J4hoRSTdN1zZwg2cbmt0+FGCBh0S/ryKgvYECPJU/OdLhmScF3Xx2DEsqzdOOFIB7Pz24OT+kOv/tG92JHED5aORRw+IOM7rOWmUGVdpHodkolD+XhrT/zlFbAJfw/Ybjeh4fYQ19flqdpoA6OVDSIkHwHphxRSs9Fp4otvXfUdlmUVRVnYVLI2h+zicHGkPj9HpJorbkjGVDpODqMbr4R5c8sWZv+kUoU3kORFVJtQKM3qIKDHirh1GByxgFSkP5ka6iqCXUw3d2YxNvKwCdma5b6S95r95WUm409Mh0oj9xTWlKiEPXgbO25S7W/SNcK6XDwfwsOeI3H1oAFDVMuU3tEGRiA8C4Az9vWybz5OH9ioUrmXD3T1GyNLOBZLWOUiuemZGi7mA6zaapTThcAuBai/mr8tkXVbse8ZHD9UMH5eoBrjaDUjKX0fdnyKCXK7fRi/cfZZGRx4RMZIn4V03iyXlgVjjymR6AwxEoP8G16Ntp6n6AEaph3a+gvBwz4Bgkb1vW7y0CNg5WddxS84Y5/dAVA5dFk8WgOXojcRzMdjbHoX7LINa5YM71NBzBOiNX8xZxHVAaT5RwauZoacrmFH1LQ2KEm+1QbgzURPZInlhLvYkpDTMZyM3JGU5PY3Y7l/HV++/1fdP1jXyMHkdeQal81elbZm4IiMBaT8EKnA5YBEHAGDCNeM7Evj5TLE3OrIH4cc2EdStdrx6bYpRVWI5/7jqtrF7Et9p+ROm9DKvSQR4HM+CfMwg+j9swVUHm8gfp/ySdiNmqIB9L/hKQyngfojjLZJlVbZrDG7x17wHesoPNRVCfbbQ7n1k4l9wuQjm2dDqBxmOtmmS/Q4lWi6LLpv/cg01/y6RJ0zUPteKS7aEQN5JUhbtRtw+V7/GXrfmsqblvmUja3mkuic5WCBEIMcnj889cX6hlyShIBOqG2CWmDw6kgHJLGUlmv1hfOHgC93LptNmrDJJHe/4oSkqkIVjlOmje61lNhi17fa9U5iMI6MS0haAY7q1V/kLabNWLzhV4Xf3UQDsDCGg0BezzpCuCXIeyQq4q5q0ohzhriQT9CX3Tc05+mONCeRPnsRCu3hJ6KTgd3ZXOsqecGVWl5SgHWu/WzwkZdY14XxSbIXfb1Zt8k+JwhiAPwcyp+GKM2wkDkmJAFF7RxHIIckzAGHc+bN/9Xbq5NoT2Y5HoqOx0IuokD0Uu0+Ucoxl+v9rWvNY6lYM/tkDtp7hcVgkhEYZkpka0Q8GzKX9rGycab7/vMasOTz308/V3hpy/iIeEYYz9UBrZQZTwqFsGxMO3yPto1SGPzwFRqiBWLr6PNxYyHuJRy9Y+lCUJPwIOv9sPKVePvAiNPshAO7Ab0WAoWffVnt9efzs1pgrTwWavmQv5cEj6u4/YL3zjHFVpMSYUBhOsj/xWmyJ2sswlFM2XyoPSUko3i04xv1qW33tsiFBpSURq0x2ph8nfpt7Oe3zGpEFncXQjkUXyhm7QPDZyTpIqJkE62Xu5Lq4P4OsNXeDpRZpeq9X6Nze5+r6rzJ6bj6j9zoI/BU1O82Cf9MY2zd1QMkQ6CqVJjrRO1n0ViMtXC0wGPj/Ydw1CDq9mP5gxfcjevVkEfPCJ0AwkFjBnvzp78LqlW6kLy1b/gXZwDtwd0rmdqHUAa0WwKAYGJj1Dl4kzDJKgI1oAaZxqb/PIMdnYCYA3Yx/Dcwux9oG4HVMOC00A0/5rRFhfNxy4nZ6smu8uPJH9f/CeTzsWIvrR6PQU3ZgYBcV9Nth6C5psPZGo2uMhNHHv04HhvsuQZKfkHH7IjN7Sj2RhXQllvPq+Xp2i3TWjvrbMch1b7T8/1dehmqt2UFlby+mJCsRWVHbKQ6c57JwQpM8mZbVzHtoViFKEMMSv/ooqtIHBpGyVEAiBt6wP7fdgpHvIHmTvRyonP/YWD9DmpS1AjAqdpPumhTr/vTGKyj7AviEA/2D48c/M0bvxS51eoSc0nT41nunMikB1RzPQ3xwN4hRFYMuV+gEoe1VFeKq6iHcfpyfvT6Dyohvbnm6NCPAAAKZ2DUM8cXG1d/c4a1J5iiRmfIduvpun76c5lGbLhCAxQitieLkw/CDIO1zvWpvKlfyXYXbMwJGQg+qCEM8CjGZthhPsQBkjUh+BVGPTbvNEtBscrQSDKiS0RABbzsUgjkYQJQkBYPW1f6ZWNqDf9K96RyBA3+RaSba2rPvcI2enpeOXQT0FaqEF7m9sA5Mf5hvNBji+ZGYq0Htzo16A0V02j4tNGdWEjR/jzggxf1JAwBhrtTnUWU5W+RZmm275jRm/rKmyFmvBqXCSg3a9yj5oz/FoQtcp+HOQ6RXQc8x/juHeSW7LRC+X7qHyrfZr3GiWo7A1qBRaBShDbjtgVoznewpbRukfsUk+3VQXMKAl+we/q/sd9IDeMgYhQVGa+9ijTmPDoyBtGRffLKFoOccK5hF2wX7eLAfL4XP5pJdTnw22a5QwdJTC0qxpFys/6H/JtTkHdylkUkBqeCNuOn+GccJlt3gwn2+GcrQsGIUTqpaV5XbPLzhlRJVEVmx8jOzVFq/ZCwgStvkbyseYoCWSmS5a6Mqle3ZwnC+l2AEfzvR+Occtp4JhcdEvLNn49jLmXulQJv+UGftYWpqV6mbNVYlpg01AnJBr7zaskzGAjTWzx/HqIB1kAzb6kCYQvw1eb04HYu6VjA7UDDu1hIinwOan+Sh/9R+2f4mWjtu/BqwuUlUW+lMs6DQd9VJO9OJnZ4JhrFB630OlkgT/k1R818bQSiJO5rlbIYjswDan5J1TjLie/nvLTmob88R0HTCV7SbgakkLmRRCJaBG64xZxtubwYaj+ySGRddenKYEoUo/WO1FKCP6emTRLRta/FB7KC7LuqZcJ0MSrI+ZTtBuLjQ+V7TDYJ3Tg078vn1nl34EIBQBmDjZgplep6gXNbZG2T+C81N+Z2l3oyBYo9t+Vk42W/XhN44B6I967ItkeBxQy6rNpvbQM6fN/cXzwOh0KzJkaHMqCYF05+pW49K2WRZ2jNcTa45Vx+qLTm3sPw2nfAhhKP/UeJ4PQtNX7LpMHEsr/HhckUucB6pda+SYblP/eGjptEsTZM0ocWWLJeY5RIuabJJu0rUQv97iF/rXLnJf+knVFT2vvW+5PnDiMFVKSdv2jYxZP8p7vw/Yxg4bvK2FibbBiz/sUVpQUYwWVDsUSkzsvvyU7IYRi6TTeEePmPr4K/gvcygMViztXmcAbSIz32wzlJONM3x6mZCIIHnNVHJOKVGPYQmQMM1xFN3fm7wd/IAStAbNYFCahwlZjyF5SrGUn4RS/a0NvqTJLA6BskAZ2FRVcGBptdQzbHnc6QDq8+SXmtuAK8fT0dST7eeWGMs/44yBnpGRs9Cb15boASKOvvN9SunWUcpY/NALYDoUlWobdbubnrhWjV0RkSRz2ilomDegvnv2yZGT4IaUkXLGxVxItsT407u8wHhokZSNXYiuXcU802InOuvwJRvk3kWPCeiEtecrWQEy+wcw+XeeHt+8ilWT7ZKMUAWIij6EFXot/Kz11XMiu6JuE51Rk0LUHg1YyAUfblYRRBF5K3FGRlxu2Pz2lpwufy0NcHk8kluwX3cfRil9Z+OVlon3KlRfGXpy1RC0lT7oUi3HTgykg2VrH7B2nbJ36gQu1YjRodGSFcRnZ6QTk1E83RANoT0nj1AiACA8LxgpDZh9CFAWkyGr96EdtyPl7Ssu25hMUa01sIXpEW3A+xTadQDYNWhBdvS7QE5V/1mWobsnVsXJIlckXyrdDpsce6yrKFDx+aNn39itXmUOCGLi4UsIh+M1+QOSevTIrYSUYaiefETP4Ky33Dx8t8K1KLh/rZfKsJoYeMA8EztG9HoPOE3bQ8cxRtdwnk8P3crMAvsE4v07owclkj3nkL8t+q3DZq5NeDzBssNvGnvFeH/RBvT4U75uB5nLNkE0hjbhY509UJEM31Jup9j8acjSAPmWpwGASqGk0b7eDjmP9AWV89VcWwVYDk7f7pB47N2Cq2VEHtOisXRXvVMorjbraCmCERg948B2XqeN3IE0u0OtJH0aHXuX+xMTfj5oe6G5gtT89KTKg6A1LVj3Lkjo2SOiLhs3EDNrqYOAML25s6FjqKQtaIGNGc161N7Epi/n3F3ds50JF6QUxGag5x7hCZUZCc8Ix6gwsvPmrmm4ihMD7TTYMnxPHlU8S99mUpRwHfhefkigMs2dJnUfQ/NGzcxy2vafvYPZ7g+tgmpKLKcDonwLqmySepVdBaALX85xxaj9Xb2aFCt8u/VZpYMQxIr2sBUb+XIRuJVUDsZdaVVhQJtt9ObJz8EzLnPQvvU8Dy+fgfy1+rbhxalZu5yJNXg86XsCZNER2JGhAupHQI4a+vXxidqlUsM7V25povZgJ1fZk9RFVVhbV0IDKwhKxEtWLLahNskEJmijY0e+aE43/B2hX3biO6Mmk3WDSdy94eS5108/5RZk3H2ZATSR3X/lEk3zCUs3eEVDGweDjUqais/C/rEimWJIX9hzHUSpgiraiazoRZkBFgHtZ0Z5+J18s5wXDfd5WpfInQtxltRIRWAmiiqWVGFa79njxc2uVQ4uOjkHdOkc9flC+nHcmllIV3LfxbbRQqPWCulppAwKJ/x4/FfC6lckioD1yC9RjFgKzT6/0almEF44Xdq4OnH0MEg5zx4601fpDFrl/P8QeOhVAnf8oA1l3sAt99dZoYQkd+G5n73L8QI4uBLKWCRYxhEBL5b9fHirqktUU2+E0T9qoO+wDTBEQlvv8hQMgSXGwXXTNxgSoucDzlKXnEApFh95xt7L3Sh/KZ+kMdItnRYd7kW6J/1N0OlxAkDjnhmb/cZ4PzTa9wUVezlitKkxaRCvXD5TWkgjpjSBQhKFgZDEf+Kmg0mUPhccAdvJ6ETZ4lD7yxzWSFFObJBepdIt6JmBUI0g2XA8el8rBu/vRilEcWPIMzbD3lFUZh27h2etr9RD45NqvVji7Di5KsdpBgCtkH1Uq1nVKLNeM4sqa+nR9qO0N4Yj5lebti/FU90iMaFNrhqjYZpm7mj5+y+WymAgAFmJjrvF1IyUdEb3QAKuEkTCCrGPe78GKaod1GRgMoFaHgZEL08xecnyxEikpIDi9rB5dlUN+52KY73+RWpsVrXwPowDchbVjhaHMwgoNvjVbqOrOMon4FPg175j7iwI/Hl3A+JOeOhyKRKY3y5UdwrgVCiJNVZAuzBhM/mQXYHYvqJ3Kr5kt7G80BEuGlo3mGQXzog/ko9wbQyOFf1oc4M7tQV14J4tUpiw43m4e+cXZqdvHv6wLsLu4h7N5mll+n5qWYQBDVnWgEmOKkQfVKGgQWCETv0ceXgiJjbjYk4FTo7r8/34+02lU6ZdHCsJUdIud8tiFMxzMjTHNFoG27FjxpzIPoguQ5qDTjUJwu8DiG0Hbz7tm8jZo5Dih6qna+vU2wjWCdAh3OKvC1A+MRlt0yWHHZitlm0WUKejXPPbncARZ7Oe+mwiBbAD6HndN77UuWdcpTTGQiHyCbdfmSY58FwCzbLqvnQHuJm8aOXEA+D79EQhoMzDJVOUJLGxI3TKPuJInj21V6zV8LyGjC9j4CGUDCDJkWISI8iy0lW7hQkI1Alj1n2ceOWIoqy6AOf/VNPkIBwHy4lJgamIIVcwbMqwXQJIwtHIvV06BHyevCL4cibObIF9FYvk1VcRWvWsuwmOsmH+QK8UDV/ivaWgLRxUn8G9RqXYP/kqSHCtyS4rT26dPQ3mzBSs2oWylxEFf8pImerOL2Y0usJwxumzQyWURvfyanEE8C28VELt3fApX/uKodYCMnY84SN0rGDxRKcA0JC7LQ7pmS9TaocKI3Zx8LXhLOMj38H6MooTARPw/+nE1AI900Icsv5BwTdEnOYdQ0SwJvPLNTCRHuss0OGXYTDDTD8+2xudMdp24lR8IoVGTY4YYeVKOHCdlOiqVp3zTdX7hEo/wkVYM3JwJkt0ZaR4chIaeNFRh0MX3zPBlKP7OKyIWHUnPHp1ZLWuBbd2ynw8Xned/KbLzENdPAoqIgHLIENvICGsdiXFCI1Sq6TJaDXjXwVuvGMdbW3cH+p5vAcvNPNSdILIVaOhBhfruWQeuxZvbpphcWU6+k3M+BYvMlc8f1iQXlbP2JavuSEUzjIvHgHOsx+71eu0+fjPiZ9CN4V4CpLrKhlOCzZ/CGrYvGWy/T3mmBeoW+9LTEGsMtYnKjXSVG6hKEUHzkE13/jUL7w/YwadC0e1N/WTOmWMLBPZclEYgeO8T2e8bKw+2V7OnlK7MMFtC6d5+8Z/CPZizd3BdKb+P/3RU3aDqRikwezA4Lwlz1cfCIVe6NK+n9EvQNZVMBEVApJXPEW3YIctMCmBvSaq2UXpkkJowrL2TYQR3Vq1pp9RUn5Yy1PKE/beY6tOdFi8ZbxgtJiS9n+zT926lLBXPbrEbtlfAkFGMWZea4BWA6jleh3B5knqkPlrqno+y3VNR//l3DPqfurQLBvBCipJlMC6qZL/2flOr8y3+EwqbiJ1PWYLcubnYmut1Q/U8OVSspvyuikL7uD+ZVKR0i4KFrEkgLhhmqOo6gPcb1zoINewZssJwRb0SsCOzpM0fPCdGtGzygxIvET3JBnN0U8weoUWjELyl/Hlk+ibVhmDAr2nAs2aL7rVCgVr8mjgQPmpWfeg9iBonq5WKTbSR8MCRsiTCRrmMD6X6ZD0y4FE4M4MTKnKMsut/udUeZBbd6AZVHl9UQK0vCIX5AyyFphVdppbCqLgeBlahfYImDRCo7Dx1bhlaiVJwB0uhlZ5PWONMbcEFsTIwWxqNyb1Uk/wrx0MIBo4KCBPGXkCTs006Y9OLjAcNIzlu5oYdPq7kYJhMOpisvsHkW8wdTvaBqT39gw7aIpHVc+v5XCzz8zzpWAXtbqzg/+36h0j3PGlvkub3mMq1r91Kb02uqQ2KXBXKJUuWBzD8aMrSdjmLmNsohnAAlLvMd3Y5onxZRHw6EPr49AhxO8XVphqJzJ39NbYhZSNFdQrdJEsxpUW0MmgbKPMVoY4M2brwbwVPV85gS4AVgbu0cHnuzgC3KaIDUeQjI8c1tmHQRCBDLaNQVytOZtyAE+YLc6cRYCCjX1ayazt4wOtvymo/1QMtOiHDZyIGlCz5wQKTPmcA9A3jXWFPNLufWSCqJoUv2ZKm8aNBEz8bThHdtBIX/GpZ7Q2D+r1d+QdhZiKRoVTAGoB4GuN66Fg4XEI8WCh35+9w1dYIYK1XEllLFhcYiWzlhe/FOQlrM8oH1T+3n0lqZTuN5jKmlP3l0NinkLB96RBGXg6eXOmXYhD33a0MsA1ynN7qUgtumTvXB3UVFpvBFqSw0hjVxsOp2yn9EKkgyGjuKbCmzGBDGLuFD/KU0DE+BCaNRdaoCVTjt28+BdgnC6LEWbe0Sndx/f33IR1iZ40dv7JR/NAc3GTYpOf8qEaWR6tTRbGeanmBn5lui67iLKcs5Cfhbxn0bIRgnfkPLlEzxFOZkdEZjBX50bTvvLXYAKqiG8IpZBnT8ZR25aUsIrQr06wE5J4x35Yp46RzarKxkwqXUVybi/WSf6GHcat+oTCHgEQprb+JCuLeFQJYGWXFMR8teEoAJ8cd81AzRAvUal6jsUb7cd5zwCWlEXyrMODb3Y7T8tbyxvDQjlbZOVa+S+9SObTz3dcBh6le2721q33ZbkM7wrfWCQUQU1gN1h67fBo/PDBWBNCFHbEzYD0Yw6lR64rQqkMwGjB7lkwbQzbNuXt/M351euCHhIMpcJdvpd9guBjMTKCdsxUefyRONQD4BSfFJ23sFev9YQmvfZghXApzWedRL/UCC2ktQqVOlme6MDIGybL5XxBXW/ryVOgRgsOYbc+XUr9WhkUqv1OlJyPCjAKZOTf2EJYt+PWW8HhoOu15+lbn4uBvd/3Q2woWoJETlovZSsYf6XqpJcDbznnLi2osWVwzp+9phlrCBoPHq9F3i707CpM99tbk/Fsuo+8H4OXU/JeFVkNEtNxxXL465TF986yvgSaQNPQf/BKICQxWFRJrn4Wf5Mx1wvxkscCCj3NhCCOIv98Tzrxvs5mQYlO3NhaU+59acD5Vh6iWtD9amYqPranzuzm4Z7DGQL2frjXr2Kq8JhHP6EzM0cOx65gP0sgAAM5irdiVu5AWU29lopMrwSD5v90Ll7de0zHSk24xykHwRIv/n3AOv2GKdClJqtVTkcAASijwsxXh1BZ04yYrODN+jo85ycxRHZU6A8V9gdxgGLuMZ5wFvqrzYjzGSmTOX2UoQzq0NU6FYHQ9qyPJ/p3RZA3sS68bQwlDNeP3jPN/qKmFnua0i27/3Q4MtIsazYAvVLMp3FqeGuHZ+hqGT5SPCZUu4O4ih0l6r+4WZNcCgs8qAX7Q3/7zWwdyFV7siiqDprWCJ8OMpa2xHf5kuBe5u4JokjqIov248tH8C5EcnQZhzQyy4qVsPJHvkpMosjkfOkiCkRRWhjl8kCa1nmUfb4Si6KB+afSPCiIMMpAQEt8et73SEijv8OXGipiAPtgI00SdaXquGhFL/nx7tznF/R7QzYO31fRo9vbaXJ+dixh44Uih81ihG2o+moVTmH1NgLAO5mGovQkwKH38FlaQnVArmaZ9n6SUxqNWC5qosB93Lez2hPrLSgpX8jwYwP0/3RraerEc9UvnY4BQH0pzmDFol+Kz/5hSFOlz8RCrcCLu+nfy4ap9spXAn3qEGoHOW8JT4hCk+1+psgcfZ8b4IxaicoSYFkb8Kn6dn5hNnnz8sPy2jN7OUEyeNv/RPfyDy3iWFyLagIGeMqZdm1K2tG4VF9ZYVTLFzgucO1atugfdmVooDgH+xflwHbfAVGnvfwCc6PQIhIFcOIFd3Yta476Q5Z/NbsGxA4kpGb8fMJlUzbYOoET6iW6K3Ti3Oyr+7sKwj960iOXXBhIPs2UCO/ag9YAYTHUKn8g730/piM37GE2taSN1TbiL6WE+4RmSzVc3U2MVEPULpL3sLWP0GLVjw/bxFxnwhIayahhXD3R2TOmjuUDx0SFHVEq9C0gp/0kkQ53A/wOh2YGjRLrLERe5Kb1on/xHDDN9L3xOyD2qmJt+WNhs2PgminXtxWQM8LqeZncbFNmxKD1oH9AGLfDaWPx+78GPkUz6oxoMWLS5/1XWZcKZf1uY+4zXVJH2K2tV5JKWOZECVXt7F86rT8WBHozNvEud8FuDVUdzG5/o+bKutDT70QivCjXfF0cpRVFGCOu3JUen7Vo8ZqykYQJbqDQVCeb0oJRwpt3HWyX5K7zeno+fTOS6NFUkxN3IjQ5LX2OZu2+4uSs9V0bSHI2oH0OwsuJiTWiW1/JcOXGXVW0NyWl14HDTSsz0h3q1hb/GYXY+10AJh/x+TWbO9/3dFd4SVcrQ9EvO0AuWJHqZMFp1MEn79jUs6dKOw7oGy9aOo7LEDhqDbZJs3XrY4cymuC3jQyRBn0LbzvxFQlu6YNWOcI+JdkVmH+0K1gdM4kJaur8lahv1ypiY3PQcOCd60x7tkRJHwn3F6oON8/AaqLrG0MDgXRxT0xw2nMN1dbUU/bc2wAB9dy4irxhM+7kQUT4hcIJQIAoYgfzkvrpSqZV2tBgw9WG4LBjVF+uHv9oUr6oZRVv5J3SR8q2d6eQZVOxnu8CXsOttTbsCCnfOmjeFqn59/BhJPP0TH3rf/ONUrGc8UN25fDiMhOOTnTbF2sPuCm+ZYTD/4lFrlSxqzdhsapCcWrb78H0GGuDN8uDhZxTvTlmjwdnHT1xMutS64+J6tUmk00A1Zv2+FiZohO2yZKFr0rvHEXMf0Q1WoDGupeJ1rkeRj8e2trJRCpO8AE6PJZuCCv2Kmn2EtceSadXOCUL88IdG3Aoqh4g06yDigXlJuR+ffRvZXcbYJ20GPBT4ze+0nz/tjP04RfMo0MH4uXQwR6LA8lf/L2e/71Cy6f6eKY529Qqh2t4hlaOV2B7WrT41OYadK8y/hZwN9RBZgCum+GVXmZUWixc6UVVMosbfkTJaSluaiiZ+fX4wgtewfjWWFAMMKjV2WOzUL/tXkiCbkGhYIFQXr5XvwdFJcxqoMnxNhKqNn/WCGzVLIcRy/OM9W3pmrxKnzeidr0BELBhSd6XhB5QUarArRdAatFO2K0NTOL4xBRMTta6HhrA+WmH/5C7hmwgApWd0DuAZXHdyQSOY5jlBWFr/cOxmKuWM0zSU2RJPAn1aCYwiZquDk+ihnqZxOvhppTwApotR7rUevWZi8fkr8r3YSgE/z7bQ796C2Neg0fc8eOx5/qaEMBVeRJdWxo1IGHhgVsCdjgYafRT+GPMN5DPabizpGfD319nGpAQZ02KPWCJOKN4MkvJwJjQBtaC17H5XlY9Ym4eKETV/V7GWkH0moLq5i+Kqqy+58cgiRonuiZ3+fhqlf4vwUvGFI2lEZzHUfMLO36/KuSP1PFtX+owHr0R3DuhYF4VlDM4kIljnmBJs0vA2JOvuAnuvyhbefdBLsLkFJuc92C1Xj9D+oGOMhWFurQGY3EMfgD/noRLAdv3y2e+ATZC+z6d/VN9H/w8YyRheTIPWPBiJl8x8/ZID4BlByZ4fMJS4HC74YsK1XEkD5czcxCtTtDdA+o9bHaOtGQGhutVPJF/wjb5DRMOZLk+uky3Y5ahAH2vgLwGhOApYciaFI5xMNp0Ru2Fqn6X3mIR/N36EN9+DMuKiLDzmw/tGelPlBfkL4Jbq6eJfDR5Jw9w9TJwuAIc5oirqmYky0DFvvjYQgtaZzxM6+ZGZRof+7I7pFp++8A12yWxAiPb4UsL++yQ40gWBe8aDlOUhYTTVtpa1XXtCVxpptGluFcHl7XT/vbCcFKonWX1qCsjYSgRjp27tUPJaLBI8BcPbDjdmcJim78oJkisaTWrx+yZa8k6yjvqpbup43L3cV5oROmyNr50BIMqW4VuFJjooLzOURhQws3rtqL7bCKR5g2qfDNK/2Z8aSvpvocilIasaJf3yiSaWBJ3apsQA7d+e2t/EthBSzhoW+vskqMidkw6QHEQNYpjLYmSbzC7qyVFj0zTgKHqJIyhMQ0yWes67a/p6Xe0p3Wv6uisE8R7R1YczGSpRCZhjrMmd8AbzgLSSGVsdbrQDsDb8HJ/eTaxIkcSphyd6D5L0i2+0OrkftmfY8r/ozKU5+5sgygU8LQKzBM1/KSDhRM0tJw6VzANFnfF2H/b1KAOySGtlu1WAuo/UqmEm94B31o1+vf5q2q0GHnXox/+9lRbR0Qzw0EbGPUS4rRUSYoFE0P/NMWzwZDgdU5NXK7tCMOjCbe04JW3v8MZdVBJlZbfTMAlBBbk2o71sqE87PC1xHW2dR4XDWdBktyXQN505ckdljsy24F20UV1FV+cHwIrQFcVUve5EP1gNInfZxe95X3l8zy2Txo9yuthfnTL7tKLypP1LgbUnXn/MRkn4HWiIDtVOj+PpnsUzAkdl42TrE4qjxle7+YahiQrd9YknilwBGjXeCXMV+y04P9E9PIor1sDRVYPRsudAk6L1anN/RVLG3f7DSKj+XWsTCqi2QGAi1Ypo5Oxq7PKK761fTzEd3CAvre7PmzTcFqTCXOs517SgtBFCWiGMy6MyHvwVMh8MVAI8cEbqboOVjWTXJ4/IIuQk9qWDO0CNYo2rxVViZ+y2EYRjTDJS6eSiN1iN+8Plam3cOJJjSVswsHzNV2DVrO7P9MG2Fyl02lq4ZycNHdZhd5EKa6fad9NJ7D8/2EpqvKzvzAUT+NmO6rqiAdzsnOFKyP2Rkbx3Pyupke4jvSv5wK1mZr+Eg1rL9L0rkULVUhISMaAzDTfEn7tLDpB07v5YXEnpZiymJEw+/8ejiDBr/xjWDVZBrhyNLGrz+HAexqeAh9gQM3sBJpdtPqrCosSi0BTIwxMOaPjI+1nTygWgIKtSHVnoW6JX2iLHT8qSH597Dvlqoybcid5CnWNatSaWGP2GjpDw9atx3999g6HkDMYBfdgkvQqit70GRUI32pukSZndImeQGejjwPaVMALMr6hZQfVcDZMs/DzttBqv607o34xnBWWpsXoH3Q3Hw4im1YdHxj3P3cpSAQWpsoKYrMhRzV7gSsWi/N+VJcyfT5Gj5STNTUv99/nkZMt/Vm8urRIog2RUHbCnWVby1M/+bXDeqEussFb/CkDdjsk5th3PCaWmtXSNUqAizsQkUSp52/VJdyfAejCkPcISfuG/W9Av63SeFAvukVfI9HZHQ0ZWBMFW6YeTozY1jqLL+jdrPUvnx7qhkNm3qOy6ErcNdPKMonZOMUZwqSlf/DuzWAmK6Ixali8U6NIDxRLDtA6XoRilPPEIedhDzrSgdcvpZ2iBC2Ya65osSRAOsQj+1Pqnh0iNQTdJFJxa5pbksMkwVBn44IDKztfPc1NCzVkpp8a5yTF40HYJicF9pWhVbbI7gbC7eCAi0AKEUS6ITiqwyOJh3FdfPGAI0PDt4RKAwh7dc5Xxl3Mvjc1SGRLgcjjBf1RIcm7PM6KnVri4FhQU/lshvCpFW450V8zsjbMCxsDff6ObREmI2YU9lviIGkRrTMSu+Fyo/E4AqVqqQEXTdJN55KgOmHKHYOV4XH03GmxpLNOFG46BIRf1WaYIO9PkI+iM++WlwZo81mTTSYNyCQGxe3d5dgC+73eKdo+gw4tWI+5COR2hfULPODNbZGKwLnYWtZ2vvwcE5mlViymGqGp5pjCLoe88/dXHSF6bh6g/qSRFIYkf0cqJanhVfkZ8dJ8RaLNPezZyIOHn+nJn7anDkn10/kI245AvWmfstp1DhCJJbJzdjOoZKR2U1PmzqiYtljhkZfqHGX5r7P9vkoduWNptQyScOYHkKBOhehwxgWImPxDTdunMRTGwBebNgY/gbSDjmUovNa7sgqWCEvMl9PKDYVOFfGnlQTaAWYCQlbg9TxhygqCVTtYuL/untDB0WWei1om1xSUJpFEO6MnX90nUvGPu4ObcG1p/R9g9UUDHuvqm/cmW5aNUDMWAK2weTg0vqpR4wv9kwcquh3XUGSERKAOG7YdF3gAF/miHToXSv3mFskAom+sDrUkre45RhzakNZE96GmKam7wyqI2LW5vinOgtDn/HuSZ7gYO56DPjNz8wF7lw4FVM6W8UxShQTIGehmjrpdX+UdKCxNvfkSOzou5aSHl4TiNoX1XYjQsFxVal2aWar2jAX9dc/j3OGXzIymus6lG0A8Dift/cBugp/uaVYyc9pBnqG69GXma1A76V8Zmf5iBljE3PHz9WfXXKJylBjfi4sZ9uuKGyRzcW0ZPXbRQ9u+83iNAtw9MMVb+wPb6ptA7I1Gs6f+b8houQQFW//O7EHzOvwqpjs9EBIbEg4AgYTgJ7jLmynD11roLpHgeJm3osuzUeXiRLv23CFcJ3tzMRw69mb+9DAwLzuZL3JxzWMzyVhnEQJXOEJrSpc25CC3vidXK9+KC0lREYVafThy58HzAUXOFHKbUT/X+YPO1gqdUm3tT8uBz3v7eEzjkPQAcFfxDqp8ZogOas4QL9fESz1AyNqiqR/L1iRZfVK+gb/D5KgsaYSgEb0klLCl7EhfpmX51qe1MsawifzWNx83srUWlzjouj4bZN8UlBbDoqBQ09U28p8+QO2ZYaNLH1glldt8IyqaILgf+zYIJ9EmNrCsyrIpS33oFLlukfLSXEt/Jk5GHRXHK6w9b5f6yti4cJOSU0cU0ZSWYKBg28K+WW3hTMc6iq1DIXBtT3FaI5T6RViJOuoszJpaMhogJ6b6bhEuIjheVwx4UpvlQ0hk6Ziz6ck187LrtKK0O3gCUXIyQQBalQlC15zl7bLw4dd7ThAa2gVHlp1w1jkAJXyi4GbbHqbYeG6Lgs8Rv7iQ1bB4Iy4rWM5KwxYjfI9vDNngYSQImcYp4uya3MlPHQv/Irm0RKtPKKNy91izEQ4f8T5tniIzaCSG2euuYQVa7psVue5DWSAlpqqUCPJt6QWDGRbk00THEPLa3x2F9WLiEy4zM2xPd3sLgyma7BfIcrUZXfHoBOcrRSbLR3xB011jlpcnYlDrUnNHSPARa6G7iaIujg0ILxPMSmycrGLg9b3qYHv6XDJclSv2djT9m9h1pKL4g2h/boSQN7iYb2Q9Ku12VmPUayE5X9Qgpb9E5cVqd+0a7nF0omZKbbN6BdJpStKfQa9LZiZJKucxfr+bmEiEuTS469biHPJWpf+bJkRdER5an+STYqNETzHXrbA4NTlDDSsG0L7s2Eb4Q940zP/RVy06r6GWKtc/ofWD7qrP5+sM7wm3SOb3gBtnIGxESEgr6Js5Vai2HCWQ6GIbfqgkqphW3PoO9vHXYdgjeqj8PDloDObWRJEDpetUpAGryhvvI8bspXht30UZUKZfwhF4CFzsn9ncNDZmtTIc0pR4k4pvuoEc5VYKPrq71gCOCGWh8XC/5cWQxNsa3zIh3u+rNjqbWJzxI2t1Heuy1Evi4PbSZMXXHuQaA4BCdlKoO8f8Qv+h5m+NmX5FuSIVObd0wRR61kmzyTFGurhZhG/tYOBYn6X2QanCDFnTyARem16XBr69pXD6qh8dEiN9ZUubM8soSrijeEJ6oIOoI3XV+RuFrF345EUSmkUTlbXckwt+F0xWHYf44Esba8HPjl/y0ZYaJnw4A4xajJCW5ExTAhz+wi/xR6J11IiCkGzrdrXenXJEhU3rDnZtpAspgjiuATMq0r7mIwuIDFSSvu8fWGATCx1t+JxlGw98Wlg2/gdBW9DU4ckuOGqC8dWQRwE4ewyhEinEEdh0G7Zto9MWADx2pem9S6REKjPX5OEi5WkeCW0J5X6ONkkyM8mjH9G3ZXVxMjr0ru2VuxoR1GpypsQE8xjNyCRco1bzPyGCl/qBGAMTZVY0Wsfrm5uiGIvthD5dtyP/rF9Hgms225kvcOmTSCF7KGbCaS/1TqVpejdFeebfORn+zcSlN2ILB2O0B4+1/KeuuzfSnSMn0O8RNCj80ew/JnwB+znnXMqjt6E46dRjO1sdApFPr5EaUlSnyiVmD4urA0bqEJnwwcfl1qLhjK42Bq4KucrGUDLqU2fW0Eg/bW/pMwfhtwq0cWAWQibidnjzSihkfERODAdBh9kty9AxcqbWH1cfF6TUTMR/T5NPuvKRWfc0iOIBR7Z1yS8Wt3nDo7/yl9k5zhBsB7O7tcEBMm9SS1pKzaatqHq8X6kakx7BVv2GxbJ/vCeWQuQJQMZjg+Hotx7Mk+p8VLoC8/Qz3AV4wVasQgRIY8wmIDb2tsEc9iBoezEzV1A+sF5Tt3YaPYU1F12UA1mDvFGdv54QUIEcUL5GXJiUimdy2Uv4j20UJa2Ccw/9oW0auxJWTEoh5OyNL9swdl8sb9j38PW2neSvory/39/RanYUAMEWNchNFEclcGoOpqF8ai5mL4C8f9x1zp5mOUc93wXEwlBdDVy8JA+ssssKjOcrpmFrM1yUsq0cfqxMvQnRpVErftwwQ7yt7T4uUlZNj6hvq8ydSENnFRsDh1PnMY9cjnsLlUgyro/iA9QiTdvcGiFplp2wNgLJL7JthB0XY+DzreIZoP2U+y5wki1pDXtvXYjxc+80X66EaENz+r2W507Byon8zFKVUZxFtBAEPvbxdQCWseFLiMt6GgbUNCWavCw6KUfxz+CuTOTsmCb8KuVDcZgOZzBNPPvb6UYDjQwIekH4DQLGQGZF3IiaYiGjU44HOkHpSF8MBsB9rp0ILrBPmpeEgZicnvQalfcNjXlWYwEIn/sjMNpFwfqcRkT8F9ZBNwk5YjBXv/rSI4UqGzPysxcg0SN1jPuYYo6UZNpTI5OpZ9LCD8tdq+A9hya/3BA7mLXFCIQaa0YT7LNVj5i8IHCSGsoN6jxx0g26ykvNk9/xgqFrTR2RgURPU0iYPwlMebA/c6D+ogX22o963tK3gbzETipkRwMS0EK3KRbvUVYkr7lFqVzZvlARstTjzu1Vlriz5CFmVXAI9hWU08+6atTKaJVaQqMhxptmPt8sm8Jm7dT7p49XqwyOeuJsU+YMc2AqnL0x5i57g4pYNShB2so1XSGfhDybTZ6IeZ4B2fuJ+lPbJVl63bHcg3K9W3JWN4uhFvtQz0uiDeS/HUmYXTNPswyRGL2CdkNe2JFHlgK0PR8EGt28XUZTp96bAkpjckPSdQAavjMNUavOjahO8PwBfB1YNspt2HDzoRulsEsZAgtmRmqaDmdUNmCe58LYcH+XqvC04J4uLrrYO4KC2gq3khwDkYBgEglgKv2Kbasx/WQP9b54sMFaKY+JB6P9MBQjidq21Wg4+QvsBiyjODjx4tJjn1WlXeChllDshWsKhAWqgF8jzU/f7aU5mse5z92+2mDAwD1j6AuDFi9GoRZpeR5Puu83snsBNNyPmlD1jhdDpXNL2z1Vb7bo9YFK92Sd5tGpnNEeWYRugB7OfgVcNPVxZKvhzG5KgIwNUISeYvLS8JtNMfM1C4jR4EDag7n6+g+m1zpa9DQaZSeK80+VJv/QMruzaNj9xaMNViwhdWwdAkXnUm6kVhupooukEOHF7gJLRXUDtvjY/DBk5BXMJ7VZ14Wjd1A9xhnQ9R/KWKkiTNdY0jlUkCX30pZOp+wRK6diyKc3NhckbvC4jFNKN5xgt89UVBnmC2wpWl17ZxxJpaeWwXo6A87BrBjQLDuPDp1HkFqyC9jyUzW00m6T/nWhw0A/OZ6w6OxmM3/LoXrKJh+aoYU1BRBTfBks7z/HWct/jCUQjqgbBlxW3Im5Zefk6i9e9FYqf2Qi5CT41ClhPcKr4SbHp1yRR/+qnfCAcwl0HwZMijZcUWtxQ3kI+xoYJ4IE5PbpoHfuF4/dg43PikVki7NUTlTHY/H2i9e0WoSw4KrgAVftNKYRvxXHJRNoPFcstzwVGtKsRSe1opE3Nvvo7v+3DR9x8xfwASBTGiXP9GFaU2s/MDzVPPoYQmPktaGqO4mJugUz7FPNpCm10j0Qyc/hjz3J9JHicUI/mWLsKM4gRuxYdVXuIRRqSK+obAcDSgpVnbLmzRlEwg1OTbdloXs0uv6IiMHVLZCnVCkOZHdua+tVh6UKxs48/asYhEKma3Cn+mCZlzTUdNzuxNTARPn6al+ghMKanp6Ify1/erUfZCY2S9KcC4lSpIQK0dmficRLCylkCuAq13vN2QM4XYgQVvZN0XkB4VavXzscOvOBcLy2HffWlyCKcEI+YAGxPIbx8eYpyF071NAxWqryvR7EusijHa5TF4MU07fpFJb7kWd1KeWYGKqYLvDtAuolkAF6q30V0T5gL4qDUf8OnWIUi3Kv6W/HWWX5/WYYmHySXwgb1GeHI5Qev6YaxGF9McK1aEnMyY8JIObWhkJlPwMK0DmGBbWSq/GqUY5MIrbzC8pwO+GeRU8nO07oTR4KipdiJoWVoEHZPxGoamqkuFLfNVg/L9IUPnBYvs6tEQc12PvCsCDh3Qc86uWEp0tMqhrWmmR1ID4CGKa6oKXWH4jQlrCmzyxKHNFXg5isATXPembo5QlyT44lGHrRmopOv68uXHqK9EyEdFWTnwqbAohN/KwOS1UgH3RgJrDyFvulwlef81NwTzoiqQTO9ykOHCVEDK/Qjgpp0ImnF105cOE7+bVxDPdcpK3Wewl7DOHBK6VMBuX5/Rsq+PfMHhU2eLt8yKM+fDrIOVSXNhbdgSHwts5WsQ5mDBG7/mGHY7X/EZLNg40MP1Ryg4vqGPEhb3ZNQwLypdtjhI16imlN201SUTCYwnuifT0TxnKngWGfNz0ORBGSjDYKt3VDQ5myqEu4nhbD2lCIKn2FEkC17JSZ/+XOl+t3AmiZSyPc3+Ew9oIwAqHZIHrCmP0irGXma+34X9hFzmUJ7enSIJPmHH/uINWwveHJZySeoQnM5MlulvgE1bz2gxnN/gS9/XK2ZeR9BxedEvHQTgAsvIJw2Iitwn5GzjOwhDZIAtkX+RxPGmmZID1PnZlDesgmeMLUVaNtqYeW1J0FuVJ+ZcmfsgEiihKHHJmzUQqKmk8Fdbmk3WWD6o1amo4xxoS9HjtKiajnrxj+fE9YV1s/cQ2KlbgKX9OvYJH7kPACESLMgoMAsPx2KavEY8MWd6Xo33PpAAxtyeQNZ2GTullTdiR0sTLGQXTNPK+61xBPGFx9GKIOloiWy0hp8I/OOmIJMSIF0GTKa5ilgghE8ZT8Fg94djpj3vUxAPDamp/KaJDZ90PTEQ/alx/2xEu9dPuMqbnyBlbFZokLhFFSgLFKqOSK3sIw2PUlsbY39Of7UmT+B0Ug5y6p7HRxfyjoGVM/pA6Ha2ve6zgfRr0L1C7rgeq3n1EG1jhKW1v7A94yM6HbATmyUzRL9oPIIrBC2S60XI1788iJdTWlxWPsHXzON4a8DkqH6FyQaDQjJo91xrivEF7k9v1XyLRBdjxbejOnuExiKPfmPlVcXqFeKFTlZz50bJ6elwPAbgUsp9bK+4w9kLp0K8qcHXWyleOv3ddrUDUiIhPncYQ8Gp8WgBBbYTtF4lgPjZRuHpxLE/H+mMGpdSXHYbtQ+F6lFNkBu5901qAXLWKMZU9IV37hZXV+5aS/X/E1vZtMS0TCdfzGAZ2u82ArPdNRo9oEfg1AM+D790Vs10+J3Kf9kvlSQwaxaxNgTwvWY3yA4QDN/0Lr5LJ0TSvK6P0Avd9OTCUkPLHjq6eCsYogWVBl23MelqxDYrL0KETY0UqlAZLoCwMCsFtluoTr7QqeMMQrrgXgGE+7aReTH53UFVXF17pEcdZf7+wM2sT7mT73DGbhbbeR+68Ryf0kApPU5j09AbHdf0qAN8qhDAleVIDxY95NzPgyCqgeZSEgR/UGs6HhCCvZgS3713q/Q6a/JaxAhBzqaVCImOszgxR0tt6TOTeM6pgOAhJexxx1EoZvmaYGdENi4x2Lu6u8w/da+xrjW0hYBOB1iy5kfYhQCZI8BVwAWE/sAs5qwCwoFVfVKvxSIDCzEQ6t/kFdQCfowZi+VJVTqvOACrFxIrb1l9ii+BSiNIY2CzHWdA92/wtrNnPnJ+URa3x2nHVqspAchpTMM5oGxYK0FOLl0qTznI+R2vp0YeH9Zc4ri12wzOD6UmWXVdmydtYq2Cgv8hNnkR76Ju0tvtgFwKscD5w4uSt7lvqr3dh5kZu4uxMMZZNuBggw88rW+Q0dOw7pFsx7PFuWzGerv+WDTqOFAUiIbH4tOs4BtsVX4GWE1WFndtXckqPf0zrv3ro4EyH4ZlPIXUOXN88AKKGS3UgSqnCXCSb+N/OrHo6K8tOCqhLn7mU1/Ez3yWflUJ4sXmy25Oa+JS233UK1tDmjVVrUNb4szpXMkXQ9nMdZOwctgLrgBul3oRBMqAd0ah6DB2h3+h8AHlLU0PU4f8X8OG91kiKIC9gV5pr4u2BTAOjO5mvMCpU99QkfFgNiszB9VM11O1KhWmehFGQZzdfpsP2Q1hHer+Yzar6UvkwMklfrffL4YCzF2w5/t4aiSY3EP4z0Fedrfl6jS/cdcJfmkq3g45N3D3Az2oFTfjxb3Uv6NxQeYlXU+DHIwVVlksdWuriXsSFyLDt7aeXp8X1RU+S0ZFhsYHDaZU1xF0o3hbwGny014dEvHP/acwImEcd+aP7PnqBgHprSf2eJJT/3ZoOecgrlYXjAfk3Tg5YCE/WMNvXJCZSjq8fGlrHLvgBFfonR86p8GzKV3twV4nu9+mfMqX1DXpWm8X/iz0YvEqMuao+unM2fDrEsnTQHq1OQHPhmtYEvOJEVgBagAeRB0/WYzPQ+UNeZgNiH1IAhr0wx91Gs8+4Dw/d/sfKEzM+3SwbRarprwVU5QhjzCGSn5/j59EzXz/vkCqH3GdrHDekDnQkV4W+8bndxTeWwZGnJIEU3iqipZo80GmRqFxCUHEjUI2rWDrV8gwWZDPNoWwpJRNYpRGGRpAhc5VB8bOAHcWfqpppcBr1cHYTzASGGDcCSp9ZuDTwUiR2uwfIdvvPGxXlGKdvQQzXQM6ABzMS/U3E4lfBxJ/nTFD/XVygWVJnjl7nWjBNNJUzErlKQckrmc5Q6/IucPA3jWi1MBD1O388mC8NtAO3bIJO4KkH15tP7xLnXsB55/iGRIuFFqPz5847tskerxYVtqznaZ/TGGREmwHtbkaH0xhPzljZfEviSVqjF31eqbNkEemgfSxSRgo4+rBp4cVqmwoajgkjxZl5TWqvykY2303O3wsVtgfnqcnAbKZRK5TB94ad/cqj4evIFiUZMsKjAno4BUFTaedgAgtLen3SKkihZfjoNZuCHONBc3T2N4Lu2QVgcjFR3krCno2gk/0EcozvrRqOKFa3pT+Q1TXbAZoM9sq0bnc3UAYFsvMyZeYWXJSXxgIXJ4eAryTuv0ojDTACvvzZyGq/zu3Ol1Ec6GY8/u0prB6JM1Tt8Lxf98xOvSXHYgRJSU23dqj7+KAoDJpIr4z3F+Ty7ePChDlh1tbpVz5IYqyF7v/W8BQBtHL6Kll/OfW8B06mCTvesYzpPeT8MqmoAMhhuuSpGJOu7UjJBfzwxsW00PRe2yMtae46bZYIiZ1Ougf5zAphtBAYlYpXrcnesN79P/au6bbCEx7535l6Nyqa8GSokEl2ACdRoDYxtMVchhYsaJIhi24EL1LjfaXXoK2ljp7vTODJnU26aVNiyfiWyKgbKvfT+HiQ7YqgVyrDbE6XGr+y8t/0OCTRHI+aVWDpYUMnUxyb+ypTaXKogH/YETSIrNFLTglZ2F0zi4U5fR4WWGfIuVlgQmwVjeuagSkGuUGElTXJgqzpTvJvBbbW8I/8koVI8CWBAoTzIBDw8B5AqpGrXKB4s1nVNw+gf9jP+eQ3kVh3ifnGss5Bv1AbmnEa6hcVptu4+Yga9s7Ftzj559zY7UGxPXRrsqE1Ut8JckyFgUMwy8pdSHUIObv5WlGbJLZVYQjXoXjyqynLNuRuVYA7LaQkIl1cDO6yF5WHgYp7lUo4/KOF1Bg5e1pnag6VywS9euQlqHR1rrvsHSO0n0kQ/wq+Yzr01cZowhgxf0KU0jA1w4Iexw1h+UafQLrURfAf5KXuQMvrdjCS39o24MbPDCkHX9n+TaiVs98fbWY1jr6MsQZNZPTHUv/FHUgSU5uwV823r4eFpQtMpvTdTsOOzNbJ+qA+kyJb0n2Q2xP9O0fAayL4SRUBv0VvUG2eMb7cDNG2cW+b90xYq3LHMukZnoSR+4Uqm2MeHGAdQy1D7Hk8R7zEErQg4AWXe6LsSkmuKweVhOIpDWYnnNLHF11UpwtmwfiEsnVjOCVtafmkx5q59wQU091M66OWOGmDu9lCh52y3ICCQfJJg6e/8NAv48bl8hQO/DsMqkxllsB3VUv6uKJHo7iFUqya9r+donAZkLc5glrOWr7LKGKhe/Mzh8r9kR8hKMRwVti3S5QKJoZGxcMzik+ojAqutHnX0W2D0EupYrCOBWRK4EWAW26LbFyBlLMDNUR2AVKEx1km/g54ua0vA6UXM90rBF7D+8CuWlDu+qUcBvCVxWYdWUmdigZyEJy5jNSbdLk5NW9vHqmc/OkzyU4LJhIqdiVwBQmmzv+Aii7f3OUMLItEUxpK24f9qViLBGShvpWRnwXMT/IAtVAg1cmuwLH6akiQq05Wynk+CNGd0vYBUKvckzdjkhKYv07NDFKrSHtxno7TwfFRx1PSUEBejOKsDsFfXN+CUzDbFiUvb6wP8bwBr8SB/8E5rOkzpgx3vzyThC6LUIi8uDZVjeuQUXPpSQPLM1fnOZDSKpfF6dGtWSFxWgF2U4+we1rDTwF5np5skAXmB8P3COsFQiRX/ShgSJZ7WXfkKdb2IjL/JChiCLb5iGxqEChXfyHN5ZoHvbilramP8NnJnwSRwBXDJOtkvqCVeGYaHckuB/tU5WwervFqnnRDAfu6nE/nKDe7fm6AXLh46YVd5mo1cHJr9apiZ3kFZ4IgDKvcvzyMBIKDhXb7q42tWWBcOZYrda14b5uERECSNt3WxPYidI6Kal1GRKejQYOS+3M3b7k5XCuLmozln26pQkRwJYPoWvk8mabCuWMXCBf0Q6o3EhtEJLqJRtdK4ZMLTkVwETOtUWSr0UnrJmIDvxERdy6zO3n8KcbvUYX+wJ7HmlZ4mKOoyjUYRC8ICsSCQ3d1fwtOaYvdlyfMbS5sEvQRuVNXmp6PqXrUzsvlkqq3Etj2KqQpgAOz2Yf2Ub1RGtuk6kzNPVGRjDMtP9INtXIsW1I3DcHr4IiRZ8Xglen4jWy62MYc/6fAPGhVH7oSQq60NspKumoUya+0OHZ+K0093ui/YYtCJNrpeAHCBuDh6Jdywhxil0JJ3uxuomtSAe+vfCXtxbngHngqftFYYM7ETBxGU617AFgoNUTjJo8q/aPHkTXvNzVDSVKCbC0jP9k5U1pKjTUIGCTY+VC0/6EjJzAINlez8cXfB9Vqu0HyoSrSZ5SwvsFQtjcWWzNuXvoejByqeE1dZbwZKV8cBKJZa9dq0Hbe9hZFZvgoK1Qd7kGy8WH3Fq+RVUrs4yPzxsVHbP5BdWWOvNcp6zdGL5iNxLl35D89+390bXdu3zdEuWzaYfZMB32+tYkNJFWa+bvhYEcb9XIijnIUNhmii9Iwp8J0zKW7uvv9VC3NcjzQNEBctII09VlMT9G5tSyHLNDJOeM4lVVzYrjS3ktOwLfeaa0XGB1foacWEHpaioAA1+w0/XKCKEoZUMe9kZhD0QhTuvMjK5dPjbtl/iTB6KXWOb4T6EtLsN+itLtq0xalwj30A9GoAQ/EA2lu1tIOCb3lVvBLwIRX+/Fhsoxe9rnvCjFnzuBKCKZAaDnaszXJytKBz1Km0x1s4VQjd2ae5Ei9TFovhJtLNkrV7Mw6yFQGV3MOBRFGjIcMKSsdZUJM84ZMbJq/ZtFi774RKAlEP4YoHHcTxfhjWG1sUd0AaEP/YboJl8S7Cf+dqTqu/la22rUsXf3amEa6SSRSdtq4lbZqlbDxf6Oh3U9CLVGHQupHRF2YTmaDMcr9lWVCB+aBcvockOkVsBqgu44Dyadk0lq6SnHuC7Tij4a559NCzRqSHvbgHQxSRIH+ZrgtBxQ0dP0V1AZmHcZa5s1nKOf1RsKm9E3GHvrelxeSRnaVk4TtT1ZZVwQ5oidEni79V2VYLHq1EJoH5/zsPO0J42pYdZL3WANe+5rDv+BwZztkSgvP/dMJRwLeIYUIi3tqwj10Y+1QZ4R9K7Vk3XBgVDiziNArEDL6YfSw/KXJtWUQ+jf6WSl3GpqEQdGLt4Vh5ZDxuK5kCgwZtbTkjDthm+kfRjtUBQhiNThM/ykb02IKXUlS5xWGayoLyp50eGB9/Dv1PERSZpc3SwZJkET1bQId+nmhy6mWIiln6LuN9akhM0IpHCq/Gx9cc4KKBu3hkeMXgQSfLOwWgGQ6UhhbEL8mM7XvssffhdmpGw1pMfz+QAQmv4VPYCwTBw36udWkgcE3pWACcBXJXvxkC2ck+wmyxLRuWXNdUg0sYo9UO0uRqPlkXpbi3Ucyu6Ag2D1UlJmoVTLDGr1w/6djdPLF03lxDiXnR5T2YfGxxp05VDsm3VmzPnc43aA0ZEH1kuHxq42lYEAW2xwF59AWB0D/5EHQmpNcLij55RvmrVvNUw19rEb9IKwxz6A6WuKW8PniYsrzIWFtbARHo6/SuSWELucKpmKf1ZQt1PIoz6ZaLCPyA0Jj2/7pLe86O+knJUG0mqvRXE6eu2EJFCgTUUlppRdYVg6JfQo0PaeQiCWSCUfTVanmaRE3o4PMYB+6tnwCS+Iv/NUEljZ54KcyYgm/vFEz8TPMQ9dzjcLXK1i78ichl5fZHADyAmuoqQoijJqp/Sf6qJdX1J4B2J89HUKHhJTbdJqnMuNB3KjmuaWUUPsgxKp/kRWFo7Q/cSsN5hGmiB1hoEUFHO6REoEsnweOpRFxIW/dkWF7lvXonLdZLCN1KRLZbyDsiaVvkS67kszFZfrrMGTC8yfifqqeZ10LWfredOM7ssLgG95pFlPY74Pz/n7BFbGW3Sy8OvPbxMSNDQrgFslapzI4sX/aSdG0EnCmVO3n9fOoptjFoYaSEdIDAWq8PzlVX6wTsBwWsznQi9YuQcfCPRTkno+qEpttDpUdwDfSOURcu4WHt2YxOY0KhMVjUdElmwzoM0vRPrwnSO+5GA+36pIqXCvSKhKFfkON2a+enHBzUEGVpvgN/xfQjOB0Npg5bzL75cveA+xCOYxfkfc2Ny91lFIvL1eSRz/tv0LZsitOFSg/BWQRxIupWMCWsjbyXqRxQXAU5Pu53qbL7wS94k4NjRsC0iVuOWLaIOaaAFuO/pJqpYdbPiCNocie8nDRAMDuB1+hkzJA5hrAKucbPXu8WESuXm/HjGFGhcWe/YAe+qZO4MxiURrQkNL9vu5cRZ4TgRaAXfNq1bklEOW0CGlAwm/a2P4zYuNEJQtJHB4CKKAJeoPxmGObOolrs3Uv1Oyq5NWfNHHvoui5/5SJGG6ehV1540XErMWSN3QSx5/Fg5Xt17xe9pu3GG1LZkYDygbb01R+C89K6KDm8HMUEGNn7CHtg+LZAb12rgUH4wI2pDp4QAhDq2z1QOz7auul0XqB87Qpj9acrpd2c01mp3+VTrqq3CUbUhbTz4zMUoSzwdX/lgsAVnROSV7fYDqMnWBQXBlW49wOpUC8IDiyqSewOzQWDfu5JQF8kFvCWBE6zKeiuic77tKCnA54kGV70hu/TcM4TwkZcYS7pZ3PZMp3cf+crnKpKH6+rzKYGxVOV4JhIh8G498iLvhbXV+Q3rsATr8z8NPMHOV3kxY3ivvVXUJh9MLX2a5mmZVG++Ag/TWHFAMn8h1pKJqaxjxoRvU/PLYlrLLLVe8+UKIU9qeoAlxDwYh69u9IVGnMBUXY8s6yTdl41fuZ1bOrapsXVCJQ9NlbC2O5noyD0XVaV2yvNq1Kzx2VVQa0VdL9p1cqT2AecPTd2W9YySN8bQOrC7VGOZoLWCM+SWiNcGJZHs+58znknydj0isP2Mrqh5BPpkJaQnjsl+wh45oebxsfRcUuTSKtS2YYK4WIUktTx5gPmFC1ZC1ezUXC9zoCxaWjqNXPzOWtFABAzft7J94w/nO+ioFVFar/o2OcDAnYeYf+Z3wsdp/yPA5zTkBzJiJyUWzMEcwqX52pmBtmlhl6b/zmURaoTptJY3wu3CPwyc+YCXOJzkRChR2pZ5SSktcShjelw5bmEWtfMBPSQyPIZ8sKe4LHJRBUxSGHRjvUxDMWFoRsDDaajFNuh1UDkuPWlX2ZIQCUVqv/M8YCc3TdY4wRzsofkw3BsDH0WusXQxCGooYOfJUxDLh14lp53+jGJ9zi5SYtzDuU2U73CdHiCtHunDGXnDaCLpduC1fiml5QeG7+4wiAUS7iC2z8Gb4JJ4wB3BB+P9+56GyfvHeBJ1pFAs/aYmOPnT0BcABHryg2IUwm8tcwaOop416AePiT0i6iC1Sq3+pnio1R6KczAj9LAF5cD8U3aDwY1Yt45LVBNKB897mrmRxihEBn83DjfLhtW2gisxfSPlctB6CENEP+2l8Oe2LZ4h6qQXxc+EYlPNdVnclk+YHVzrIk/9WAkJEtM12Zvw1ofG7IOOLfQNaKXR6G1jNo6A5Vpvau1D4rWFBFujWUMQRO15hXu37N7PqMz69BUN4H18yldI5XxdNcePaJz9cyL4p+GvFZny8JDM/zbe36tzAA0MqlrpXyw8szuqMoqWl7PlH02DEzAX4kShEDHryswPR8MkDzg0854ffoAXL0+Fux5qOgHeUOjAfol6S+l+DTBgcE3vCdcdYu3stTMEUS3ios4UwZImK9depmeF/PDZCt4vKQbaRAOXCifUq9xqcNPOMfJgpkC66EpgJ19vsCWX4NzWQYm9mjqmgDiQQ8oRLgymhS/2GGcHO2yhdQCaJL3wtN3P8RhViyH+XgSBP40wMF5nDTjUfXrVRVWVY88x3GDXioH2bKMU/vtUMNLJBwIAyglj7L3Np6XQgR1tZc0WAW5QuJ7hR4kwCjyMi3iYVofom/FJgKdEAPCVutby4vOA0GknQwbWTGCPkpfm0Y/b8m/tGvS/tbJtBQvzkbVCPXisB1zWxwUyOM9nfTSh0NoamOSo2+3UkDyLtp2gSl2tUbGeYgS8GZkXfQOZy3AGWMmQZekZB0YS986rok6Gu8uOaXRdPfdANpDtcsfTyV4t1ooXaR0oo4UOxupH1SBjqHK1Z5MJDbaHyJUW8A0Kq0qTY6DUiCbGuSPfS3E6FoXyRD7lYsfFcuj+PI9z55qVoBUHZWLJ+yTQ6suEGsEZulPfTU9i0KuIG4SCBtHphr+FxTr3/Nv4v93L0G/BqI/DmGbZT4DWNkGz9DsbWFUTVflvLyTaLjv5WKt+LOUyvI4tDkbM7b8rb5Itn0fOQZl9XMuFczfZHMqkEvySBdD8LJ2BMNXxBrXQspCTv3D9xd2wds21kRFl28XxTi5JSKQh7c4DB46jNLPk/TQ9M59f+YTnp0PHw/TOuHHWyEyRBDCo+TXpJRcnPy+335kOkT+eeCEexHu815BBvT4J1vUCy82CCsXvG7WSRrL0c5dcj3uOm3342xxd8IotoDRG3eovwfPfUYjf/DvIgRrVPut6VjLp3lPzaF8KTNmgWACnSaZpZErxulbmykCxxz9+oPYsD/mGsGHgB1sjl1j2mR+MPBPiWlHNHM08dqYd2ESzdklMrjDnbrWY9euFMsillVgfrDnSR9zgQyp7TLqyb8vbSei/gw21U3Zvqo8rUgh/7o3xF3T3DMg81oOKahu93oVJRpmLx2jUPgDGbM6MvjQtJuiblB7fIGv0qZGXGyDBc36os1WP/xavcE1rEiJYLC+e8DE6UBtAMhRVJjNvvwqU9AN1+HRNlUJR3UsZWVpQmg9YglKARxQXug6V0rHRsRe5uxKztXH/IGt7muILlnDv5VtY8hCX2Ppl7Lw0AYJGNEhRP2q/vV3+N5s+GvaJ+FarnPFnUQO9dw+uOtMQAU6EplMp8XuNXqmwD+Nw5e9xnx+dEnsI3Qxwkd2Jt43hsGBzMVb16vkQvjlE2sxKUJo5lRJOBB786TC4gz2/O4Vsa/PDoC1a78yWRISQLzVXwGeqpAEEJT1WmqBPhk8VbdW/UEpW8zjKUBIZYUeHJmJQCX4rjc7C59KFIJco/abTupoUjCnyDiTC5igb8eVAduzgNWBClJkySEsIJBxHSY9MHbNzE2vvjSgwRIHJljx6JyWmTQbuhZLU8sQTcQXmwzOUa33ZvZFb91BVMi3H3WKuHeAx6MYqun2jQ1UTXEbZjM7ff3wrXmOPqyKfwiQEOABBB+gxT4zNBsvsJB/ArSQuMDXpF0ZAZNWTbR5Bmcd6js2UsPoNSjrZD5+qv/oTzXPfgXWBYsGju5kGOtaRfxzZrIZW6trleT2MCDEEag0zct2+e/O5EbvLeLv8ZdrhzneI3MEjW6sAExuXII83Z7u622/yvacCqworAUIwy/yOANXll5dzZ8ShVvPPJpKGojqfdyTsX/nuVQ92h+AsH1hDj7kUYNShkXBMssmo20s/SRjQGTPrYIo9UaoDmPb0yDduIsIdBNFot6cIB5mzRthGIRo7/PWcFzxzVzJzp0ESMzgVViS2yn+uLOd9Enp7weVjy9RzLVry6M/CxNJnr4nLXJl4fZSZIcoYMavhsSE5fMPYtOFA9n5usBzcP7tth/6rlBxjrcKacEkjYDe16ccJ3yOLmwsg4d99Jlao7rTFhOMlVYFdMrNPrbfckdMWCf9vcSspUEUMDd9HmogUlsu1rdXrKRnf1A0P+TQ4vAc65BsUExpVtGQ5QiICSdmQcuZA96mOF7g5SRdsENZHGo5UUSJS2AfJnnWeI2D8sPKlSxdQq3u5pT1SY7vgExfJYuHXrJlHs1S3z1rTrzGp0v8Ht0ca1AYpfZQbtLYs1A4dJLm9alzG7QE2D0nbH5PSezOgoXpQfk5b9FZp8OqjGKs4XOxskPEsatDyljV+MWzQXfYtd1juwkxqjDFhP+x/ixrt+/IderTY43TqMWt5xDLlCKWaJdZz/NY2biJ78NvONx1IOAX3KdgTAWvTbiPry6ORuRByGJEgdU6EPxiJsmDukBYvbn27qHBhJoLDoMsZzqBL2cbqlStkASUlvKt+f9kR7LduiJq/iE6e4vEzqhxFtiiLS1LinaHrnFv+xc0zJ0X/NoXzY3HVJysl6QfFx7Ak8nq1ENr15yRfyYeu/sluJXrtdt534Q94WgAFshp65vJmgBxdONuJQyAKm+KNA/esVpuehzE2z5pBPpkE+Km16AE8J0TxmAGpeswZTSGSz0FDu2HZv+80TZfpAfldF75A2v0jviqnZieKSGAnZFQEz01ZwVzOji1dvxb7UUpGJIBZ8xDL1Fs9QOjCBIBR6RBd5xWSzuYFLX4m7A+Rzt1GsvUZuFzpFl6aH/D+Yby1OHgl6NSeVd/6lKL7jk6VkhnndaL7518yqzoiHpra7+KZ+yevgyE0FEwZk0lEDniychDcScgn9Wbnmy+ZQ/ffSYf0W0oFvwuV3JsIiBFHn++B9mCaCMnnIZAGqhYIVV7qcDgMmKo8O96ujT/TwhKoRR1F5ZXaDg4Tizvg2xXMBL7aDsz6Hw3dJnXRenJt6h4GtuQyFpUNjS2s9e6WwIvZRErcVWXIJoCWEqBU/ITBPMATEH9jzxLV7s9JXuVAD8668qv2zl7+q16++hdcoI+QOfqC17KlrsL8oiMVrMvZ4bctnAIk6TfJQk1ecxilAwPewntrZfZA8ArQtmDkkaDqISxmI0E7QG/nhZu3ubgFdSv7clxJuiE+cSSdV1ktRi0QbDa1avUHVDXRFIw3gbJsYzYbhClqCRo2h/Ft1gvBINhTmLMt9GWxPq8zLmc6nFFh0z/QSwKPtoGK10FasLm+je5D7QNByjHTP9t28MxUrzg4KJ4HrjWhR/4LVuo60oA+LNSc/3zJUw6Op3y7/F5pgOlxO4mLMLcafU63i21lLZ0YRMNt+HGSen7O1I1e6lnTOFv6cXxv+VtTLUFP2gIss7ABJql8z9/xbqKvJgWexBc4yqGx/gEZovueslM2xrgYwqFVAT+5wViof3RzNp+hjBKrjRlXMIhRxZlEsbovbGwNX8hRuv/9Up1chsBb+wWVD4HGhj58f9WMDJA7l1LdP8SdDD4GKcQ06gWqwNei56dB3ELzm2FYXBV/Otv9k0b5Tt6r6IjNylcWhLI8VLZQwXdQYCbIQBsIVi+rzWnSq51RcluUG8LrELUCDyV9wRHbOFexFhhrq/eb746zj0Ct7kGLff9s/o2R3amyQt7JlJaUbLc3vpzxAQfn6u/QvhL3QesRaQnf36nVSEOKtaGISQNAIrhKVoJ2XNAZFDR2p6n01Sa6DLBOdHgy8l568GTEGZHs4wFfXCQXFL2ynE+MiupI6223Ewmu4p6BgaWeyT55ZugiLBce0Rdl3yBKllHrOyrDi2MUBFvMSRvJNF33ALlLl1FwBKPVtGdb6KhGSrFckvVqD1sL5ylJ2+YmHs3RvjAw/kKW/LhaY1oCOcMGBfpcNPFdbEmiFNHBL9SmKh9Dwe+aLk2ShieuPCg3PM4CJTjxiiTKyCq3T72+vnRVVB8jCP/KDY5SRbO2f71L+nihSJe5NC0Xx0QRs7tW5Kxk6D3mJ+nZsPfqGi4xJpYngzzKjf5Du/AOHAFu1Ghzax7t7pXS60S6tyKMmka/MQzuZJMl0wWSR4WdaQUAZlPzWUnMv2PeycIU1E5zufFDb4ZXKNlOOu+BPkijit7RZmgmIOt/u8TUPgUq6OR2uXhsMqrGHhr40XnmPBENX2skj5abXlwelXCVxoZkCMjwK5sCkgjnerP5HfvI6PVCJ0io7bypcxS4fjyqeSXDkaY1+tjKk4rAFLIkb915IJNuqdJTQtn+Azx/rhWydOO9mmwrv9yck3AL5ACzUGpmuSaWMK/AgZlX4BcDQGE68ufFHAwNxgPj6mogvO+fqbdb5rdGLiDoQdZZmYFAGyB7VxI10z32Tz5uPv7CLVtK9RZRV7pYxknow45jEjxizPtu97SIr3nG6yTvdRVFa/LAbtT5hdrwEz5LFisPFOOk6mnm8QbwiuGESYoZgqehhGy8BVK+7u4NZpNUwOfFDpoCR4Nx4OB6Q3eXS+n2juXoa2wUgISTQw3xfgUCCGGyARtWv067Wiv3LXpKuBDWgoQsiK4j4sjWE1JE9Hx49eT7Lll6BdVFsMJfH/jCHVoPhezg8WwDXe4phccRI/rtREVYydDWVvXn6OAhg1V8JNOUFLLjH6oH1WXEHqWeqMqbRZPZ0nx0Mub6CAF4pAdldaJ39gUFLgp0hhZnq+J4XNJ8ToqKc9kuW6NjkPQABKprGSf+fr8AyNNlgoXv0/HsbxeP5090BTlRenzhT587FoN8gfD3VDhj9iP2A17wCrE2A0wyLQL/Kt8XulBvrfPNPj1USjTPOGBe0x8gX5fRn9TCshxbnDkfn3MYM1S0WXxG5TQkQGKJwinXU33NUTf5tgx8PxzOyV2mc6knPHFJHaYXlYbWTmXRlFhoWa3LK6SaaZziz6ItGiw1u5/ogeMgdmscZpKbau0z9ItCCvbhNqqfHHzn2u2bo/pofzrpgLju8/4Qbc+UZ05XjhhGfAiNgVnHTYpvXgl7wbYbDzrjyLHH4Dufx7KdrQddVJ8+2iYIHo2F+Fa4oGbhgtRYn9VFNmcuN+cxKTPZXWB9qm2jaPB5KJ6R6Mny2V81oz/iVwewxYFeNoPzqBfycCrhWVEQ8z6MFLmHqcLZubH1Rj55SrIguw4ChbdKyM9CrlQHbFPgtDDA+AdlE1ZXmMPhyL740kTl+tcv8t7OlwaUtN6BzERuBHuvKMXHJxx1BcWjSeakzKqGmUtpGjE3kX4SKcCsF8AjJHAYLagj58p8ok5SQr1zjm5XReiM5Wo7Ec6Gu6ol3ynQBP8BM3B6iLSaSO+hkJyWfx+IhAZvJ0bgku6lCqgGBbLYhILR9p1o6RMmWPbSp9Qsr8CqCLPGKm0x0aMCbo03NTuiUiYvcptNopmd7WhRP5dW64NFG+LtEq6+2fCpbgj2F2pvjUqPLdZ5DXGQT2MJP+Cc/liIw3aPWN0jsCH4lIlqDUSceO2c8+CetNOA24GesW8jcE61tvP0othYaJ/j8pJKy+fbI+LreH7NCU5BMbpHDrk6eDfqR/9VYcuzJ7m1fowvqfNVao1wyvxcrAuiV1y0IGBuFxGID2TJUYHWCE5azpIGWHm6h0nxEqrh+EoH8lotj2lGwStxffFM7/1X8cFSue0NwUc0d5709mQWuvbK02K5o/tsE09eitLRthGDLAf8y6uG9hBgNUy2i86Oa">
            <a:extLst>
              <a:ext uri="{FF2B5EF4-FFF2-40B4-BE49-F238E27FC236}">
                <a16:creationId xmlns:a16="http://schemas.microsoft.com/office/drawing/2014/main" id="{8B4C8C31-82B0-B7A5-701D-FB67D7B32FCC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70804" y="1331835"/>
            <a:ext cx="9335230" cy="4991253"/>
          </a:xfrm>
          <a:prstGeom prst="rect">
            <a:avLst/>
          </a:prstGeom>
          <a:blipFill>
            <a:blip r:embed="rId4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57A5469D-763C-4F8A-9F70-2C927AC8F0E2}"/>
              </a:ext>
            </a:extLst>
          </p:cNvPr>
          <p:cNvGrpSpPr/>
          <p:nvPr/>
        </p:nvGrpSpPr>
        <p:grpSpPr>
          <a:xfrm>
            <a:off x="9987814" y="5367447"/>
            <a:ext cx="1850593" cy="672622"/>
            <a:chOff x="9998547" y="2171701"/>
            <a:chExt cx="1850593" cy="672622"/>
          </a:xfrm>
        </p:grpSpPr>
        <p:sp>
          <p:nvSpPr>
            <p:cNvPr id="88" name="Rounded Rectangle 7">
              <a:extLst>
                <a:ext uri="{FF2B5EF4-FFF2-40B4-BE49-F238E27FC236}">
                  <a16:creationId xmlns:a16="http://schemas.microsoft.com/office/drawing/2014/main" id="{058CB774-447B-4B98-9D42-9C838ABB3E4E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10007560" y="2192245"/>
              <a:ext cx="408304" cy="333733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9" name="Graphic 88" descr="Laptop">
              <a:extLst>
                <a:ext uri="{FF2B5EF4-FFF2-40B4-BE49-F238E27FC236}">
                  <a16:creationId xmlns:a16="http://schemas.microsoft.com/office/drawing/2014/main" id="{A3A51766-71B4-4DC5-8CD5-04906E654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10042010" y="2171701"/>
              <a:ext cx="339600" cy="339600"/>
            </a:xfrm>
            <a:prstGeom prst="rect">
              <a:avLst/>
            </a:prstGeom>
          </p:spPr>
        </p:pic>
        <p:sp>
          <p:nvSpPr>
            <p:cNvPr id="91" name="Rounded Rectangle 84">
              <a:extLst>
                <a:ext uri="{FF2B5EF4-FFF2-40B4-BE49-F238E27FC236}">
                  <a16:creationId xmlns:a16="http://schemas.microsoft.com/office/drawing/2014/main" id="{BBFE6892-4F08-41F2-940F-CADF06A31F69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10042707" y="2198517"/>
              <a:ext cx="344474" cy="344474"/>
            </a:xfrm>
            <a:prstGeom prst="roundRect">
              <a:avLst/>
            </a:prstGeom>
            <a:solidFill>
              <a:srgbClr val="333333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63447BCE-D4FF-499E-8FA2-97AD20CCD18E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9998547" y="2545129"/>
              <a:ext cx="1775571" cy="29919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 body technician, Body repair technician etc.</a:t>
              </a:r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0C4F23C7-2009-4FB5-B5F0-67A78E675C80}"/>
                </a:ext>
              </a:extLst>
            </p:cNvPr>
            <p:cNvCxnSpPr>
              <a:cxnSpLocks/>
            </p:cNvCxnSpPr>
            <p:nvPr>
              <p:custDataLst>
                <p:tags r:id="rId36"/>
              </p:custDataLst>
            </p:nvPr>
          </p:nvCxnSpPr>
          <p:spPr bwMode="gray">
            <a:xfrm>
              <a:off x="10020855" y="2570559"/>
              <a:ext cx="1828285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btfpQuoteBox867437">
              <a:extLst>
                <a:ext uri="{FF2B5EF4-FFF2-40B4-BE49-F238E27FC236}">
                  <a16:creationId xmlns:a16="http://schemas.microsoft.com/office/drawing/2014/main" id="{BA426D13-C743-4D27-9B6B-962313226942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10395125" y="2209749"/>
              <a:ext cx="1410959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marR="0" lvl="0" indent="-60325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rPr>
                <a:t>Autobody tech.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DA07D1EB-5EB2-489F-BF8A-9ABC2CE1CC87}"/>
              </a:ext>
            </a:extLst>
          </p:cNvPr>
          <p:cNvGrpSpPr/>
          <p:nvPr/>
        </p:nvGrpSpPr>
        <p:grpSpPr>
          <a:xfrm>
            <a:off x="9982201" y="1512059"/>
            <a:ext cx="1889872" cy="787015"/>
            <a:chOff x="9982201" y="4567879"/>
            <a:chExt cx="1889872" cy="787015"/>
          </a:xfrm>
        </p:grpSpPr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D77A4DD6-D20C-4ED0-B41D-D4A2C07AE738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9992474" y="5012688"/>
              <a:ext cx="1879599" cy="34220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 </a:t>
              </a:r>
              <a:r>
                <a:rPr lang="en-US" sz="900" i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/>
                </a:rPr>
                <a:t>glass technicians, auto glass installers etc.</a:t>
              </a:r>
              <a:endPara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86CDBF5D-0584-4F31-AEDF-9929AC8FA32D}"/>
                </a:ext>
              </a:extLst>
            </p:cNvPr>
            <p:cNvCxnSpPr>
              <a:cxnSpLocks/>
            </p:cNvCxnSpPr>
            <p:nvPr>
              <p:custDataLst>
                <p:tags r:id="rId29"/>
              </p:custDataLst>
            </p:nvPr>
          </p:nvCxnSpPr>
          <p:spPr bwMode="gray">
            <a:xfrm>
              <a:off x="10014782" y="5014993"/>
              <a:ext cx="1842256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btfpQuoteBox867437">
              <a:extLst>
                <a:ext uri="{FF2B5EF4-FFF2-40B4-BE49-F238E27FC236}">
                  <a16:creationId xmlns:a16="http://schemas.microsoft.com/office/drawing/2014/main" id="{8B8EA533-BB25-4C1B-88FB-5EC23347A95D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10421456" y="4639897"/>
              <a:ext cx="1409288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46647B"/>
                  </a:solidFill>
                </a:rPr>
                <a:t>Glass Technician</a:t>
              </a:r>
            </a:p>
          </p:txBody>
        </p:sp>
        <p:sp>
          <p:nvSpPr>
            <p:cNvPr id="180" name="Rounded Rectangle 7">
              <a:extLst>
                <a:ext uri="{FF2B5EF4-FFF2-40B4-BE49-F238E27FC236}">
                  <a16:creationId xmlns:a16="http://schemas.microsoft.com/office/drawing/2014/main" id="{73EA79A9-B283-4F0F-B169-335F1860083E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9982201" y="4567879"/>
              <a:ext cx="437490" cy="428064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2D475A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Rounded Rectangle 84">
              <a:extLst>
                <a:ext uri="{FF2B5EF4-FFF2-40B4-BE49-F238E27FC236}">
                  <a16:creationId xmlns:a16="http://schemas.microsoft.com/office/drawing/2014/main" id="{36CCBEF9-C190-4F5E-9D40-3455E136AAAC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10028709" y="4631629"/>
              <a:ext cx="344474" cy="344474"/>
            </a:xfrm>
            <a:prstGeom prst="roundRect">
              <a:avLst/>
            </a:prstGeom>
            <a:solidFill>
              <a:srgbClr val="46647B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7686EE99-2036-4A9E-B0E7-6428F2E5BE9E}"/>
              </a:ext>
            </a:extLst>
          </p:cNvPr>
          <p:cNvGrpSpPr/>
          <p:nvPr/>
        </p:nvGrpSpPr>
        <p:grpSpPr>
          <a:xfrm>
            <a:off x="9986964" y="3768931"/>
            <a:ext cx="1900341" cy="749043"/>
            <a:chOff x="9986964" y="3768267"/>
            <a:chExt cx="1900341" cy="749043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8074E352-002D-457C-BCDF-672CFADC393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9997237" y="4164771"/>
              <a:ext cx="1775571" cy="3525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/>
                </a:rPr>
                <a:t>Painter helper, automotive painter, paint technician etc.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btfpQuoteBox867437">
              <a:extLst>
                <a:ext uri="{FF2B5EF4-FFF2-40B4-BE49-F238E27FC236}">
                  <a16:creationId xmlns:a16="http://schemas.microsoft.com/office/drawing/2014/main" id="{B12A0917-10BA-41D2-9FF7-10A5AEBE5F7B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10436356" y="3816681"/>
              <a:ext cx="1450949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marR="0" lvl="0" indent="-60325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inter</a:t>
              </a:r>
            </a:p>
          </p:txBody>
        </p:sp>
        <p:sp>
          <p:nvSpPr>
            <p:cNvPr id="131" name="Rounded Rectangle 7">
              <a:extLst>
                <a:ext uri="{FF2B5EF4-FFF2-40B4-BE49-F238E27FC236}">
                  <a16:creationId xmlns:a16="http://schemas.microsoft.com/office/drawing/2014/main" id="{36512D6E-A83A-4018-A188-04BBC5AA0457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9986964" y="3768267"/>
              <a:ext cx="437490" cy="428064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FD040DDB-E685-400A-8635-E17D7ADCC84A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gray">
            <a:xfrm>
              <a:off x="10019545" y="4201784"/>
              <a:ext cx="1837493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Rounded Rectangle 84">
              <a:extLst>
                <a:ext uri="{FF2B5EF4-FFF2-40B4-BE49-F238E27FC236}">
                  <a16:creationId xmlns:a16="http://schemas.microsoft.com/office/drawing/2014/main" id="{8D3D456E-4C8D-4AD6-ABB8-99B53434E129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10033472" y="3811531"/>
              <a:ext cx="344474" cy="344474"/>
            </a:xfrm>
            <a:prstGeom prst="roundRect">
              <a:avLst/>
            </a:prstGeom>
            <a:solidFill>
              <a:srgbClr val="858585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C5225C72-BB77-42F2-BF51-E29AC414DB8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2" name="btfpColumnGapBlocker909650">
              <a:extLst>
                <a:ext uri="{FF2B5EF4-FFF2-40B4-BE49-F238E27FC236}">
                  <a16:creationId xmlns:a16="http://schemas.microsoft.com/office/drawing/2014/main" id="{D19BB9DA-F198-40AC-BE2F-FC41BF81A1E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ColumnGapBlocker386074">
              <a:extLst>
                <a:ext uri="{FF2B5EF4-FFF2-40B4-BE49-F238E27FC236}">
                  <a16:creationId xmlns:a16="http://schemas.microsoft.com/office/drawing/2014/main" id="{95EB0244-7FCB-484C-9E70-A90508EA27F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702680">
              <a:extLst>
                <a:ext uri="{FF2B5EF4-FFF2-40B4-BE49-F238E27FC236}">
                  <a16:creationId xmlns:a16="http://schemas.microsoft.com/office/drawing/2014/main" id="{B370FAD6-DA6F-4ED2-8EAC-CA352848C5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960731">
              <a:extLst>
                <a:ext uri="{FF2B5EF4-FFF2-40B4-BE49-F238E27FC236}">
                  <a16:creationId xmlns:a16="http://schemas.microsoft.com/office/drawing/2014/main" id="{306378FD-C2FE-4A3A-8B7F-4C6F670F16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IndicatorGroup1">
            <a:extLst>
              <a:ext uri="{FF2B5EF4-FFF2-40B4-BE49-F238E27FC236}">
                <a16:creationId xmlns:a16="http://schemas.microsoft.com/office/drawing/2014/main" id="{BD715B82-1AF2-41B3-B33C-1FB7379F5F2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1" name="btfpColumnGapBlocker501994">
              <a:extLst>
                <a:ext uri="{FF2B5EF4-FFF2-40B4-BE49-F238E27FC236}">
                  <a16:creationId xmlns:a16="http://schemas.microsoft.com/office/drawing/2014/main" id="{B0D9D649-C3AC-42AC-95FB-73830CD68B0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628722">
              <a:extLst>
                <a:ext uri="{FF2B5EF4-FFF2-40B4-BE49-F238E27FC236}">
                  <a16:creationId xmlns:a16="http://schemas.microsoft.com/office/drawing/2014/main" id="{B6098F3E-DB7E-40CD-A93D-E34066431E3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497951">
              <a:extLst>
                <a:ext uri="{FF2B5EF4-FFF2-40B4-BE49-F238E27FC236}">
                  <a16:creationId xmlns:a16="http://schemas.microsoft.com/office/drawing/2014/main" id="{026FF3CE-CE7A-4E40-B57D-DBE03436C57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525811">
              <a:extLst>
                <a:ext uri="{FF2B5EF4-FFF2-40B4-BE49-F238E27FC236}">
                  <a16:creationId xmlns:a16="http://schemas.microsoft.com/office/drawing/2014/main" id="{AC8CA927-8F53-4AD0-AE86-BCC425C23FE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3" name="btfpNotesBox983380">
            <a:extLst>
              <a:ext uri="{FF2B5EF4-FFF2-40B4-BE49-F238E27FC236}">
                <a16:creationId xmlns:a16="http://schemas.microsoft.com/office/drawing/2014/main" id="{6A160EDA-59F8-4199-BB4A-E4C88FE781B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31543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Others include generic titles such as car washers, technical assistants etc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/>
              <a:t>Aura, Bain analysis</a:t>
            </a:r>
          </a:p>
        </p:txBody>
      </p:sp>
      <p:sp>
        <p:nvSpPr>
          <p:cNvPr id="10" name="BainBulletsConfiguration" hidden="1"/>
          <p:cNvSpPr txBox="1"/>
          <p:nvPr/>
        </p:nvSpPr>
        <p:spPr>
          <a:xfrm>
            <a:off x="2022053" y="314726"/>
            <a:ext cx="7464126" cy="107722"/>
          </a:xfrm>
          <a:prstGeom prst="rect">
            <a:avLst/>
          </a:prstGeom>
          <a:noFill/>
        </p:spPr>
        <p:txBody>
          <a:bodyPr vert="horz" wrap="square" lIns="38387" rIns="38387" rtlCol="0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_84 34_84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/>
          <a:lstStyle/>
          <a:p>
            <a:r>
              <a:rPr lang="en-US" dirty="0"/>
              <a:t>Auto body technician related roles constitute majority of the total technician/ field related job postings across most players followed by detailers and painters</a:t>
            </a:r>
          </a:p>
        </p:txBody>
      </p:sp>
      <p:sp>
        <p:nvSpPr>
          <p:cNvPr id="2" name="btfpLayoutConfig" hidden="1"/>
          <p:cNvSpPr txBox="1"/>
          <p:nvPr/>
        </p:nvSpPr>
        <p:spPr bwMode="gray">
          <a:xfrm>
            <a:off x="12700" y="12700"/>
            <a:ext cx="88382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1_131720720489856601 columns_1_131921092878906898 25_1_131920958030844627 28_1_132390896554051139 18_1_132390896554051139 </a:t>
            </a:r>
          </a:p>
        </p:txBody>
      </p:sp>
      <p:grpSp>
        <p:nvGrpSpPr>
          <p:cNvPr id="18" name="btfpStatusSticker443151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20" name="btfpStatusStickerText443151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30" name="btfpStatusStickerLine443151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5" name="btfpRunningAgenda2Level228391">
            <a:extLst>
              <a:ext uri="{FF2B5EF4-FFF2-40B4-BE49-F238E27FC236}">
                <a16:creationId xmlns:a16="http://schemas.microsoft.com/office/drawing/2014/main" id="{F5FF1139-D908-4901-BA52-218C0A44477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" y="944429"/>
            <a:ext cx="4743985" cy="257442"/>
            <a:chOff x="0" y="876300"/>
            <a:chExt cx="4743985" cy="257442"/>
          </a:xfrm>
        </p:grpSpPr>
        <p:sp>
          <p:nvSpPr>
            <p:cNvPr id="136" name="btfpRunningAgenda2LevelBarLeft228391">
              <a:extLst>
                <a:ext uri="{FF2B5EF4-FFF2-40B4-BE49-F238E27FC236}">
                  <a16:creationId xmlns:a16="http://schemas.microsoft.com/office/drawing/2014/main" id="{CC9CF34D-0A92-412D-AD88-5639EF14E1F8}"/>
                </a:ext>
              </a:extLst>
            </p:cNvPr>
            <p:cNvSpPr/>
            <p:nvPr/>
          </p:nvSpPr>
          <p:spPr bwMode="gray">
            <a:xfrm>
              <a:off x="0" y="876300"/>
              <a:ext cx="2630748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25154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25154 w 925154"/>
                <a:gd name="connsiteY0" fmla="*/ 0 h 257442"/>
                <a:gd name="connsiteX1" fmla="*/ 870433 w 925154"/>
                <a:gd name="connsiteY1" fmla="*/ 257442 h 257442"/>
                <a:gd name="connsiteX2" fmla="*/ 1 w 925154"/>
                <a:gd name="connsiteY2" fmla="*/ 257442 h 257442"/>
                <a:gd name="connsiteX3" fmla="*/ 0 w 925154"/>
                <a:gd name="connsiteY3" fmla="*/ 0 h 257442"/>
                <a:gd name="connsiteX0" fmla="*/ 925154 w 925154"/>
                <a:gd name="connsiteY0" fmla="*/ 0 h 257442"/>
                <a:gd name="connsiteX1" fmla="*/ 870433 w 925154"/>
                <a:gd name="connsiteY1" fmla="*/ 257442 h 257442"/>
                <a:gd name="connsiteX2" fmla="*/ 1 w 925154"/>
                <a:gd name="connsiteY2" fmla="*/ 257442 h 257442"/>
                <a:gd name="connsiteX3" fmla="*/ 0 w 925154"/>
                <a:gd name="connsiteY3" fmla="*/ 0 h 257442"/>
                <a:gd name="connsiteX0" fmla="*/ 925153 w 925153"/>
                <a:gd name="connsiteY0" fmla="*/ 0 h 257442"/>
                <a:gd name="connsiteX1" fmla="*/ 870432 w 925153"/>
                <a:gd name="connsiteY1" fmla="*/ 257442 h 257442"/>
                <a:gd name="connsiteX2" fmla="*/ 0 w 925153"/>
                <a:gd name="connsiteY2" fmla="*/ 257442 h 257442"/>
                <a:gd name="connsiteX3" fmla="*/ 0 w 925153"/>
                <a:gd name="connsiteY3" fmla="*/ 0 h 257442"/>
                <a:gd name="connsiteX0" fmla="*/ 1103086 w 1103086"/>
                <a:gd name="connsiteY0" fmla="*/ 0 h 257442"/>
                <a:gd name="connsiteX1" fmla="*/ 870432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271403 w 1271403"/>
                <a:gd name="connsiteY0" fmla="*/ 0 h 257442"/>
                <a:gd name="connsiteX1" fmla="*/ 1048365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372391 w 1372391"/>
                <a:gd name="connsiteY0" fmla="*/ 0 h 257442"/>
                <a:gd name="connsiteX1" fmla="*/ 1216682 w 1372391"/>
                <a:gd name="connsiteY1" fmla="*/ 257442 h 257442"/>
                <a:gd name="connsiteX2" fmla="*/ 1 w 1372391"/>
                <a:gd name="connsiteY2" fmla="*/ 257442 h 257442"/>
                <a:gd name="connsiteX3" fmla="*/ 0 w 1372391"/>
                <a:gd name="connsiteY3" fmla="*/ 0 h 257442"/>
                <a:gd name="connsiteX0" fmla="*/ 1372391 w 1372391"/>
                <a:gd name="connsiteY0" fmla="*/ 0 h 257442"/>
                <a:gd name="connsiteX1" fmla="*/ 1317670 w 1372391"/>
                <a:gd name="connsiteY1" fmla="*/ 257442 h 257442"/>
                <a:gd name="connsiteX2" fmla="*/ 1 w 1372391"/>
                <a:gd name="connsiteY2" fmla="*/ 257442 h 257442"/>
                <a:gd name="connsiteX3" fmla="*/ 0 w 1372391"/>
                <a:gd name="connsiteY3" fmla="*/ 0 h 257442"/>
                <a:gd name="connsiteX0" fmla="*/ 1372391 w 1372391"/>
                <a:gd name="connsiteY0" fmla="*/ 0 h 257442"/>
                <a:gd name="connsiteX1" fmla="*/ 1317670 w 1372391"/>
                <a:gd name="connsiteY1" fmla="*/ 257442 h 257442"/>
                <a:gd name="connsiteX2" fmla="*/ 1 w 1372391"/>
                <a:gd name="connsiteY2" fmla="*/ 257442 h 257442"/>
                <a:gd name="connsiteX3" fmla="*/ 0 w 1372391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532690 w 1532690"/>
                <a:gd name="connsiteY0" fmla="*/ 0 h 257442"/>
                <a:gd name="connsiteX1" fmla="*/ 1317669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69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1 w 1532691"/>
                <a:gd name="connsiteY3" fmla="*/ 0 h 257442"/>
                <a:gd name="connsiteX0" fmla="*/ 1710626 w 1710626"/>
                <a:gd name="connsiteY0" fmla="*/ 0 h 257442"/>
                <a:gd name="connsiteX1" fmla="*/ 1477970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23210 w 2023210"/>
                <a:gd name="connsiteY0" fmla="*/ 0 h 257442"/>
                <a:gd name="connsiteX1" fmla="*/ 18162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8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124200 w 2124200"/>
                <a:gd name="connsiteY0" fmla="*/ 0 h 257442"/>
                <a:gd name="connsiteX1" fmla="*/ 1968489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0 w 2124200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470448 w 2470448"/>
                <a:gd name="connsiteY0" fmla="*/ 0 h 257442"/>
                <a:gd name="connsiteX1" fmla="*/ 2237793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0748 w 2630748"/>
                <a:gd name="connsiteY0" fmla="*/ 0 h 257442"/>
                <a:gd name="connsiteX1" fmla="*/ 24157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8" h="257442">
                  <a:moveTo>
                    <a:pt x="2630748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7" name="btfpRunningAgenda2LevelTextLeft228391">
              <a:extLst>
                <a:ext uri="{FF2B5EF4-FFF2-40B4-BE49-F238E27FC236}">
                  <a16:creationId xmlns:a16="http://schemas.microsoft.com/office/drawing/2014/main" id="{D92A56FE-79CA-4006-A034-2A75689D7DD5}"/>
                </a:ext>
              </a:extLst>
            </p:cNvPr>
            <p:cNvSpPr txBox="1"/>
            <p:nvPr/>
          </p:nvSpPr>
          <p:spPr bwMode="gray">
            <a:xfrm>
              <a:off x="0" y="876300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138" name="btfpRunningAgenda2LevelBarRight228391">
              <a:extLst>
                <a:ext uri="{FF2B5EF4-FFF2-40B4-BE49-F238E27FC236}">
                  <a16:creationId xmlns:a16="http://schemas.microsoft.com/office/drawing/2014/main" id="{91BD77C9-3598-4D86-8BEF-7A16D7226E7C}"/>
                </a:ext>
              </a:extLst>
            </p:cNvPr>
            <p:cNvSpPr/>
            <p:nvPr/>
          </p:nvSpPr>
          <p:spPr bwMode="gray">
            <a:xfrm>
              <a:off x="2495906" y="876300"/>
              <a:ext cx="2248079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300530 w 2300530"/>
                <a:gd name="connsiteY0" fmla="*/ 0 h 257442"/>
                <a:gd name="connsiteX1" fmla="*/ 1984519 w 2300530"/>
                <a:gd name="connsiteY1" fmla="*/ 257442 h 257442"/>
                <a:gd name="connsiteX2" fmla="*/ 0 w 2300530"/>
                <a:gd name="connsiteY2" fmla="*/ 257442 h 257442"/>
                <a:gd name="connsiteX3" fmla="*/ 54722 w 2300530"/>
                <a:gd name="connsiteY3" fmla="*/ 0 h 257442"/>
                <a:gd name="connsiteX0" fmla="*/ 2300530 w 2300530"/>
                <a:gd name="connsiteY0" fmla="*/ 0 h 257442"/>
                <a:gd name="connsiteX1" fmla="*/ 2245808 w 2300530"/>
                <a:gd name="connsiteY1" fmla="*/ 257442 h 257442"/>
                <a:gd name="connsiteX2" fmla="*/ 0 w 2300530"/>
                <a:gd name="connsiteY2" fmla="*/ 257442 h 257442"/>
                <a:gd name="connsiteX3" fmla="*/ 54722 w 2300530"/>
                <a:gd name="connsiteY3" fmla="*/ 0 h 257442"/>
                <a:gd name="connsiteX0" fmla="*/ 2300531 w 2300531"/>
                <a:gd name="connsiteY0" fmla="*/ 0 h 257442"/>
                <a:gd name="connsiteX1" fmla="*/ 2245809 w 2300531"/>
                <a:gd name="connsiteY1" fmla="*/ 257442 h 257442"/>
                <a:gd name="connsiteX2" fmla="*/ 0 w 2300531"/>
                <a:gd name="connsiteY2" fmla="*/ 257442 h 257442"/>
                <a:gd name="connsiteX3" fmla="*/ 54723 w 2300531"/>
                <a:gd name="connsiteY3" fmla="*/ 0 h 257442"/>
                <a:gd name="connsiteX0" fmla="*/ 2300531 w 2300531"/>
                <a:gd name="connsiteY0" fmla="*/ 0 h 257442"/>
                <a:gd name="connsiteX1" fmla="*/ 2245809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460831 w 2460831"/>
                <a:gd name="connsiteY0" fmla="*/ 0 h 257442"/>
                <a:gd name="connsiteX1" fmla="*/ 2245809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0 w 2460830"/>
                <a:gd name="connsiteY3" fmla="*/ 0 h 257442"/>
                <a:gd name="connsiteX0" fmla="*/ 2714103 w 2714103"/>
                <a:gd name="connsiteY0" fmla="*/ 0 h 257442"/>
                <a:gd name="connsiteX1" fmla="*/ 2406109 w 2714103"/>
                <a:gd name="connsiteY1" fmla="*/ 257442 h 257442"/>
                <a:gd name="connsiteX2" fmla="*/ 0 w 2714103"/>
                <a:gd name="connsiteY2" fmla="*/ 257442 h 257442"/>
                <a:gd name="connsiteX3" fmla="*/ 54720 w 2714103"/>
                <a:gd name="connsiteY3" fmla="*/ 0 h 257442"/>
                <a:gd name="connsiteX0" fmla="*/ 2714103 w 2714103"/>
                <a:gd name="connsiteY0" fmla="*/ 0 h 257442"/>
                <a:gd name="connsiteX1" fmla="*/ 2659382 w 2714103"/>
                <a:gd name="connsiteY1" fmla="*/ 257442 h 257442"/>
                <a:gd name="connsiteX2" fmla="*/ 0 w 2714103"/>
                <a:gd name="connsiteY2" fmla="*/ 257442 h 257442"/>
                <a:gd name="connsiteX3" fmla="*/ 54720 w 2714103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3026689 w 3026689"/>
                <a:gd name="connsiteY0" fmla="*/ 0 h 257442"/>
                <a:gd name="connsiteX1" fmla="*/ 2659383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026689 w 3026689"/>
                <a:gd name="connsiteY0" fmla="*/ 0 h 257442"/>
                <a:gd name="connsiteX1" fmla="*/ 2971968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026689 w 3026689"/>
                <a:gd name="connsiteY0" fmla="*/ 0 h 257442"/>
                <a:gd name="connsiteX1" fmla="*/ 2971968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026689 w 3026689"/>
                <a:gd name="connsiteY0" fmla="*/ 0 h 257442"/>
                <a:gd name="connsiteX1" fmla="*/ 2971968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195005 w 3195005"/>
                <a:gd name="connsiteY0" fmla="*/ 0 h 257442"/>
                <a:gd name="connsiteX1" fmla="*/ 2971968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195005 w 3195005"/>
                <a:gd name="connsiteY0" fmla="*/ 0 h 257442"/>
                <a:gd name="connsiteX1" fmla="*/ 3140284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195005 w 3195005"/>
                <a:gd name="connsiteY0" fmla="*/ 0 h 257442"/>
                <a:gd name="connsiteX1" fmla="*/ 3140284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195005 w 3195005"/>
                <a:gd name="connsiteY0" fmla="*/ 0 h 257442"/>
                <a:gd name="connsiteX1" fmla="*/ 3140284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363320 w 3363320"/>
                <a:gd name="connsiteY0" fmla="*/ 0 h 257442"/>
                <a:gd name="connsiteX1" fmla="*/ 3140284 w 3363320"/>
                <a:gd name="connsiteY1" fmla="*/ 257442 h 257442"/>
                <a:gd name="connsiteX2" fmla="*/ 0 w 3363320"/>
                <a:gd name="connsiteY2" fmla="*/ 257442 h 257442"/>
                <a:gd name="connsiteX3" fmla="*/ 54721 w 3363320"/>
                <a:gd name="connsiteY3" fmla="*/ 0 h 257442"/>
                <a:gd name="connsiteX0" fmla="*/ 3363320 w 3363320"/>
                <a:gd name="connsiteY0" fmla="*/ 0 h 257442"/>
                <a:gd name="connsiteX1" fmla="*/ 3308598 w 3363320"/>
                <a:gd name="connsiteY1" fmla="*/ 257442 h 257442"/>
                <a:gd name="connsiteX2" fmla="*/ 0 w 3363320"/>
                <a:gd name="connsiteY2" fmla="*/ 257442 h 257442"/>
                <a:gd name="connsiteX3" fmla="*/ 54721 w 3363320"/>
                <a:gd name="connsiteY3" fmla="*/ 0 h 257442"/>
                <a:gd name="connsiteX0" fmla="*/ 3363321 w 3363321"/>
                <a:gd name="connsiteY0" fmla="*/ 0 h 257442"/>
                <a:gd name="connsiteX1" fmla="*/ 3308599 w 3363321"/>
                <a:gd name="connsiteY1" fmla="*/ 257442 h 257442"/>
                <a:gd name="connsiteX2" fmla="*/ 0 w 3363321"/>
                <a:gd name="connsiteY2" fmla="*/ 257442 h 257442"/>
                <a:gd name="connsiteX3" fmla="*/ 54722 w 3363321"/>
                <a:gd name="connsiteY3" fmla="*/ 0 h 257442"/>
                <a:gd name="connsiteX0" fmla="*/ 3363321 w 3363321"/>
                <a:gd name="connsiteY0" fmla="*/ 0 h 257442"/>
                <a:gd name="connsiteX1" fmla="*/ 3308599 w 3363321"/>
                <a:gd name="connsiteY1" fmla="*/ 257442 h 257442"/>
                <a:gd name="connsiteX2" fmla="*/ 0 w 3363321"/>
                <a:gd name="connsiteY2" fmla="*/ 257442 h 257442"/>
                <a:gd name="connsiteX3" fmla="*/ 54722 w 3363321"/>
                <a:gd name="connsiteY3" fmla="*/ 0 h 257442"/>
                <a:gd name="connsiteX0" fmla="*/ 950801 w 3308599"/>
                <a:gd name="connsiteY0" fmla="*/ 0 h 257442"/>
                <a:gd name="connsiteX1" fmla="*/ 3308599 w 3308599"/>
                <a:gd name="connsiteY1" fmla="*/ 257442 h 257442"/>
                <a:gd name="connsiteX2" fmla="*/ 0 w 3308599"/>
                <a:gd name="connsiteY2" fmla="*/ 257442 h 257442"/>
                <a:gd name="connsiteX3" fmla="*/ 54722 w 330859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377648 w 1377648"/>
                <a:gd name="connsiteY0" fmla="*/ 0 h 257442"/>
                <a:gd name="connsiteX1" fmla="*/ 1056380 w 1377648"/>
                <a:gd name="connsiteY1" fmla="*/ 257442 h 257442"/>
                <a:gd name="connsiteX2" fmla="*/ 0 w 1377648"/>
                <a:gd name="connsiteY2" fmla="*/ 257442 h 257442"/>
                <a:gd name="connsiteX3" fmla="*/ 54721 w 1377648"/>
                <a:gd name="connsiteY3" fmla="*/ 0 h 257442"/>
                <a:gd name="connsiteX0" fmla="*/ 1377648 w 1377648"/>
                <a:gd name="connsiteY0" fmla="*/ 0 h 257442"/>
                <a:gd name="connsiteX1" fmla="*/ 1322926 w 1377648"/>
                <a:gd name="connsiteY1" fmla="*/ 257442 h 257442"/>
                <a:gd name="connsiteX2" fmla="*/ 0 w 1377648"/>
                <a:gd name="connsiteY2" fmla="*/ 257442 h 257442"/>
                <a:gd name="connsiteX3" fmla="*/ 54721 w 1377648"/>
                <a:gd name="connsiteY3" fmla="*/ 0 h 257442"/>
                <a:gd name="connsiteX0" fmla="*/ 1377649 w 1377649"/>
                <a:gd name="connsiteY0" fmla="*/ 0 h 257442"/>
                <a:gd name="connsiteX1" fmla="*/ 1322927 w 1377649"/>
                <a:gd name="connsiteY1" fmla="*/ 257442 h 257442"/>
                <a:gd name="connsiteX2" fmla="*/ 0 w 1377649"/>
                <a:gd name="connsiteY2" fmla="*/ 257442 h 257442"/>
                <a:gd name="connsiteX3" fmla="*/ 54722 w 1377649"/>
                <a:gd name="connsiteY3" fmla="*/ 0 h 257442"/>
                <a:gd name="connsiteX0" fmla="*/ 1377649 w 1377649"/>
                <a:gd name="connsiteY0" fmla="*/ 0 h 257442"/>
                <a:gd name="connsiteX1" fmla="*/ 1322927 w 1377649"/>
                <a:gd name="connsiteY1" fmla="*/ 257442 h 257442"/>
                <a:gd name="connsiteX2" fmla="*/ 0 w 1377649"/>
                <a:gd name="connsiteY2" fmla="*/ 257442 h 257442"/>
                <a:gd name="connsiteX3" fmla="*/ 54722 w 1377649"/>
                <a:gd name="connsiteY3" fmla="*/ 0 h 257442"/>
                <a:gd name="connsiteX0" fmla="*/ 1537950 w 1537950"/>
                <a:gd name="connsiteY0" fmla="*/ 0 h 257442"/>
                <a:gd name="connsiteX1" fmla="*/ 1322927 w 1537950"/>
                <a:gd name="connsiteY1" fmla="*/ 257442 h 257442"/>
                <a:gd name="connsiteX2" fmla="*/ 0 w 1537950"/>
                <a:gd name="connsiteY2" fmla="*/ 257442 h 257442"/>
                <a:gd name="connsiteX3" fmla="*/ 54722 w 1537950"/>
                <a:gd name="connsiteY3" fmla="*/ 0 h 257442"/>
                <a:gd name="connsiteX0" fmla="*/ 1537950 w 1537950"/>
                <a:gd name="connsiteY0" fmla="*/ 0 h 257442"/>
                <a:gd name="connsiteX1" fmla="*/ 1483228 w 1537950"/>
                <a:gd name="connsiteY1" fmla="*/ 257442 h 257442"/>
                <a:gd name="connsiteX2" fmla="*/ 0 w 1537950"/>
                <a:gd name="connsiteY2" fmla="*/ 257442 h 257442"/>
                <a:gd name="connsiteX3" fmla="*/ 54722 w 1537950"/>
                <a:gd name="connsiteY3" fmla="*/ 0 h 257442"/>
                <a:gd name="connsiteX0" fmla="*/ 1537950 w 1537950"/>
                <a:gd name="connsiteY0" fmla="*/ 0 h 257442"/>
                <a:gd name="connsiteX1" fmla="*/ 1483228 w 1537950"/>
                <a:gd name="connsiteY1" fmla="*/ 257442 h 257442"/>
                <a:gd name="connsiteX2" fmla="*/ 0 w 1537950"/>
                <a:gd name="connsiteY2" fmla="*/ 257442 h 257442"/>
                <a:gd name="connsiteX3" fmla="*/ 54722 w 1537950"/>
                <a:gd name="connsiteY3" fmla="*/ 0 h 257442"/>
                <a:gd name="connsiteX0" fmla="*/ 1537950 w 1537950"/>
                <a:gd name="connsiteY0" fmla="*/ 0 h 257442"/>
                <a:gd name="connsiteX1" fmla="*/ 1483228 w 1537950"/>
                <a:gd name="connsiteY1" fmla="*/ 257442 h 257442"/>
                <a:gd name="connsiteX2" fmla="*/ 0 w 1537950"/>
                <a:gd name="connsiteY2" fmla="*/ 257442 h 257442"/>
                <a:gd name="connsiteX3" fmla="*/ 54721 w 1537950"/>
                <a:gd name="connsiteY3" fmla="*/ 0 h 257442"/>
                <a:gd name="connsiteX0" fmla="*/ 1698249 w 1698249"/>
                <a:gd name="connsiteY0" fmla="*/ 0 h 257442"/>
                <a:gd name="connsiteX1" fmla="*/ 14832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948767 w 1948767"/>
                <a:gd name="connsiteY0" fmla="*/ 0 h 257442"/>
                <a:gd name="connsiteX1" fmla="*/ 1643528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1948767 w 1948767"/>
                <a:gd name="connsiteY0" fmla="*/ 0 h 257442"/>
                <a:gd name="connsiteX1" fmla="*/ 1894046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1948767 w 1948767"/>
                <a:gd name="connsiteY0" fmla="*/ 0 h 257442"/>
                <a:gd name="connsiteX1" fmla="*/ 1894046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1948767 w 1948767"/>
                <a:gd name="connsiteY0" fmla="*/ 0 h 257442"/>
                <a:gd name="connsiteX1" fmla="*/ 1894046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2202041 w 2202041"/>
                <a:gd name="connsiteY0" fmla="*/ 0 h 257442"/>
                <a:gd name="connsiteX1" fmla="*/ 1894046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202041 w 2202041"/>
                <a:gd name="connsiteY0" fmla="*/ 0 h 257442"/>
                <a:gd name="connsiteX1" fmla="*/ 2147320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202041 w 2202041"/>
                <a:gd name="connsiteY0" fmla="*/ 0 h 257442"/>
                <a:gd name="connsiteX1" fmla="*/ 2147320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202041 w 2202041"/>
                <a:gd name="connsiteY0" fmla="*/ 0 h 257442"/>
                <a:gd name="connsiteX1" fmla="*/ 2147320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514626 w 2514626"/>
                <a:gd name="connsiteY0" fmla="*/ 0 h 257442"/>
                <a:gd name="connsiteX1" fmla="*/ 2147320 w 2514626"/>
                <a:gd name="connsiteY1" fmla="*/ 257442 h 257442"/>
                <a:gd name="connsiteX2" fmla="*/ 0 w 2514626"/>
                <a:gd name="connsiteY2" fmla="*/ 257442 h 257442"/>
                <a:gd name="connsiteX3" fmla="*/ 54721 w 2514626"/>
                <a:gd name="connsiteY3" fmla="*/ 0 h 257442"/>
                <a:gd name="connsiteX0" fmla="*/ 2514626 w 2514626"/>
                <a:gd name="connsiteY0" fmla="*/ 0 h 257442"/>
                <a:gd name="connsiteX1" fmla="*/ 2459904 w 2514626"/>
                <a:gd name="connsiteY1" fmla="*/ 257442 h 257442"/>
                <a:gd name="connsiteX2" fmla="*/ 0 w 2514626"/>
                <a:gd name="connsiteY2" fmla="*/ 257442 h 257442"/>
                <a:gd name="connsiteX3" fmla="*/ 54721 w 2514626"/>
                <a:gd name="connsiteY3" fmla="*/ 0 h 257442"/>
                <a:gd name="connsiteX0" fmla="*/ 2514627 w 2514627"/>
                <a:gd name="connsiteY0" fmla="*/ 0 h 257442"/>
                <a:gd name="connsiteX1" fmla="*/ 2459905 w 2514627"/>
                <a:gd name="connsiteY1" fmla="*/ 257442 h 257442"/>
                <a:gd name="connsiteX2" fmla="*/ 0 w 2514627"/>
                <a:gd name="connsiteY2" fmla="*/ 257442 h 257442"/>
                <a:gd name="connsiteX3" fmla="*/ 54722 w 2514627"/>
                <a:gd name="connsiteY3" fmla="*/ 0 h 257442"/>
                <a:gd name="connsiteX0" fmla="*/ 2514627 w 2514627"/>
                <a:gd name="connsiteY0" fmla="*/ 0 h 257442"/>
                <a:gd name="connsiteX1" fmla="*/ 2459905 w 2514627"/>
                <a:gd name="connsiteY1" fmla="*/ 257442 h 257442"/>
                <a:gd name="connsiteX2" fmla="*/ 0 w 2514627"/>
                <a:gd name="connsiteY2" fmla="*/ 257442 h 257442"/>
                <a:gd name="connsiteX3" fmla="*/ 54722 w 2514627"/>
                <a:gd name="connsiteY3" fmla="*/ 0 h 257442"/>
                <a:gd name="connsiteX0" fmla="*/ 2674927 w 2674927"/>
                <a:gd name="connsiteY0" fmla="*/ 0 h 257442"/>
                <a:gd name="connsiteX1" fmla="*/ 2459905 w 2674927"/>
                <a:gd name="connsiteY1" fmla="*/ 257442 h 257442"/>
                <a:gd name="connsiteX2" fmla="*/ 0 w 2674927"/>
                <a:gd name="connsiteY2" fmla="*/ 257442 h 257442"/>
                <a:gd name="connsiteX3" fmla="*/ 54722 w 2674927"/>
                <a:gd name="connsiteY3" fmla="*/ 0 h 257442"/>
                <a:gd name="connsiteX0" fmla="*/ 2674927 w 2674927"/>
                <a:gd name="connsiteY0" fmla="*/ 0 h 257442"/>
                <a:gd name="connsiteX1" fmla="*/ 2620206 w 2674927"/>
                <a:gd name="connsiteY1" fmla="*/ 257442 h 257442"/>
                <a:gd name="connsiteX2" fmla="*/ 0 w 2674927"/>
                <a:gd name="connsiteY2" fmla="*/ 257442 h 257442"/>
                <a:gd name="connsiteX3" fmla="*/ 54722 w 2674927"/>
                <a:gd name="connsiteY3" fmla="*/ 0 h 257442"/>
                <a:gd name="connsiteX0" fmla="*/ 2674926 w 2674926"/>
                <a:gd name="connsiteY0" fmla="*/ 0 h 257442"/>
                <a:gd name="connsiteX1" fmla="*/ 2620205 w 2674926"/>
                <a:gd name="connsiteY1" fmla="*/ 257442 h 257442"/>
                <a:gd name="connsiteX2" fmla="*/ 0 w 2674926"/>
                <a:gd name="connsiteY2" fmla="*/ 257442 h 257442"/>
                <a:gd name="connsiteX3" fmla="*/ 54721 w 2674926"/>
                <a:gd name="connsiteY3" fmla="*/ 0 h 257442"/>
                <a:gd name="connsiteX0" fmla="*/ 2674926 w 2674926"/>
                <a:gd name="connsiteY0" fmla="*/ 0 h 257442"/>
                <a:gd name="connsiteX1" fmla="*/ 2620205 w 2674926"/>
                <a:gd name="connsiteY1" fmla="*/ 257442 h 257442"/>
                <a:gd name="connsiteX2" fmla="*/ 0 w 2674926"/>
                <a:gd name="connsiteY2" fmla="*/ 257442 h 257442"/>
                <a:gd name="connsiteX3" fmla="*/ 54720 w 2674926"/>
                <a:gd name="connsiteY3" fmla="*/ 0 h 257442"/>
                <a:gd name="connsiteX0" fmla="*/ 2506611 w 2620205"/>
                <a:gd name="connsiteY0" fmla="*/ 0 h 257442"/>
                <a:gd name="connsiteX1" fmla="*/ 2620205 w 2620205"/>
                <a:gd name="connsiteY1" fmla="*/ 257442 h 257442"/>
                <a:gd name="connsiteX2" fmla="*/ 0 w 2620205"/>
                <a:gd name="connsiteY2" fmla="*/ 257442 h 257442"/>
                <a:gd name="connsiteX3" fmla="*/ 54720 w 2620205"/>
                <a:gd name="connsiteY3" fmla="*/ 0 h 257442"/>
                <a:gd name="connsiteX0" fmla="*/ 2506611 w 2506611"/>
                <a:gd name="connsiteY0" fmla="*/ 0 h 257442"/>
                <a:gd name="connsiteX1" fmla="*/ 2451891 w 2506611"/>
                <a:gd name="connsiteY1" fmla="*/ 257442 h 257442"/>
                <a:gd name="connsiteX2" fmla="*/ 0 w 2506611"/>
                <a:gd name="connsiteY2" fmla="*/ 257442 h 257442"/>
                <a:gd name="connsiteX3" fmla="*/ 54720 w 2506611"/>
                <a:gd name="connsiteY3" fmla="*/ 0 h 257442"/>
                <a:gd name="connsiteX0" fmla="*/ 2506611 w 2506611"/>
                <a:gd name="connsiteY0" fmla="*/ 0 h 257442"/>
                <a:gd name="connsiteX1" fmla="*/ 2451891 w 2506611"/>
                <a:gd name="connsiteY1" fmla="*/ 257442 h 257442"/>
                <a:gd name="connsiteX2" fmla="*/ 0 w 2506611"/>
                <a:gd name="connsiteY2" fmla="*/ 257442 h 257442"/>
                <a:gd name="connsiteX3" fmla="*/ 54720 w 2506611"/>
                <a:gd name="connsiteY3" fmla="*/ 0 h 257442"/>
                <a:gd name="connsiteX0" fmla="*/ 2506611 w 2506611"/>
                <a:gd name="connsiteY0" fmla="*/ 0 h 257442"/>
                <a:gd name="connsiteX1" fmla="*/ 2451891 w 2506611"/>
                <a:gd name="connsiteY1" fmla="*/ 257442 h 257442"/>
                <a:gd name="connsiteX2" fmla="*/ 0 w 2506611"/>
                <a:gd name="connsiteY2" fmla="*/ 257442 h 257442"/>
                <a:gd name="connsiteX3" fmla="*/ 54721 w 2506611"/>
                <a:gd name="connsiteY3" fmla="*/ 0 h 257442"/>
                <a:gd name="connsiteX0" fmla="*/ 2248079 w 2451891"/>
                <a:gd name="connsiteY0" fmla="*/ 0 h 257442"/>
                <a:gd name="connsiteX1" fmla="*/ 2451891 w 2451891"/>
                <a:gd name="connsiteY1" fmla="*/ 257442 h 257442"/>
                <a:gd name="connsiteX2" fmla="*/ 0 w 2451891"/>
                <a:gd name="connsiteY2" fmla="*/ 257442 h 257442"/>
                <a:gd name="connsiteX3" fmla="*/ 54721 w 2451891"/>
                <a:gd name="connsiteY3" fmla="*/ 0 h 257442"/>
                <a:gd name="connsiteX0" fmla="*/ 2248079 w 2248079"/>
                <a:gd name="connsiteY0" fmla="*/ 0 h 257442"/>
                <a:gd name="connsiteX1" fmla="*/ 2193358 w 2248079"/>
                <a:gd name="connsiteY1" fmla="*/ 257442 h 257442"/>
                <a:gd name="connsiteX2" fmla="*/ 0 w 2248079"/>
                <a:gd name="connsiteY2" fmla="*/ 257442 h 257442"/>
                <a:gd name="connsiteX3" fmla="*/ 54721 w 2248079"/>
                <a:gd name="connsiteY3" fmla="*/ 0 h 257442"/>
                <a:gd name="connsiteX0" fmla="*/ 2248079 w 2248079"/>
                <a:gd name="connsiteY0" fmla="*/ 0 h 257442"/>
                <a:gd name="connsiteX1" fmla="*/ 2193358 w 2248079"/>
                <a:gd name="connsiteY1" fmla="*/ 257442 h 257442"/>
                <a:gd name="connsiteX2" fmla="*/ 0 w 2248079"/>
                <a:gd name="connsiteY2" fmla="*/ 257442 h 257442"/>
                <a:gd name="connsiteX3" fmla="*/ 54721 w 2248079"/>
                <a:gd name="connsiteY3" fmla="*/ 0 h 257442"/>
                <a:gd name="connsiteX0" fmla="*/ 2248079 w 2248079"/>
                <a:gd name="connsiteY0" fmla="*/ 0 h 257442"/>
                <a:gd name="connsiteX1" fmla="*/ 2193358 w 2248079"/>
                <a:gd name="connsiteY1" fmla="*/ 257442 h 257442"/>
                <a:gd name="connsiteX2" fmla="*/ 0 w 2248079"/>
                <a:gd name="connsiteY2" fmla="*/ 257442 h 257442"/>
                <a:gd name="connsiteX3" fmla="*/ 54721 w 22480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8079" h="257442">
                  <a:moveTo>
                    <a:pt x="2248079" y="0"/>
                  </a:moveTo>
                  <a:lnTo>
                    <a:pt x="219335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9" name="btfpRunningAgenda2LevelTextRight228391">
              <a:extLst>
                <a:ext uri="{FF2B5EF4-FFF2-40B4-BE49-F238E27FC236}">
                  <a16:creationId xmlns:a16="http://schemas.microsoft.com/office/drawing/2014/main" id="{DED2D17E-94AF-4CBE-A0C3-0635776E70B2}"/>
                </a:ext>
              </a:extLst>
            </p:cNvPr>
            <p:cNvSpPr txBox="1"/>
            <p:nvPr/>
          </p:nvSpPr>
          <p:spPr bwMode="gray">
            <a:xfrm>
              <a:off x="2495906" y="876300"/>
              <a:ext cx="219335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key titles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7E458D2-1EFD-4DF9-A9BF-6BA1C167DF1B}"/>
              </a:ext>
            </a:extLst>
          </p:cNvPr>
          <p:cNvGrpSpPr/>
          <p:nvPr/>
        </p:nvGrpSpPr>
        <p:grpSpPr>
          <a:xfrm>
            <a:off x="9996489" y="4558246"/>
            <a:ext cx="1920337" cy="817788"/>
            <a:chOff x="9996489" y="2897115"/>
            <a:chExt cx="1920337" cy="817788"/>
          </a:xfrm>
        </p:grpSpPr>
        <p:sp>
          <p:nvSpPr>
            <p:cNvPr id="122" name="Rounded Rectangle 7">
              <a:extLst>
                <a:ext uri="{FF2B5EF4-FFF2-40B4-BE49-F238E27FC236}">
                  <a16:creationId xmlns:a16="http://schemas.microsoft.com/office/drawing/2014/main" id="{66E1C2E0-8473-41FE-8D01-F5FA630EC821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9996489" y="2897115"/>
              <a:ext cx="437490" cy="428064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ounded Rectangle 84">
              <a:extLst>
                <a:ext uri="{FF2B5EF4-FFF2-40B4-BE49-F238E27FC236}">
                  <a16:creationId xmlns:a16="http://schemas.microsoft.com/office/drawing/2014/main" id="{3ED3856B-B4A0-4E47-922C-7B4DD556269E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0042036" y="2953723"/>
              <a:ext cx="344474" cy="344474"/>
            </a:xfrm>
            <a:prstGeom prst="roundRect">
              <a:avLst/>
            </a:pr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55ED8581-DD81-45CE-9FD7-EA57A35D66F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9998643" y="3353146"/>
              <a:ext cx="1918183" cy="3617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lang="en-US" sz="900" i="1">
                  <a:solidFill>
                    <a:schemeClr val="tx1"/>
                  </a:solidFill>
                </a:rPr>
                <a:t>Collision detailers, lead detailers etc. </a:t>
              </a:r>
            </a:p>
            <a:p>
              <a:pPr marL="0" lvl="0" indent="0">
                <a:buNone/>
                <a:defRPr/>
              </a:pPr>
              <a:r>
                <a:rPr lang="en-US" sz="900" i="1">
                  <a:solidFill>
                    <a:schemeClr val="tx1"/>
                  </a:solidFill>
                </a:rPr>
                <a:t>.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6" name="btfpQuoteBox867437">
              <a:extLst>
                <a:ext uri="{FF2B5EF4-FFF2-40B4-BE49-F238E27FC236}">
                  <a16:creationId xmlns:a16="http://schemas.microsoft.com/office/drawing/2014/main" id="{F96D457A-FD01-44E2-A44A-7B2CC25D1AC3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0438307" y="2967027"/>
              <a:ext cx="1394249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marR="0" lvl="0" indent="-60325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er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90520BF2-CFC3-4F7A-B5A6-0387D14F6C04}"/>
                </a:ext>
              </a:extLst>
            </p:cNvPr>
            <p:cNvCxnSpPr>
              <a:cxnSpLocks/>
            </p:cNvCxnSpPr>
            <p:nvPr>
              <p:custDataLst>
                <p:tags r:id="rId22"/>
              </p:custDataLst>
            </p:nvPr>
          </p:nvCxnSpPr>
          <p:spPr bwMode="gray">
            <a:xfrm flipV="1">
              <a:off x="10022941" y="3325179"/>
              <a:ext cx="1842335" cy="14364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2DEEC37C-3B11-4AC1-8B87-A29E94FA1292}"/>
              </a:ext>
            </a:extLst>
          </p:cNvPr>
          <p:cNvGrpSpPr/>
          <p:nvPr/>
        </p:nvGrpSpPr>
        <p:grpSpPr>
          <a:xfrm>
            <a:off x="9974047" y="3054915"/>
            <a:ext cx="1998613" cy="644323"/>
            <a:chOff x="9891615" y="3434069"/>
            <a:chExt cx="1933894" cy="644323"/>
          </a:xfrm>
        </p:grpSpPr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68C438A-61E4-4BC0-9284-0D6071343937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9891615" y="3784986"/>
              <a:ext cx="1868197" cy="29340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rentice auto body technician, painter apprentice etc.</a:t>
              </a:r>
            </a:p>
          </p:txBody>
        </p:sp>
        <p:sp>
          <p:nvSpPr>
            <p:cNvPr id="161" name="Rounded Rectangle 84">
              <a:extLst>
                <a:ext uri="{FF2B5EF4-FFF2-40B4-BE49-F238E27FC236}">
                  <a16:creationId xmlns:a16="http://schemas.microsoft.com/office/drawing/2014/main" id="{B840B00C-C65A-40F1-99BA-B3664B89466F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9906812" y="3451660"/>
              <a:ext cx="314544" cy="30600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2" name="Graphic 161" descr="Money">
              <a:extLst>
                <a:ext uri="{FF2B5EF4-FFF2-40B4-BE49-F238E27FC236}">
                  <a16:creationId xmlns:a16="http://schemas.microsoft.com/office/drawing/2014/main" id="{DA65C2CE-EFA3-4085-9271-83E0F5097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9943887" y="3434069"/>
              <a:ext cx="310861" cy="302420"/>
            </a:xfrm>
            <a:prstGeom prst="rect">
              <a:avLst/>
            </a:prstGeom>
          </p:spPr>
        </p:pic>
        <p:sp>
          <p:nvSpPr>
            <p:cNvPr id="163" name="Rounded Rectangle 7">
              <a:extLst>
                <a:ext uri="{FF2B5EF4-FFF2-40B4-BE49-F238E27FC236}">
                  <a16:creationId xmlns:a16="http://schemas.microsoft.com/office/drawing/2014/main" id="{43EE1E38-8A1E-4DF9-A883-4CE4E21329E2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9925897" y="3439264"/>
              <a:ext cx="372828" cy="345049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btfpQuoteBox867437">
              <a:extLst>
                <a:ext uri="{FF2B5EF4-FFF2-40B4-BE49-F238E27FC236}">
                  <a16:creationId xmlns:a16="http://schemas.microsoft.com/office/drawing/2014/main" id="{18F1CE12-9228-4AA1-B902-FF47083E5CF0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10291533" y="3511983"/>
              <a:ext cx="1533976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B4B4B4"/>
                  </a:solidFill>
                </a:rPr>
                <a:t>Apprentices</a:t>
              </a:r>
            </a:p>
          </p:txBody>
        </p: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148B9CC9-443B-476D-8F6E-837BBE47BA41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 bwMode="gray">
            <a:xfrm>
              <a:off x="9943887" y="3784313"/>
              <a:ext cx="1761154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Rounded Rectangle 84">
              <a:extLst>
                <a:ext uri="{FF2B5EF4-FFF2-40B4-BE49-F238E27FC236}">
                  <a16:creationId xmlns:a16="http://schemas.microsoft.com/office/drawing/2014/main" id="{353F85AF-7C42-4B55-8753-40E927CDC0F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9968144" y="3462245"/>
              <a:ext cx="314544" cy="306004"/>
            </a:xfrm>
            <a:prstGeom prst="roundRect">
              <a:avLst/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A7E8CEDA-0EFF-4118-AB46-71F1979E9CA2}"/>
              </a:ext>
            </a:extLst>
          </p:cNvPr>
          <p:cNvGrpSpPr/>
          <p:nvPr/>
        </p:nvGrpSpPr>
        <p:grpSpPr>
          <a:xfrm>
            <a:off x="9950867" y="2315428"/>
            <a:ext cx="1961918" cy="691477"/>
            <a:chOff x="9889408" y="2677363"/>
            <a:chExt cx="1978569" cy="691477"/>
          </a:xfrm>
        </p:grpSpPr>
        <p:sp>
          <p:nvSpPr>
            <p:cNvPr id="171" name="Rounded Rectangle 7">
              <a:extLst>
                <a:ext uri="{FF2B5EF4-FFF2-40B4-BE49-F238E27FC236}">
                  <a16:creationId xmlns:a16="http://schemas.microsoft.com/office/drawing/2014/main" id="{51A7133F-65BA-4FE3-B5FA-5556603A6D1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937783" y="2677363"/>
              <a:ext cx="399478" cy="380259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2D475A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btfpQuoteBox867437">
              <a:extLst>
                <a:ext uri="{FF2B5EF4-FFF2-40B4-BE49-F238E27FC236}">
                  <a16:creationId xmlns:a16="http://schemas.microsoft.com/office/drawing/2014/main" id="{5321CDDC-EC84-4A8E-ACBF-9176A3856DAE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10334001" y="2753035"/>
              <a:ext cx="1533976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2D475A"/>
                  </a:solidFill>
                </a:rPr>
                <a:t>Repair &amp; </a:t>
              </a:r>
              <a:r>
                <a:rPr lang="en-US" sz="1200" b="1" err="1">
                  <a:solidFill>
                    <a:srgbClr val="2D475A"/>
                  </a:solidFill>
                </a:rPr>
                <a:t>Maint</a:t>
              </a:r>
              <a:r>
                <a:rPr lang="en-US" sz="1200" b="1">
                  <a:solidFill>
                    <a:srgbClr val="2D475A"/>
                  </a:solidFill>
                </a:rPr>
                <a:t>.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DD2B5E1E-6EB7-4076-A206-B3C7549F9967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9889408" y="3061140"/>
              <a:ext cx="1868197" cy="3077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mblers, Calibration technicians etc.</a:t>
              </a:r>
            </a:p>
          </p:txBody>
        </p: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F63EE504-F965-4109-98AD-41FFB0C352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 bwMode="gray">
            <a:xfrm>
              <a:off x="9941680" y="3060467"/>
              <a:ext cx="1833932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Rounded Rectangle 84">
              <a:extLst>
                <a:ext uri="{FF2B5EF4-FFF2-40B4-BE49-F238E27FC236}">
                  <a16:creationId xmlns:a16="http://schemas.microsoft.com/office/drawing/2014/main" id="{4D424045-0B62-4F0C-AD98-DE9E2E549E8E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9965937" y="2723763"/>
              <a:ext cx="314544" cy="306004"/>
            </a:xfrm>
            <a:prstGeom prst="roundRect">
              <a:avLst/>
            </a:prstGeom>
            <a:solidFill>
              <a:srgbClr val="2D475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3" name="Rectangle 242">
            <a:extLst>
              <a:ext uri="{FF2B5EF4-FFF2-40B4-BE49-F238E27FC236}">
                <a16:creationId xmlns:a16="http://schemas.microsoft.com/office/drawing/2014/main" id="{78C39C75-A871-4F22-9690-3E576A1C86EA}"/>
              </a:ext>
            </a:extLst>
          </p:cNvPr>
          <p:cNvSpPr/>
          <p:nvPr/>
        </p:nvSpPr>
        <p:spPr bwMode="gray">
          <a:xfrm>
            <a:off x="6882585" y="1845968"/>
            <a:ext cx="825167" cy="3709536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58490644-658C-4201-B905-C49AEEBCE70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4" name="btfpStatusSticker149086">
            <a:extLst>
              <a:ext uri="{FF2B5EF4-FFF2-40B4-BE49-F238E27FC236}">
                <a16:creationId xmlns:a16="http://schemas.microsoft.com/office/drawing/2014/main" id="{D327DD13-82F2-9D49-02CE-4DFA0883092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5" name="btfpStatusStickerText149086">
              <a:extLst>
                <a:ext uri="{FF2B5EF4-FFF2-40B4-BE49-F238E27FC236}">
                  <a16:creationId xmlns:a16="http://schemas.microsoft.com/office/drawing/2014/main" id="{856CA213-36BB-E5CC-DA60-B73B8CB7BADC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6" name="btfpStatusStickerLine149086">
              <a:extLst>
                <a:ext uri="{FF2B5EF4-FFF2-40B4-BE49-F238E27FC236}">
                  <a16:creationId xmlns:a16="http://schemas.microsoft.com/office/drawing/2014/main" id="{BF475A4F-07D8-9929-5DDB-EF03DB33AE2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Graphic 48" descr="Robot Hand outline">
            <a:extLst>
              <a:ext uri="{FF2B5EF4-FFF2-40B4-BE49-F238E27FC236}">
                <a16:creationId xmlns:a16="http://schemas.microsoft.com/office/drawing/2014/main" id="{D1CAA8BC-0189-5D75-76CE-77AB01B2CFE0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0059879" y="5420054"/>
            <a:ext cx="295182" cy="295182"/>
          </a:xfrm>
          <a:prstGeom prst="rect">
            <a:avLst/>
          </a:prstGeom>
        </p:spPr>
      </p:pic>
      <p:pic>
        <p:nvPicPr>
          <p:cNvPr id="51" name="Graphic 50" descr="Tools outline">
            <a:extLst>
              <a:ext uri="{FF2B5EF4-FFF2-40B4-BE49-F238E27FC236}">
                <a16:creationId xmlns:a16="http://schemas.microsoft.com/office/drawing/2014/main" id="{87D201FB-BBD0-1D76-E534-F983EA0A4546}"/>
              </a:ext>
            </a:extLst>
          </p:cNvPr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0059880" y="4638818"/>
            <a:ext cx="304061" cy="304061"/>
          </a:xfrm>
          <a:prstGeom prst="rect">
            <a:avLst/>
          </a:prstGeom>
        </p:spPr>
      </p:pic>
      <p:pic>
        <p:nvPicPr>
          <p:cNvPr id="53" name="Graphic 52" descr="Roller Paint Tool outline">
            <a:extLst>
              <a:ext uri="{FF2B5EF4-FFF2-40B4-BE49-F238E27FC236}">
                <a16:creationId xmlns:a16="http://schemas.microsoft.com/office/drawing/2014/main" id="{0822DD82-C173-3392-5A2B-734C010F55AC}"/>
              </a:ext>
            </a:extLst>
          </p:cNvPr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10058959" y="3827462"/>
            <a:ext cx="301282" cy="301282"/>
          </a:xfrm>
          <a:prstGeom prst="rect">
            <a:avLst/>
          </a:prstGeom>
        </p:spPr>
      </p:pic>
      <p:pic>
        <p:nvPicPr>
          <p:cNvPr id="60" name="Graphic 59" descr="Car Mechanic outline">
            <a:extLst>
              <a:ext uri="{FF2B5EF4-FFF2-40B4-BE49-F238E27FC236}">
                <a16:creationId xmlns:a16="http://schemas.microsoft.com/office/drawing/2014/main" id="{37529B85-12B1-674E-85D0-A4F3581A005E}"/>
              </a:ext>
            </a:extLst>
          </p:cNvPr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10042124" y="2382720"/>
            <a:ext cx="282605" cy="282605"/>
          </a:xfrm>
          <a:prstGeom prst="rect">
            <a:avLst/>
          </a:prstGeom>
        </p:spPr>
      </p:pic>
      <p:pic>
        <p:nvPicPr>
          <p:cNvPr id="62" name="Graphic 61" descr="Car Mechanic outline">
            <a:extLst>
              <a:ext uri="{FF2B5EF4-FFF2-40B4-BE49-F238E27FC236}">
                <a16:creationId xmlns:a16="http://schemas.microsoft.com/office/drawing/2014/main" id="{4C5FED4F-87F4-0283-18C7-165CE614BE52}"/>
              </a:ext>
            </a:extLst>
          </p:cNvPr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10062704" y="3084897"/>
            <a:ext cx="300100" cy="300100"/>
          </a:xfrm>
          <a:prstGeom prst="rect">
            <a:avLst/>
          </a:prstGeom>
        </p:spPr>
      </p:pic>
      <p:pic>
        <p:nvPicPr>
          <p:cNvPr id="64" name="Graphic 63" descr="Single gear outline">
            <a:extLst>
              <a:ext uri="{FF2B5EF4-FFF2-40B4-BE49-F238E27FC236}">
                <a16:creationId xmlns:a16="http://schemas.microsoft.com/office/drawing/2014/main" id="{3EBB32E6-3012-62F8-3823-A3296A5E6B98}"/>
              </a:ext>
            </a:extLst>
          </p:cNvPr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0020008" y="1582523"/>
            <a:ext cx="357171" cy="35717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AB107CC-8E14-069B-1B7F-0304672D6C27}"/>
              </a:ext>
            </a:extLst>
          </p:cNvPr>
          <p:cNvSpPr txBox="1"/>
          <p:nvPr/>
        </p:nvSpPr>
        <p:spPr bwMode="gray">
          <a:xfrm>
            <a:off x="8841780" y="1646883"/>
            <a:ext cx="458600" cy="19200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i="1"/>
              <a:t>LOW N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87E26AE-559D-9BB3-00B7-D908884030D8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5365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btfpMGChart34543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Ynt+1z2NZsCb5L0NnN9GHnzsOorK/pE9509bbrwIZuY2urXpkkOq2AJFD2zVuMqAXCpze8dDHj5n03uqOJjkfpU2rtPWrz+PpqXsaPsHHm2Aux96QDXo0iQDuKgfzrIQT1GNwLVoW0dQdOGSv5c9ZAQ1MPOXHfdoGCZw1C1QdgDYMUqp0yMXMUhiXmKsSkCx1h6scuT3hw3pAVAeizfzJdYBKsYjyFTOJOGkLc1i5jYV25JsCxHgsoofjgSTu/eHeV8vClqx9mfe3yN3prVJIy9lr3nFYMpi7r89O3Z5E9fwMOmgc0l8ZGYcWmy4kaW23Y2Is26fYW+eyvM87YwOjlIdiyUXloOJI6F5gHcdB7YOhZ6YgtKk3HqfVaYbN0TqdWF1Dp4BheK+mFtLqr5b8+mWO49hTf3Wg0i7J1AgvI/YhcBB4HGKdpodgWjVCZrq7HEKffXOhwl/TqLjcycAOART8pDsKGZumO6H6VA1igW+jZVA/v1aDCbfj7SwstjegzhPNEJTjXWqH3nKxSA6mGrjQ2HZRvjxAezc7Sw311jcgMEOgaABGzp++UscfuSvvGEIwdBpCpwsFjdlU/37CQw+RpU6brlBIdKZ5dgJ9uMAAIPerpVFTEnEbjIludwDMAJutPCqPwtHE9cInXMWw11btv/QRZq/IZfSnVkgJGWSG5qYPg/++jpKI3RwtuvyY0f7toO8jCF3JlvkxSKsE6D77ohMDfAcRYK9mha3LWqSuHqgTZY0bJAGu21/sGIBZmg967/V6b/qpOqpHddcBh0LtS+AGcUIPTv32cbZX6iFnhOew43NDRblYcJKvtz4lTLEWGvSrFBtFIRHtMQEDaLMqJUxTcv3d/8mkl8SG7e4Vu3c0wFziq3VHChi2L98Yy93VFO8MARvRwuI6z8GI5Jx4V6EQvqCOKcSYM20KdIKhHV1b9PU4tonn+TXqJSt8s8ORNBy909vFcQn0LV9X1aCslWFwKDingN9aTkViOpLCYovcsm3gYOyttdA98vFmu9nnHizqnMv1gaAtSoL/VQPjGtbFJOkh9nuE4uiUoS7mAwC8fs55zPQbIGNfZ3l71bm7zU2OIECsc+FcsG7JWnJkF5l0y5+PWUMJ0+jzRpmMEiVPHXvtXD3TEKQ2BAkAbJ8dZkHyb8kfEZp0oO+xRcT3tRs3Y53oA3m78hPQ6TSAaCFL5otqgmEO1FiMdzI6ryZoF4AOs7LLE2u6L99x6FO+54QGTzqRRLdl/v4SFQ5/v2MgR1gkHKbuKkGLA0Yc6TMkp9AgNH5glX+IVUReozCCQ8QomS/weI3Pey+k6yK3Lkpa1tSWAqQ1sIIOKPBmopxmKScxmAn9ZfIkrXOw40QU2+D9etUXn/IroXcG+LZvxuHxctMcIpOoHGLX8OY0qTBIwSjuzUCvUPYtmgJm5BqkRvKpQZ9v1krNVbSwczlYfPH8A8t7BpiXjEBjeJyfguqgVG07cO6+Iz/1ta0ppkkVj0ndp+TSi81cyCQorDOAQBeVPiLUGmXk+paPn8EbrWZM6gl7FAN/FX058nPjCjeVKnJbv/KRJxFEMfZJaHOZcrNrdA2qRz3zPLDMLDE4DBpWZp9ZpVAPEtpCBZizrESqiU88G6+A87MTvNp5UeMUMH/WgFPQJsVpXOIQhvtMUMCuaUOWYND/xLfgq2bzflPd4HkbqYg0qzzPj3iFPygCEK2l+58CMTdJQGYrBA09o77S6b5+bksbIOKdcKIRINruS2LOA118whvIsVt0od6ZdfS/6j/6Upqupk4oHqLXWprRTlO4y6u6gvaeqJ588Nh1EELBdhLGxlZTcC86n8nWjsYXFyCZz7LwohtgDDIYMeytySUbplQmWK3Jqbnm1JVWDSWep5/2JGoZL7HMx86/IWqRfKMv6UDU0EnNstWP4/CM+uKMkCFkfPh5BabKj8vCi9EA7sDSzT0IxGOIQ62MUOTqKHfgEoDaBZuYI+R+Z23BCC8BSwnYH/fw3hvGBOFf7CD35z+g2KDt2oufeb01+n3DA3h87mslVc0o4gf5jOXlXkQ1/BQ3pB3Jl2j2qUunChG7rpYxtxiT3oZrdSR56B9QCgT1WW9iIpu2+XQi+AMvApEiiAPMRizFz2Jn60HK+2cQW937aZeob30Ml3BjZWZ8rLncUaU8Q45q/MdApHZaF9UPpGBeiX8papfpcNrIgp0D4xO+5lc1ZUhRn9cFcS5pMjZKDFvOOVjyIi49Ox+6aangsRtvYdbfHqREFTatLKIyoxQCylgqE9zArQDlqIvqdw+9kdezZUyc1157b6cluPUsSHQHlUYihP7On3MGyRMgJWHJ2wZr9IUyRPXAnEfqQsBDex2aor5f5PLfbBzSjhRwDBh/1Iy6X0pL5GFyN6CpjXBjavI6zXLDH3rRnSFc09jGr/pcU6ZRFvf9aaaCg+CT7pHYJPEkCe/SMLswxoCmIlg9L2TGLQ4F/PZ1gHGFdX8byYHADfBwmNSBGS6+gTrr2JmPnF4Pe1qf1HrXRBLyKKK4YmAvJvZBnJibIduRfBL9EHIJ4I58J/xE9WQ9dEHb9eUct4eyfIR1gx5KH0FENtkNoO7I3/KHDPoHfY7Qt0ZzY8S+cN8AhE178Wnc1Bvui5caApoAxzIsnQNApkNU6sNeSq0SGigYcrpX4OfZyl1UywtRb8ichmIGbcwwEFd3pLXdVIeCp8lDLzbliR/s8UvRY/vP5Je+ExffLCANOdAS076dsgtNpO4F3LHebVTSGNHWxQhX/ZVFlEhxnYYOxNI/a8MKGF4CvAH1wFBRMN7QH5l5qmuAgZX4L/eh3xbyzxJjXTAWyVItKkJvXLokIZIdujTR6ieeemXzzPmAVhoiKeodZ9OvCnk25E3HwvO3/mQxM+LI3WpICdp3W4CAgkGDEwq8dGE/VVXajX2T8fQQyFRwBAJXYo2RIzENff9loHA/FwZ79MxB9UjQaCkktDwWQ/7hHGndS/EhFZOhYU6LB3pedYhpsfaci5Utnwfm5H9Kjz5kQL5knr5PUSuobWQQl1rumx2o+S+RJCGj6CnqnwNEvb0eoo2CkfK3HulyLNifnbXb7XaBS1JC+YH9bh5kKdMmkyQ+IjO5kaMjTeuW5TEkLgkKEqoTRhIqxAErQDX7LED1KrN9rn0J/aG2dvF0Xaij/2cu290r40s3y9Q1H2lrwC4ypF0qv+ffYjBYXYjTtcboVGYfehMRcKEhaZXXvjo6EEJZlylQio+ye2BCA5g7NuifuJihQnIvp61ZeZfVZTbsMnQhdgPJxtvc1p/l/vFiFyNmszzQN9X5Xv7KmjDQplUztJwtaBSq8sdDt7CA7ALqW9sUzY0vSid1qAu48YdnW4xBO0rWFDc4Yn3OU1pfwa7bBvdOYA2zOqYcMGqijlgfSHYGiQhgx/41ImlvPwg5adtbd6SRaU9diGMr81z1lMYhHEHUBAVUb8IjjcfMyfrREtrapeaTaKLTlOw8LOpXCvREr7ib1M4hJp3pzSPd9LenAVw2mZ2nV7oibgOe3ogEJqFxNva2J26L+Kg4wewaWX+bNdA5I0B/bu8aVXlY8i8uYjk8t21cc5cR7dBUYQNrxu/rstDJhFawO9oytMavB7w179Udg2DBOMZGjMPBKYV2xPDD/fc5WAoMTvhHA+KYJTpHUmb34OVIqp+dXJY0g9kXoTnfKUP0eZ0PdTM9FlLjex7MCTddj63MI6CojP26nYBl4w62clqm+en6jVMc7s3/UpMY2OSxEE/I7pBtC+MrQL3MLOJPI97e+KHP9II5/8pbn9g6izmmoYvw0sJDGyCDkH76Qcx9oMn4tOG2gljj3qUuaZNmSmmF45CC5S6BptxxXezNK83qjjQN7LhGiB1K1jzxKCfQ1DuWqewcOM9dxf3D2l58wiwVfw/oyBPQXXwO8oxBG4BJBc3gvdbSeZYKG0wyYsqmMsUOAETB1dvyG5S6bcJt3w/iWlUhkBK3Svyd09vozmAYv29EW96SD4xEUOSNCPM9czDqpWXIRvbFRex3WD4asefQ8xhpk6/yiTPvl8H+wLzK6tchyv1uBVQuXZ7Xnocb4Uf5de/vph7Fv8iMkgem+8dYK+bz6KRrjKB7rKeElFb/jUPaEDKWTGzRLkGqmrgiiXnVzA6Iw8DqW6Fc6V4rwd3KYwugO6XNdt7VEhObzYVER+qjjXC94T88K/Bg0RQiCYhGk1hZOnjAiZc+vl54rtDGxOfp/38YwnW7ExS7FiwENuCSVZT3NHd++1iAPsf7GItoMUXUOyYXs2BokoERD74UhAPlYGenlnpb6K/4QJplBKhMYGAEYiFJ/tQ6IVVfQEnTG+0ClTCu0StTXEqTnLg32X2UtBuBFafmgnb/7bMRe1LsIDsRAbg/xaVsfHJfpJ15ZcYGnRUUdyeIZXHGgUFfrrV5oIJWLrIzyQviYvQzC+8bADeJ8fm8UglHSwUpVM2ixyVpOLUqYb87wtS2i/4qcoivk+bOSbInVaTiH216iMi56fr21ZlLxUvUDKippjz2tAJT51l/pq4/nb9addilnc+OgevoGaNAkYZG4g8Zd2emmlwm9uVjbktFztCSxawegQ2DjEt4pEJL6A0a5/SI5iBIf4uxR0aQLrp01peLwCIMiPjWZGb5Oa31A3JrgZkVkA9d+8JgUo400vKEvzZgn9u6umopw3ZLBu3Wf9cGSerKVnUXDDZgmnqijcLEGcCMVabS3K4vrzscVYXFEa2gVfLM855lzbQ/8u30QkCLmEVPUr9cZeZ5sVHZe5NPY3StY5QLbmETYEQinGwzIqvR7Ainx9hVQ5FNdQY3VtlaWjYFsc3H2+1izaqWw6I2cHuYE/iJMDoiFhHGJFU6NtXrPr62vPHnoREY/GJ9PcZB5BUwFisxwMQrYhH7blfjQtjKtjFTXFAbez/4jt0zmrprsDhCOMe8xVhl4KW4eH0wqfpUXZPAx7OowwmohIUxbKaKwtvUGTJLGEEzwNecCXj/pxejSwvPuz6UDXC7IikR4xzkKsedjSqbP/7nnaXFuC9oLgFEI7yd38m5PUtGA9egBfhprEangFnbvNo2aQvJIoUZXNFPsWA77rv2ayNX532Jg5s+kr3OGq7+QF3pgi5ItVAyHtzTLKK3IYm5qKlMjh6B4UJUyQMp6GC/iMrq9pbGHndFEDsRf3k2c7j9W2aSsjXViHfQLL2NGujHgoz5EoUGdUvhJfkl91+/eoF2pfCtH1dTEm/RfLqLrhsCbmluIbwXUIoCTZuMsYCuEiAazHZd3XqbecicpI7saM7gBRAhA4warsTX2f1aeEuUXS2ASixIxk34V+QUqNhpnK2vw0VKkojIqPWYso1GHrBCdsgvcCMJieMk2veqpugYNzOA9kyD11oeccjQH1E7RtN6VG6OrZvEHnCZ4KWRiTe10Ebe+j+XQNheZKhxQpAP85HJ1flPDmttewY2VtiReYaU78UKdntDEjEtK8GhvmNhIbD79kkszw9+x/ohJTdhY7BOGc6z15meA3scNGCUxj0/ecwT9sopSqqbNQDqnzJpJ9EAC6+wlfvNk4xnEv9KOHM0Yd4QbA05UCK69LzW04OnmNTaYGCh1N7Ty0b8Q1IWHsS99R5z1OpxJ4UQ+F8LnBlMFEHRh2EvgQDCnm1VXY3RAa95hiDCqlSIXnosAcCwW2hgHnHXcZVbT64LAoaIJpUw1FsjsiQk6xmwK7CzmR94qleVIxRI1BBJbxoaYG6qsucqerL8QJee+Pd1kTk3Wr9NdD8voJthlLAW2EduZTb2HZzrC9R3bKEmHMAan7WGLFDdbAVuKL1uwLT9y3+SqgMUi6csh0Mk8+JwBTDK7BHZX6Y/ZIgY1yCpbB+6PaIF+Ibhhdz4JfQTuMi6Q6oeGMk+0Jmm26mepnckCbLmOU3gyKciimTV6eWW7C0f0tbHC2trMllDwKZ75txhfT8w8g0klm9OHr9PsUfYEIzkNYfbIzIMPmFGLJDbLWiOsj0Q64Zwu5TyDoqryD8khSEwmXSaQqTFNZKjrmwRBk8moEcRFvUH2scPqOpfQu79Xw00yfiT5mDkxxWQbBuqHVrPw1r5xiOQf6QJG5wlahT89yYYXYYGbFLFhlvcFYX16me9GQ661p0boFXW3Bt9R/+r+XwvpSa48oBKXyqcYzNWEE71C2I8XBr5JAKBeQwW8FcNuSkZlz4QkITzaATUpAOqumgIdnX8zOi3zGGflLDaC8LkzUkRIWxhYBIbwTEJtHTNiSviGomFNgRKcPJcfyy7Q8J1r8pH8Ukcu0q7eEBUnDa60XGQ65ZrLp806d6EZ65TTcd6r3Lh7zjW4Kvt/xvXSug+GdwPzmIpyxmmGnUfufqmhg6+WTD8n4hj0QjmdbCFhwjZpFrTnPbJsfkTl45UBFT9dwKDdghRA91i7ZClU3W6jKgLJwktlit6Q/2CmjIggZv7sjWBN1WlNgZPDgc/7DMTK5912+2FPGznElbwu3YUATSTAsEbhMNOHQqtPaJfWWKul3HsgKskN7/aQjxJwjCIseEaOOGtqb4kNkZGxLabuU1bVozWlU8Gem/DmnGRtAkCZvqmcFG+7+1ihdXd0oUx+1PuXT+kqZZjUmb4fHcg/BCuD5D9IR1K2ZX19Xl2FeswUH+Tgtqdd5cLiYWVufyyey22ELGSNNhMGZ58EPBO1jlN7ii8AcCczE6hG8r+ZBY1vhv+lfiHYARAqQ7WHDPb32qpqwYGKBEdNc4Sn7Kaj/JTh/hcy51vrFjcPCulKxUJCX4GkoMDGy96c4D6/7wL93YIPMHNBmQW81PqS+8MN62Rfpip4kmjMRirHbn3JLIT62TPqItMv1ksmfnm1pFuPvGXQQ/g3xOZ4eRvRRlqmYyF+2BtfykEY9PW5ZatD2HGKeFJgEX51RP2cTMMgojUHMpbS3ltDoEbxflCKjtfNwLvfSWA6eJo+mLfbMQwxY+Y8Gz/JqRf4/czNCBQ/ooeuAQm8ynj+Mo6rp22KhuzQWD4KkrE7Kc5Yqk/PO4lXNBdt3sjRXfACr63dTFKWJfdV6M3Z+l1QQbGWzv0J4OpeZnkOEhxW0mMopSz+cVv51BHlrooIxNauqAOU+W1429BCDLeo+03uIT/VL+ftnMwElDFIFjg/lhs7Cge2tWIGa/qdb9Tz/OmuM5DXYgE+hJWQ/rm3XnGE9G97lsVvwhVm/941KzpamXm6wkNNkxoAoEwM22gsZyu4IIbk4PhZFZFW9wxdq0r+Ne8Q4N9FDJtjflc3OIoURJZHvS/dffVhy9RtV0R6En5kYzRP9CsJhAo9rOG8LXnzmimeIMcHUibvUlNGhqEzWXg1dSq5W4+8gszABPIRFR5C4Al5ElTYnxdPmYONlng5So1uPZoL7AyWJFVK21C57yZMc0L0ueCHHbTYXByXnIHf3ankVeXzgRfOGUyUfZupI7kCukW8CI4E+xnzxwkfRhQ9TKhHjYcmwyi5qPyHXyw582ve+MEB9RJWX3ZlKI2dYpNOGRjxci75fTGFIbMJhkPcQ26YAkk092MjtL0ixaYKnGtbUOhaB7Q1ww9LXVljO+QkjLkNo7BrJV/uCJWjyT8U7E8ouVovxGCXrnSEX5+xmlQF1f33WnHqNZdO4RwyAmiVrR8tsD3RF8HSqRNYgntxkvkyq6JWTkVjLWNlTmjEvm48Uui0KpHq2OqpVPusU5qMGVuJPxyU97Y2Q1aE2kcGjDwi7+ew9nhyFDNX9/xFDq1TlQS1hrT25VbxuEKAujrlitk858I1dlNrxyL4KyKwVpALcdjxkOcn/cY2RQWHxsb4OtaFTB3twQdQy2S9bFkiXMa1aAbl/AxyuJJLRXoDbv7fVlevd2B6INX556b81sF9i1w/KUIxWlqpKRCuPG5IvqpJODmK1gqciSsXWFJL0UKrzbYC7erbOKsy0p0D2gVE8SNo33CDwroEyu0iOfF6sbhfpBEcScfaO9QjpORPVgAzs+v52YUggN09SujrIAS0E+WmSBBLeTlupWAoGGMb1e/sMWhq0OQil4Cw55gFRINxqH10eh75AG1TySAGf+k7gMf4k6bUsFD3GwSAQ3/hqJr/FhqSkhb7vohrF+oVTKT8L556XeFHD5UO2B7DTgiSc4I/t0/gl9ANbaPOfP4zJmGkYWFyjdmV4gIosDIvoagKUJf6qqNEce6hpAzJmjqrFl1bbnSXdf/PS5dnF1uEKQ43mmeBgwHadAdUUOrRST8/vvtB/sWI10lwSLyhdzORqMkqhtEQd16QjuPQqls174FOrzjnaRRGoR9R5ieVo+gvXToM3R6m3+EbWrIo5M4X6Wk9T7pcOwpNra09MxjNvAlVo2NQDzjOqlmT/L5JIRCGLRihhVLaUisLiKhRrHY6LMUqW5+eoeWvfe9FUuEVmmUYzResEMrkcfWoR/bW1C8DF7VUJb277blWZSioqDZTwhmjSAZ0PTx8js+84RuK2/bzxuJ3vrn0Bi8ZM3ec/9YSo9dZqwHEKM7XU7q5PhIkYJd3JS3wEZrbwtzpI8xHX3/JPbfQXB2C2kRNfHW7/4qfMYsLHbADPJ24aGVKhP5HfYAV5JGOfRfoAVt4DopKyaoVaFD0QNMeyXxgwQaZZ9NVhQ/AkEGZDz4Y5ZoCTNgQTisWkDP+HAAQuKk/F2hAnuMwArZGY6l7MjvS2eiIg3VDxtbWrhh2cxX07gB3TqYSuZy7tpHLxmgUfchbf7h0QhN0Dnmrp2CvCeOmhKgjLGivOixhfi1+JjfFKjczw273kJpnmN8o49fvhNe7mU8MOP3F0dSnFcKW+1stjnMN5uM89+WiNNZA1txFL3cIu+/mBC6iWeM4MMH+VzbD48nXh+S7wHynpP4LRygxf21LbVaqqTx4Yjra5nhB7lLkWuytJJiC69qq6KOhO7DtUMHekIddg+m8G55A7Aqb3CiHvpeIcov3cRLPsxdDFPGkOHQNpvFbRJxyN7eBole90ZS26pEapSuxIRniEOIbyR4MfiYPxlTtx0NETmGJIWXRh2Lzxx4sexQ7RCFHejYjD/ylcdZhNyUI2UvcGqHlhYIsqRuJ9Po110fn3iMPaMkjL7Ki3GQ+abmbFIeJAf67oYdonddAxhVI2BeLc0d8JKCzYJzb7+E+x5QmIIVe4+4YnVgsf82u6nPg/Os7VLn2MId0hemkUA6go8bxggITYw4KQx5+AZOe/1T4E5rCmvaooVEfl7lYMaDkLG4Te+vYF3yCrq1aKGPvt+wQCiTweBmU6JwDOamLrFZUhlIyXUZeZjw40u0wwxC8qPXOK17Bm/DDv4GMfwvjLwdv/Ty5mqbAv0gF7Aqdn8PEYTd7jdJY2KKZdTyWS3VWScTmKsq6cJyzakGM1tlHfTDHiAyGhhm38nYKSRlnOK7gl4Vwd3WQ/MIPL9H20oRmjjUs8KBTJrYUXovB1/PR88vekiaq4bvN67P/h7sZ+vCXJLyV86aZm5Rig94DQY6VtfTQHLR9I4oAg3DZxu5S6/MpWpYcTP4amDz85ZoQ4fdg3FCEQ29zJijJzxliYxEnWekfbI7YHJEkNbXBSUVdq4uM7KamQb9BjLC1o7DvcgW9U0ER+H8QpSDaE0RUJ70/eiIbysqOZBec66R47B8m+TvdRAK80iSu1GasOtw8WJ05eXZBvP4j733mIZzyyxrc0iwWgmDECqrLxVXsAPzBn3DVUaScM9zv7zJ6o0f8ZWq0Vd6DCI/BrXpYikMYMA6xV/092DgjZXFQLex23Bhzhm+aI6ehDBqjaOf+bGUNmCQ9B8SO4xoQMzyeGoOR1jgN95OyhuaKLSaB6GPO4OgxMjhZz5DvRtJRVVfLu0cQLj3bYFW2eqwNrOJTfEtA95JYQU4YqdK/QtY688YmrL62RoYyYDuokOi7+rbFVtLFbr0H/flJDoF95uLOcRk13fUHqRvzEJRWuBbTkyNU8Mgb/7NMEv8hynN3pwrDtCNHq5i+ijtxeLEPNiJMdpnEO9N0vLFBa0ByXPbewiiea9DG4bukh5jS0pJiimC6oi1ey+OvmNvkZtO7PKenM11ez8CHA2xBmLYAUofcL7zGbSkLrSab3TvL3JK1R75chvxdK5tu84C16UTN2tZ3YlbDm1kVSzTruLeJcOCn49jT8VMJHWmSRTiyCyyJg1bu7r29N2xHv2xhb3TA+dq9/0p1eHBBDbkVFVsfb1jWUrXUeUISjWKFUNZgK3iK9SZvs+7d6Cr/+7vMH7IsaTlIcuilhc5QpDCHS0g5dJmCHCYNOcr6o27rB/sS/y/ZEjd2pmLRooaDqm37VR6gW7fuss7DnqyJBhQ2Ds47gEpmUZuOoSq0TQ5y03TnohQ2gIbUDLFYapiIyMxE8+foAMGfoTb3178IF+bpxb/BwHHSJuJ9ZvkxCm/WZUc8uEkQ0NOmz7n3cCAkmhFX/GvAVvDaU5JoEzXD59hxAyH4/AlDvlvHq38dwTXaCkXPRJ+LyLS0YqB7OVISb+cgYLaUdq/PkZIZaFpcaCa1PyP8M55KmNW2WHIAFamjK73gFYcJ2ohbKEbbL2gacmeMPbrXG+idheJjl05xI90j20cQpSOdVFBV1r14zLqHUaAeAY8iRCZL+UfZ+T4buyueg0PlvF19xh4IgElKa71fie73bXNQdLxV2zdNVd2oHTfmze32XdLJM6vn0pv7uIoRzXEQ1nJ84jIVAFFMKbpqxr7EyRWcqePDiMLp3lq8iCZK7Rf/Ae6pdOhkwGI6A2OmMJ+bk62AdBtYSZ+yVItfR/Kkggp9pJsDpuby0b+H4yPdFOuQNr1h6aAZSIWvFOOm6fQwMfn1fe+PyWTbqatDvxaMHhCUizIsurZ8ANBK/gAFeyl2yeouJWEzRxh05WS2oJTJgYsaErQsdXOfXNPkyr65WLspfG6fczV5w6Z5ePGZ+rHDDtpjN8E2cqYoTM0lePX7X5LmrBw8KmMpcbjJwMRh1Amlf+68eLRqsktU3z6m6jjKKNoo68+jTXc6KNaAl0uNEcuv1SSgvxui+UTqPuM2rU3MRtP8/p8rNdyMNhXMnWujN099ZyiK/lBUqkyZMm3gSnnpRYMFXMbDqij6h35GhLhcf+cLnbwabkf26WVa25ht2ELAm1iOPmSUUADwKzli5zPZMJMSTfqQtFgOc2ihkfB1JE3rL5IxTSu1L5Cq1G9GXjUG7seYHkorY/8KBtCXqaZNaHWfZe8Xwmm+LEnuDR5t9jGlG5X/TA3wn4qlPvvSPWcYkavxIjYfgAgRGx6nLLJ1G8Ga3dact8p5U8rKOx5vMi4usbT2JRvdLtjPqXnfZMXemDYC5ug5qvEeN90mSnwHV3larqxut5CwZGVtgJ9kAN8aBk+SLczbHP2XOpl2ojepGNxDCrYGDcaJ/mT8rXU9AMXh0lqOlQkk7MCJOQzlnU0MtIwpL5MN/VaZH3tdAVvkVE2ZZGczqsiAcD3qpwvV4goNlDM0ELTPfApImd0k1ycuG6C0vXB65b5RhxflMgVKbCWpcM2k0Df3qvwkib7Puf3TjTDiing/mC//FDfbEt3t+rgEgBJOGbmIkSGCsv7SmWPd6ujT3PpO3dieRAsTx/+0fPIN/hErLMknBVnjcCwTck64/o1fAaq7736Hvp+HfOxf+hSlB+Kev/GdD9a2QGlo0TzrOJBfxMZM7UM/rEUQvPHWj4uUSYJUkA7+/fJSLcc+QNXcxcQJ8kEUl3ZmlLuS5mvuVtgNXQLqNkInLV1ioypVdeAVRJhmt9T1pxAdYUdDCieB4g40Okz6EkUj3B7lgZKMzD5EqjcB0rfrHlCVSz4BWf+FydVvlp0+gmG9P1jVyWJdB3mb6MxZyV2xrh/3PgREOmRuX/4Pl9l2GIyycqj7pG71iov6SHi5wQvmHJV/IDxgGoAad0vNXwtWFi6i3d0OfRJQIJX41cxEKhvSvwuJhjdTD9Rd6hgNi9fPG4W2/fEASIyITP5rbv0S0Z+qIVNMzlHVybrvoQnq0hz0DaPvpoWeLwU4z6QSvqcvjWuiQ2JSzd53/mq7F/nssusJhUdzr6k7KX/0aqCn1GPT1msWjECjmMNYX1aZr/zfKnwp6+AE8N++T+4dk4c5wu4me4bA7azWYgpBfqip9rQBWyUVIhy9ldHNZGOx0+JlYGLHwoWK/eMEzCSGA1Bt61zJUHb/EJfGm3WfhNxWYgwhqpoGBA7iCbU9XHE9GzlH0Ae/IoiYsGFjvmv3KvP6rvLO6E0cnAGq+ZMvJOAEQ2eEj/HmADnyag/BmYEjJR7jOKJlbEz6Xxw02s8k/SiMvpi5BImvKhvKS5MW+YOUCUz1HCcMark1AuoUU52NmPjvzYUUvd5sWT2TC0Ky/pz7P5cHbkfgHAiScSzzdl+PnVfv87ywaYN9I6Wso7n101mypUm+y0ZVwdR7qvkoaiqLqwKU/LvLqEWrDNdM/pOzdKWemr4OOXdvpC6JFOodyB3WzAEpNrx+QzOkHKyscOqLNyOlu4yioCzlNKEXTATOL5JmhOD3ruzPOjKj2nUfMpHu4tJqaTNKmdD4y5rDFDrnr62bLptZzeSD1bgdc11uZH78NCk3lYzkai22ZzA43Hem5OjGsYDY/owVV6JC4+z5IxF3n7C5Yh8e1HqCb6uXz6k0CCF8UYN/x5nDQDGr7FuohThgr45D/Qb0twJfN0vUP6ldShk9ccAB9gJUDZvvUuNF7Wavp758g7W8MrLSz/+13WVid/eGN90E7/Xtv6ngnDkuwIHYZf8SbkQUh0xwSkOsoD58oNGfPr5qD0nTo5hr+Iyrr/jkjl0rY8DR+B0pXpRhgj+BVh1TMY448phc4mg1CfNGjxNuyIr8d7luhWnmRlkNfcPCtEWEZJ8w3aS2Pj9bGfWfuRfv1CC8pFVYctUDoYX/Wn/ddfv1aiEPSgVcPkd84nda9AnEnjt2QqOygt4okZamau+J3TErOUfotJjysqF1bFA0emfgkhsFYiEdtDneDuqd3AEgHJ8fDSBYBxdtz/Hd7GJk+2P9Gk3xbVStP5r+vasPjGaZyRzFZohxKKWrfwXoxmzCxpb+ouTb/fPoDuBqJ4mMdBLrydNYc0nh4u2k1AI1qF47PpacB4xnCN28G+ARJGHm91TPxbvVfzUk4VxL7nhkcXo2vJphphcLSd83M7Yt2S6yLR5PpL9i4MpSa3aytlqC6ZLrFxw5lLfBLlgYpzMBZXPjx7U/qaCfGmsBgTYxn4U8SKwcIy3Jj0wp6P+PyiB824w9yJ25pXhj98/pfEB2unT1QxcwqAwVHofovXCmzWfCQY5yRVPeZtUvyzqGHZOw/369JpcxOAI/wsgwmmx/viitl9OeO2fNOCRY/Ly+zzDMoskS+92pRab+Wm5Kb77E9lHebozfJQwiOBYeOohE0dSsnMeVw5Vi7vd2r1TVQAaVsb9HUfyqBSYuIMSWd8MWpU0VpZe34LtikHcTI/yBaYMds482IwJoHBAg8hiIc3TFEAwqwSP5HkIz/hTef/2dekhnKiRz4ZsgDWKNJoct3a+0Dx5uRK+r7YKbcv/C78abOXPFNOyzRpAnri+YaA468E7yILLxdOztyivqBDGSQ8GEOH5BFQnDZhry5tE5zLXEcLzUIpSPIsDIrAIM7dmI1jwQVQpWuvKzA8pazbOdkIr3FP34p07HhdwHC+FHSMvntG8gnzKF0yawhq/rw6L1AVX+B1KJZ8XzJaiTl7f9lduKWqmsPobUIYZOJ7wSyg5/GJNkWdpA81hZJvWvpdDNGzYl1+k7xiK0IRHVFX+zhhgS7fTki4whhjMHyzjxMwSPUTaXHHk8yH4bShbSG48Zt4q/dwjgdiaGABOeAJSTAEQn4pDsgwzcTAW2yPkkBq5dyzTsws7RfC00J68EZ++orC31eR5jffOLyGmDoNTdgKuLU2sgAiaOCYdixWTFzT2/SQcgpl/x1AG9Jgl4N63pvdmTzrvIWk0T8BNkb/M0iXhxJsAAsVJTcxMu8KuicZzd0aDcnrq8zZyoLfiWOxnOqoXsbcRjN8m+mi5su2kO1XLNkS1p1ndN6yQDnarvQ4M8lmFqoqYolxP5HC7/Csrv7nMNmv3xF1JgORT7SUlpSxLjPwP1oPoR6s0Me8e4Hm88+G8vDR+yQ/EtEY3ko1nYa4qZflgf5UwCnw8pDCDqTFKl8bDklKWXT19CbuxrzmAtZHGruUd5F8hcrfEGtyVxV8Luk31fsrFfoy3EfEVb4fwB6g45JQ4HBY1YXC9PnqonoC+CLvHX/a/ixZrndPjsDeyBfja/oiz2dXIhnaXZdMyUWyiZw4xxaYs69sgkAHAFs9xYtsBiBucbBP6jex4LDIqK3B4hwKHaWCxz/xtCQlOU/3CXneJnNxmROw+Yn8KHq3bQ2SYsbblRd8/HLJSkidLkKsVSkmOz/8mRlzoxUEsFnMB9pEdffktEWHTqFq//ZFpUgYkDi35hvcKW+Ts3JEDTVUhLFBPuvyXeyNcVLovSwj3/TEog7RW1kXXR+XRUNzJ6GJa3WlNNex0Yzj/wteZ1wh5BoPGTz6v76XZfKiL8aOnhYX16LQx4VAUW2NkENPLUmAaf+syxhtl2r1obUbGEBXXTGlhxfPyiuBiKRicOzwjsxqPCcwoF1uckZpA0Oh1+Xx/6XIym/CawYMnUTcIvLPHiQz1bGI4AwObssaTo6wr2bezde8TtkqXaTK0s3aeim1hiINM8KQEMSUl8haPAjihqyNs2bh++0zaHPWoaWvJqEFfl5auct1c16B7xrcO4CL5sdX30fH64CN+LfeG384CbYl0Kt24WhrFy0BkHihm4qCyN4rOnHVUZp39Y6NWmCMYcUtYgz0/W6fSRBX/jxZWgnEAy5JbQZNbKdcOMQ6U6rO/oIkF/Cb2K0OrjaP3GsptNcCTlvmCX803N0BOaXJZE1GEwtXFtAUq5+AqNK8/HYcIZ3/VVoEGzETxd5rEVxkDBiHe3FTOo16vInNbYyRYFbbj+aX1ZVcFEmBfpilzxwc/VB1OsQ48kLOPLIpfC+Bd/NCkggAC8rUMS8jdGpUc0ffpveH6QfEJMshdnchCs+pXueymrOoJtzm1X3Gw79ifozIjQhuBfVngN5y/m8PvjqkTrVt6l+18+kjHOOlVxWlgJgiifUxQR0znBM54fxgoS8T2UosAvPN8UXD9dfHVgBdU75N9Kzb7vibtBvJi6S2zTSXCA2JflZlpAzdTjPU48RQkikLdDsi/XK/935QVFG+rjaK20AFqsNmnYizoVGByf9XxqorkxsRKYBMfuO8gHilT7O56wF9xxjRsNIAQCirL3KSFeOTq+muNIHwyfInmq21Hsofmy3eLFzI1ucuUbc9YJY6I92UcF6ktAFYrbfHWa3TehJWRM74XP0j8di/c59NSrnois0lKuHIZF4pE5cBA9qbxo6XsM7YysRiAMnokwpgvf5V8T3kA8/9ePo8vyHecg/hiG/FLEYu0IIDE03SLab3DPylg2SAxWL8E/N/D2M7hX01lhk2k5LtMTUaCPju3mpddPy1AU9HUrIyMZi7Vvo+YVRAB13EkI0ljL5JuQCFgoyEH8vvLVQWFDrTkYU5tB5M2Q2PMuET+l8vrpIviYnhXYMhRqO5dSU0MkanQbwZcaSg1rx6PyjFXq00u3GxnulGo0gMsu//LF6jftolkH1dzIRBELlMeSpOz9pgrOy5GafLeaHomn+CovxwIFBAWBP/pPDk49RCrr5IwhgdJsQTID+etZIAt2g1VQPc5ifCY1+4At+vITA2VnyckzC8J5YZ8/oKcT+ai93kdCIy4zPvC2xjKf51uP03w73ERr9xiWWsEmeDegrqyeOJjLqB9pjm+6iR8gJ0rmvQujFqAGOhQz+Q2WzO3aYDhO6FwZhY5pP3K0hsparyZBChgwapnbv6uCnD8r6EaP5DcOT+bCMrajQfJiAu20XcRTVcSC37w7r2ebQsKwezo7AMCD8nVjzzONdOxGPYO96ZxfnOTD8+Y/92idY1+YCYJe4piSAOK9kUwvpej3RI0GmjelhqSRg2+7ojroFsDPgiDFs1/t3hfqvs4PZlaKlpDY0jUTZGGIr0+reqv0Ao3nfjx5GbjgTWRFve0+N9c1h7edwInllnnMpVk7ctYWLQBFmorZGIQCY9i4WlcX5ovOJSzGXCZIodwSQ86fMNeAwy0Y2b/0mqYcNXlYK86pXpF2O+GNMq6010L/OSOGSqYflADR4xceYIoKnW9Lm96dmDL4KwCwnXm1bl8sjqnuAAJ9vGWtfZmohKb1rrvRAH1mGEuyRiZN4ZXgbM+MPrljg2xUrd74NgJOgP0nVM93mk6WHs4Pyv9QTysJLI9s5a+mGwAlgJnRR8vquvVYH5UWtC7GNjup87s2XN7AO7W4IQYkdahEzD1ozjLPvMdvP3ZyVSamwSuq1h2Np5uhBUq1QRz5SBOylL6UGOFwATRQkGgm+arx7UzHvTGToGANLk/5WdkLsN06DQl+P6zYy2AS/hBkH30FnsNim3RJtyUKJzL/OPdLG9xzj3GkbH2NvfH5I0KBtM+p/4hDiPpgg3opJba7RDY/Y3uUkkynl0taO/686nYsgwykMA6CG/tSF1SSI2RRD4b5jQjI45d/4ECC5N3+D7KsS6mqi/kfwskgTW4JBN9rBAoPYsxfRXiQEX3FBfBNLRB19Bb7t6WNoYAC8x1fudcl4PgVPiKIv9927t3wxq6snuHrh23f0N84yxqPcO9NbUb+0EWcPcA6FLJ5UTxIrGGaznFH3eTFNR32xnrz6cbKLQNu15MH0UC3aKWiMb6nBvg9tNBcn5Av+gB4aZ9ULz9V1A1CdHK+f6VYU6XYP8u1284YxHM3MuYOtln8hhbKt3yW4vuBnCe/zhwU1WiZhvU+foIGU98+tV9PP9oCStAVTKXc4ygdik0hYnPyiBU3G410cw5kPlVVv9xmyL6LUlzqM2fF0zoGztIIu+7yQRCl/KZMSIhy+JBdcJEopGBoRuVm2vNwHp+rPCvBzd/zFm6Qhzhx13eEm3n1mhPeAO2fLI/AW8wXtxS572i3v7zvHA0d1IJctutjkAP77UysExEBO6HVBqACVtzjBsgRDneQv/Sx4gmx+rPGy46LcOC++2E1QTVLLN6VsS4IOTgZeVJbqp3jAqasksOKD3e2jxO/eYXSuSY5utl+V7ZAaxb87o4bNcAFpii+TtiZPzmAS/+Qnndyttukdm3OjAiuAn1Wbc27o/UqxbN7OWKQN6OSO0Xu/By7E0Z/aDyu74FNmb4mDxwm0M6MdneZerPm3nyQASJG/AMpUkuqlb+tqO395AStXLYFuRFdRx8Lu6FNl9OEL9OjBeMnpSrEyAxcEHdx+DYgU9RWoKqXzuqcGkzEPcRt3nsY1yXfIf/rjwqTA2nQFrL59ZZIPhwXBL4A7B4ja4eNi/kOCgNPF/8bTNdxMucDyNPuXJNzDWcjQuJbc+7y7dyr8L5CqS3w10Gz7VuiF+WZndDOB1oOIr7IP8uYfAKcSUratbzztS51FBy/5f/K2vKLbl2ZB5CZC8OghzHXjY2aztbavACzr8SyzLDpmcQKDKcZkDxIuTWMeF7a/c0GQGWEp7h+uopCvK6kJn7IN2D6i+evUrnCeV7jp4Bk4X7Z+0hEn8n/YEwoiXVOvOH8BIK0Q6P72d3zDm5qjfJ8ryveMOG/KBH9aEfC0cLosNpH40nd5jTAijix0monUwK4QJ0MR3bplNpIeV/fxIMQAH2FTm1M7TxI0LQUQ5SL7m9QOTFPSeXbkM6svcDoL7ZMtrzBx8wCCSHVSICna9tLS00NFeVxOMnPAGMeRuwsADa7NzbIYiObKvbI5r/CrcovkiSH1WTEY89sj/zotRUVA6J2v12eilVwilVoaV/bi2fcAHxHEyuWr/OutLSuIp31IwS9ql+PCDbSWgVrLAeINmrq3UGaaFopwTh4NL+BYq4D0+wVXv4fwPeuPSPqiwgiwJRfi/8ugdcqWpkp6W860M5PYlYW2rDVjHxQcOUP8IDu7lrzNX9tzH78t8wAE0J3LzUpBXU3GUYK823UpMvJSsM3T11DqN/LhofQT/bPuGJPPCeoeHHmJon0ocGJtcAbFkmo+VUE3JEyWlMLsWkiUKEJvFl5776R8sdMa5MHUgIaEmoKMNrc/PPuuihHr9kp6JCV+Cy1LuMMWPsgm9fgZxWk0WRdtURb345T0i95vJOGX8ZcE1hAL81rfEBrrSH661PhrYpYI8MPW0Rc8WVgw+CwGioTzEU0q7T0ySV0GmCeBeheN2okqxH0myKTRqaUfzOJuUgvRMgxXV6paf2kGN46SOmobhRUv2dm6jy2trklmfPUocI97KsOuLIGglm2i+FVxlcFEzHHut330zkj6GByAFvyyvhUI4dgb1aLkLB94nL9kFm1uhTFCSJ5GwPNaifCoKtm38IYTMa55/O2SgdWe8tSqrrvU82ENA0UqAg2p7G+NBy67Q6L03qKZRTc4eM2STwcsD9jJeDA3hmhH5sClTukjIN8K/gXDOAr/6cBqlzSiQ7/3EW1cOrMFLSdwRZX2w/c93WT+nmlT0eg20Nl7D6WSlQ2e5H+62doisB1HDKEBfGhxjZXDrYTAAiFL3omozCjB2hl4X5/O3xuRqInBdH02K1ox3qCa9N4gqqcJe9sP3Azj5kQh5eu4zrKIqKs/dGH44y4CwkkTQzzI8VCgXYXTE7NyrvKXE7pyObc0bxV7YWrMB8HbbptBiktOG1vyNtb91SIMHtMGml/0sbyR6ouaSG2HlbQ7UpMs5U03dEfQOKO+RYvSssjg//dEKOx5kxlzmjK/+Pbmo+OBEBv5rVf1Qqa8LlVIrl56w7wD75T7rikMSShpqDhbkSr9/WXqmbJEZMhRTa3y9tbqQgOkhHTORsA6YXWk8PBgE+yGWHiF4H9RBARYj/fmfNzqJ1k8xS2bFQfYow1pCRkTxK+lDKXRUZWsKsZN6aa0FUXVd4AIPFpF59DE6lZRSBNHd35Zx2J77z6LWZwfpHg2r4N5kcwP8cGT8uquRlNGhplBP2/YCfiucwGW3nv3pCmXdaiNdrfnrEerkr8j5eSXTYXt0KSXYNMphPvf/xSVF5+2bQuOhXTBreIoGU+SE4KTJac6/NVvvqMya36KSPavyBqifN2x7YwbIfw2u1DSEhluPYA7h/U7gEjlFqIryl+/bL1DTxJGfT2gyzXMGN5ZyYSu4Zmf34su388axiB7o37i4z68PXGk9sZlWCVwkW1dHe4KzqcWVPkry8FLRymvYWbUUFRiW/7hlyKVe2e3QR9mZJH4gfdS+ALvbg2ZsycPCj55GCUwWB54KgJe/MjpmMWDhyIH4FM0hwTmxwQ6jYstTvyXWJ2IEzdo1mwsoUYVsEBJtUrHaDgOeBDMsFUgCpUIctkubAP3ySb7Rm9yQ8v8sZiNzTOqdvmvITbjQolt51SVGRHVSlOSre+qc2GftEN5NjsQoxgqO1NvGi4t/uzRQ+hcjSTJaxwMp4eGDfgm0zb3G+m9fbNnMyu25KA2CmOGrsRLmCWs6IXHNwqswtD2TlkmvWo4WIFcZ/yRmU5Dm5D0Wq3zAKnZ5tN53zeDHCmfVg5odR8H7Uesa8/Ez70PzwVGbnIb94a2jpNWfxBiUJg7EmJFxMFpbRBvHRtPldXFmZHFoPg+uv5adoXdiGWppqbIRX4ouZwEw/mUCuk/GH4Iw3Is02Jyobta8LHtHvkAirCg4lMIZ0BDZollf8PaPvR0GrevGgNPrgH1Oz8RBIrfPdQ9Dx2uww6iM8i4K9yoE2iDYqSAv2niBiggOgmHQvtfi4/eNFp1KDhnENvuBNCXTtOWeq44dzrDKYJKcb2lkO0AwMqyIJAvOITaZtazBCoJOlVPT59ginWj76gqgXDQE1kcEcSZGw0vX/x7BlQjC2ktL4n/e//7Bs3X9jg6mJhQF4CCjadZ886i830vnOwXABI24pjRSxepEQ3huEjR9Vj6vYGA1EJvWvlLtzMJnGun6/d9iUS3RdxbGJxUB29sZ4lokjJKkKX9lcXTYAoRx/mCtxzC446RQxfUgeYINTW7gSWMukZ2E7oL8UpIj2t78eiKAnqjXe2Nn+P1J1SzBgzdbDXEl//QmZhjcW0jygCu25tsCczcvoSFl1lFN+pCqcPvbJZl90zHvpBMGjVijX/PV6PDT5d23H7J7SAx/aocexHZeyJmk6e6aMd+DNjPo250AksrVk0x7T9cJtTDKZsb0ZnqW7kTO5Bv7GSAJ9g3ia28/5c1F9vCNB3cTOXE4lLoYIQjxoXr9NVoFpml/S5DFQ9uMdtfi2zKUoB0A5wVF95/d6UdXjfFXEugJgCG8tHTePJXXSXRUll8pb8FP5ai1Q9gHfJSkeKE6rbwUOTfc+krmWHmWSJLzY5a5HlYTQpsZeH9iK7WGAjeoW9q2q9d8VJfIfvLTHGt03efvdzucy/bFWhZnZ0vlCBa6HhuDfzLdAN1EsBeZcJodvVAnlZf7hmOz2s8iske8GGD9epNrHoZN7IkKeP5UTk1pymJSeLc3rKl1/BOyXheYCQRJsdkWs6aQNLCf6H75yGeBDfDXc5HziebytzMZe6y3yOsNAMU2gRv6doyZhuRul4oZGHTKFXZKpbUYzakIZdVQAL948Z7aUqm8geAV0KioG7oQ0eHx3orHEp1vZhYO2Hl2ErgUKjdF973CpvWpZlYDvxjwrWKuuBQTDa23L9c4iyFxu0S23ER9E1W03JJEv9C2dQwTY6fCE4dbuTmhiVhxG3T9O0CE47XHUEaChgTRfm3xgFnSQfOghiGhlodITzEnMz0xwzIpiXMRYhHyBMl3ckzSxLLGq6mdV22QaU5up2HxObHqlhYYfaKp3R+OT1JgMfcTI7CnfKUt7ezVCiuET6Af7IsUIL33ppKmTdyyGWeZP/9njLVvdFyVK3xTNDz/11RBUfA3kEFSQp6ap38A6+r/JOBXHcbwZzqigpZhUdxoOsfhMSv8VJx23igajvtbWShHS3IO3xtOHUureH0NDfkrbQ+fJ8v8loV1zDWlAziC9GTgU1GwUCG7i+pBp5AeqmabbH722VTXm7YczJsZmnYhhuZZi8VwqbwJhzj0eSvtkaJlcM4bWgGH5EF7AGoD1Y1qM/xrWI5tn9YpKkcpxxg/F1U69O8VvqEYec6e+t3NjGR7I5WPTzKc4ZiygIE+VtCiQh/Oa9xSHeHNrWhe/bupxxcTlV0pw7nCv+y50wnvoF7ps3MJoPRmNSlPwLDJT5wi9z4Y+j0Sz/f+pCyDJUgmkOvldehPt8aZH6wD6uFsfdSDSxdCVSEEL+cdPBCh+SNuGzz2Yp2xDH3X5QzWCGwkLBzoh71ibOkE93keiE5WUP35K1D0rkCIOde3752GIzkSU20b3froW3OchFzF4+uQ+R+DppOthC34y93UUdhGLnwbk6QLtaKpwPpnSUIIpAY2ZJbVCIQKhWlTi4wrFdMOFdHyFKqDxPAZD+xcJt12+f9l+CwR931AD19OsD2hpY4FVmv8SuVn7oIMF6k3T2vLkFM3taxDne6idsfUViA1jSPAt1gH8jQLbGEnht06ZzAqi1SJLT/SJNkmgg3b5VnS7WFs2mLBUtvJNNKNYX9c53mHl211nnwChgXIRYd1mZ6vDfcpQGK2Z5XjbAsh2oI7q3uOKEROBlXM2SMrbzkFcYPuJWkyYTN0S9CyrLSpd4o2b/6NrYP7J11moKcOj3KBNX5wbyDWuIUqspx2LG6SSdLXQPi1ox3HsVkTiKtxK7gkqmxGWU8P7mvM36HaEbE6Paq9UgmSXLJWGWn6xENS4ggJn5gAHKLspDooyIYrSHwL1TiekLb/AuJSwK76H5u0ThBtIF4TFZf3bo7orHxG7NkQapQ6LNvym3oLdaStN3t8ISjVkUUl54E3FLi7ta/ihA5tty5f8Sfs41q01sEogLkuhg1KG0xnsInTb06GtraPmldkq+hbjr67TnPsuWrJmzS+JQEpd+LiIjHBfd6FWoMvmZ64paIu48xGUfyCXgbuspeHflp+dh0JjfWLNDivaSn4vCff24CFIpVyEBGjckPTOd7/dTnDXZLDNKluZrsyvFYugndLWt4UR76+xjupEE+pMtkby49wqhiBjvytV49lL13zOinMPZntNx99hALtf/R+UTMlVBc0blsdiOHorYERy9c9WTw+JfSx+a9bKDqVq/ZFKDK4m0B2gmdlBusduoGj4rpU6ceACl3LWIpRFjelGeIWCbFjVTnOtTfjgSR5fqEOu0cbW7+zBoF1gkqJEc7d+M9kZH/yAB9qWea6Zo3gAsvlwPSbShzKQSbGV+DkgTjlLz4Nn7xuIVMd1s6pVZogg3mQHmnnuk6TdjPGV/Pq2Jmy9hzljEd114TdTEL1N6jpRz+sic9iC6RFLqNNLKjgDaqIEht6k+BlLPg65DwlCJvbc3Bm222mGrAMujOXM0o4YFTgr1wFyh4TxXrDEI5vT5rn/L3O3AVZ81iLjt1moxgdHKf6KXItfARKndqEHtK/YXPNJtti39Na005Q4e0W+KuYQ4pphSnJBvoI7ELWiySs7wuTdn7qWikoQnh4+/VipsINfQiuzczqOA8FKoQU3Ge/EkGk2Oqlwv6GnBILlvTaa2NJThzxithe/CMbd3X9Ce/O4C7FzEiMya9BMo0z9kOvPKNRB5/59omSEwn0gUZeYHigvWXX2BVYvGHDT91E/FaXNBB47DwvJInkZno4/K2qxb0kbjezkrxadgltAbNE0g9RBR3Iq16rbP5CpAdypsaxMz1+I5kDKhnryKnUa478bQdzq9J8aU4uWFj+3WCXm/73nZ1/9wRu6Rco92cD82Gh3fRpWhFUHC6xacDJgI/gTDcmRczNJ/6qcFfD7dfKg6eEtn3MXKA6BPMV4sQU3oR5mL9C2egJw5LMuESl+HAP81GG4MGXrH83tM2Q3M5pFCpEqhRGrAVcfb595SA+aHO7yDeNaGAIxJko8bWVC9iZTbvUtGcOn67FYsiOB4c+Pn0YxHxg0K5Vna5N7ySkstZbj9bgU57gAacDhKrp4gCF70lDQ8C4x6SE2Pn568RoQsXuA96xfgk5cMNKgt7EuJb7eRUcsRNOHZBEhCy/jNFwKkpcvKrQLt+TO5mwidcPTsyvYvy+8fCNaeaclgWhtCYuOnt9UOvbdGk3Vf+SBL5BsvMTC5Rw4i9NKu7OZk56bG7gXvZGeGsVpJwfwl3AoVQnndiF20lDMfdmt/RQc2/54p8R94hbh8ViXcs01zfwbcq8zqGfw/BTpKbf1n1qk3/8keQLKvWZ7DBDRRMt+QQ2vv5/heHCx8Wr8BBNcUD8NYXpuDVEefD5yc1BsVilBtSmetlrA5NNoL3s6DBJUkVQI1lmAH+h6wxFV+2EuJpfW2m5Y/O0meJ9AJrYdBfndjzgj01QOS1d7yhBOKA1xpKqyWfjV+HWcMn24QxNw7xsNz7jZJ/ngKnHOrZ8BW1vXP0jc2Cu+PBtTKgHfEpinPkvzASOMSiFx0ISyEIo6SqO7dC5zBxFSAvbBVwNRcBya7tVXQB8dOksRau9Oi5Ab6mFjUu921V0Lo/DMPHwUsLLDwIumLYLUD8WGcMDL0XPhNFpZvJuM5odJo2iBPIl7/Get3io7IWVpvlA3sQlYC0WSLvMMEZcqaM2aF2Z0H8jC3aZsgmHDX5ASYpUwDnyFRUJQkKsb1Qa0UOtZahikrT09L1lqYx/Z7RfFTqYo+8TrUl02R3jc6QUPp+ihYGCFiM3N7KqvYdRIT2d0cs/Gz+PjeZEHfKipCbq2TtyyJVzn95IYsZXkZkmWNajE1f4JVphVYkYqMWRSqu2cHjitIozDgZxCkba0nldZJXpWgDuu8wnuT+GOCiH45oxyl1H8he2uR69Ny0BVhXIqEsdlVyoo3ktPiSJCZ2y3Y8RjWnO9ra+QyvZGqTnvnP+9MXmPL15R5juZYdvZzNLjUmXEOV13TpVoQqKniQDqZ4SSqzQ4atZExsp6v+PJjJY3A9Tt8iSLSlf69VhKIZgH7Vn6tSNQXz1Kp2DFce7tclxFuzTazQTDcycX11TVGHp8s3DbvHUXnFPxalu2UVgzuiTY1aYP2eUuimKICwlW3b47OowqSOphpioooxlUpVsnwP0eyptYzLsA6DlF9qrYL54vCKQA40a8hRBjCdILn8buNyxlQdcy5vwkfHsmlLtrHCQH0f2UGMVMlZPiRwIHcuyB/OUCLukySX4b/ljf0nwG0oG0OQQRQyz3pLTPheMGaPQlk4bCwAA/zuXGQDySvUkF/q95wL/SPhQWaRX31DJeKP2zqp3JC2CQ1Y4QrEu0hCiCGgB08qj1lfjHoh554uGg2s18fp9Nt+0p+4E2H7w91qt0VQbxxvMMCS1qll4gQ26q1OYZyFyQCDWpzCWzjDml7OX1LlFp26h/Llpf8zKh9VvXAwMd5fp489R18Aa/GdtuOD11uOdpO2Bo8VecyNkbl47d+waYq8UINzI5R1oMQUkrln7MbihiOc+Dn0sG1ZTWzB6f6yBu0GuKMsc7XcVBaCNwMhOXBAolLfN040dGNYlC9U4hIOlm9Zd5Pa4rzLJChxHS2717l58HuzYBBC4ae5SaqVpaR0pgY20Tzt0sicKWnZQ2Asd/G4iE/aPf4DgzsdnY/eyX6fO37kO+LCHjk2kUK3DD4OTx5t50iW4YL9DIwvQKBQitVx8DRlZr+n+TltFcpIZsIFchLW6awKrzr8Rzvi8KLHEpveYRtbP+Ft63EMIx2NACC6mxHiSpXnRIgn/tt3nJvpK8a9RiQqL6GFEtddyhi5X/2ZDlKd/UxgWot6PtRzbXJFw034BAGzJa3DT5JHojGQNy8qZSosJznDjuFd+L7l67HxOCnIczbCQqEhr1DdjqZJrjSzju1oItuiuOB3kz+JPCmP6+PDurEtVEYgHeptAPSJV43jL2cigcp2X3g6yzvK2rfNYAXswufb39Oe4toQ0XOp8m4dPLLhQB6o1ySo/wuMuktvDU4b+fLxXOp3nTvAB2E64/nUvGt8Q4e/V8E/UkBT3ascrruYNZS4i6riyHjjmIuU4gyUb4nwZR1P3SlRIgr5Z5zuZb19UvW5qtXdM08YOHFw8pzjMmAGGk7uIgLZ0EjbHCbQLRBsn8qjIHD8ayjByO1CrSkWWimV191GMP4C/TIoo8oX+DPb4+qGTZ9qrbDvwS0jLOzjUISFarKLSB26v0fjm28mt5ObhjkJrMVHEmYNR6Baxwxnt7q1iVdBJG+sCfig0L2WWPsFre7Wq7tRuRRKkdQGqFSzLe/So99Jln9OlVoY0npFbIlVbiRVdp31x9DJ73oOvUzcleNREC/oNU5tnSVtuiPbs2EcJZcBdjk6+gimhb3rUlZ9x7OnZqC616xyclPsxAQA7Faed67r9MGavDPfxIz7BuJMqMAxT/igvvOJvnkcRS/2EDPFxtjB1ihYPtzUvWeYFNNkSRwBagUkQB358Rd/T4dXxEjjJI91ZVGnamFHNtagyb63S3zqRdt3Y+u8l9BdppDcDfMj6wnY9FRZzRqynYnQlXLvziK/uzU480uSeE07wfTmZ21P7AL1s8/kyxWRALJPMVHXyzwMd1VQyzWh4VYgnUFuJkyB9yyOG9+4jcVjUNhzBlBqeNSswjLZzwro2kWzeNyDvlqqoZ3ivs5mi+CekZhY8Eg/Qq8W18qGZLBypmautmaQOQSRZSdGhpsMQJg0jOOuo2uhXRrZ+7izcW4jPxnXVtUlH1pRrKQf97jrcR+5C0KAtaOolodw48fGv24VcsjG+BNmY8fxvPgJUGCnEjF/tzpfFI1u9wdlzFROTjjpDzHpdC6AwAz/q0uQkADlxKVcFjrCsxkD8VFtzmgJGQQZYR6IljcagyRG2jB8dcrs3sxX7t5N8P/apa9JGLdRDE0e483pFFXsuae5s3jXB9k0lZE9lZ3qSmx0BTJo1SU9ZbdfUTyQobg624rE3sP0tXN1gp30oID/pQgnDuRWbnbhNMOpt0o1jjrPIq7+oNIfq7jyUwY0MTgXtPZ9c6m11k0NN4p84Qfa6VqEStVBK5rmERf8D1lYFsFXUgHbvR1m2x4oX8MwKWmY0AqPaF6cEcVK+x8Z2FeSIONZ/iImdy87qZ1O4x7V77NsrOtUiqchbHC+bVCfF579lP3vh8SXArsqaasgbjpL25N7+5QEHpRsRfijK4k3993fv/95GEBhdd695Ke9/siHuFOYqaP1OQDKSEw4WO8kk2Bu6PSTV6P8bGjLOiFMCaGZwbt9S+BkQ677PHHqu4grXdfGgleySwr0o2iaSQn+WXEUBIIF7D17YHiE73iG6e2SYmqA69Az+CMQEFNw/7chXmL/X79aWm+Do7vKS3vHk8Dlz7ljHrrm6v28gBU/Wh9LMP/mn1GwU5IhHZXCxYOPgXmQiYX3VhbW1kd8icY1RTLl5GkWnnJg+MpBFN7SR72fzgWwLDkR4niwfthJOs7MCWoiFmFCsXcU2gDEdmRZCJQTIIXT9sWs7NeE6iCPjngiPALEDfqMsOedZmVcixaO/qfexkgpE1ZkGnCtAGkaBMC5l+Fq5vZb95BCOEDmg7FJJRTmkyXepqoQhvYFNYX1DdtKGITiDlVMjBDa2tLMh2FjtIuLA65YWE/UF7S/Zvg00CFEPAIRvPQYNiYjdJqSH1v2fJ4E/S8XTFFK3ijsEBGcrpaBEIN/JIVNKWB6ZP2XOf+kybKSMEmFKwUahp3GBGMFWAcU6AAKHJxYYDTxeyQnmHWfhswF8oRAfsLvw8/QSiIg6J0MG0RB7ewzHYosX+K+qjRQV+WIbvOgXopr3EwyuiKZsjYCRtmlmsuigpLJEx/HFhrY2+noczkcmzCJWcLUrs7kAUnde/haBNIORJ+CN7XC7sip3blBE2Aq9RWTEO2evKy0leqH//UibCDiEH+e1533xqvgx8Hs4dIboDGFPFlY+p0esr3VmiK3l8E8zwMseEX+/FZHEZQ38RhWp8b0Wx2XZVZCuCMQAmlx+nQ8elghmFQ6A/Y34YGVlPRQd1N1uuLDu5O/qCoAiMZDUvtH2pg8H5tECSKEpVWAtHXD6yW2BPsKymG24gLWflBGLtXDbLzAjBGPSJpKEuupGKSii0gZDvT/CvoJu03uSet3Tj5tBDbSGmxEw3QTnEYFhHmFDVfqfvp7LbvMEX1WlGVEsWcWHVN7R6H8hkkTFjwe+GjXyUFQvQBFHRPESp2Y8G6RYSb2xCv3O4Q3zJ1NDbyHGQEbF+HZbqylmc9Hx2V8tUimVVw3FzvEdTeMqvlL5YozS0uBn+qAP0U3TS5vCyU1aKQ0e/ZTf0yvjAUn6lz/z8iLkcLjAiLtwQVXYWHmOvAelHWITUWZc8kujR5HziZiSTeKl0FxObOm4pHfwpYgWMhpJn5tJ+2OTekoYlyr89lhCElpvoRmcFlAxez+Ds/CGmB9kxpy1EeJ/6PmW9Asi3Mjsficg5Rr+0rSzVHDLX3I0GQDJKTaIUfE7aFfOC4DJNSUzlretEr4OWq/6/QMfp2h7oKlup1GV7bs/3Eok6By3SxajR+HDqvZ8pG20yG9cix4KSrv1/L0R7rdY9SjU22L+tDws0Tz/XPkhMch7NdMqUR4g9KnLIcxJwizF84A3t10WieAEddToDB7ZTRTBeTfLX3U5Fr/MgWXmyMJZesTt0jGuQgwRcpsQYEVfiO6svl+xjZqcuQgOuVdaVwe1PTELWy6wxdhDvBq4nkEGeAvbqrNp+o19Lslgk7DexqnwcUi4JKs50Xy3CHYQqTiDKPQt33fXWiDeCKJQv74I5a796LgpyJqT9zefsEZWQuBGVnNUGea7NMeX4CbQcSPV8CZG9/efDBmTQt1NErA7rLwN1lh/o3b/6oUQ6YytgzuaAnExZePFQBec4hGmhULFsnZmUhk1DDIEOvQFvtIWpwmI9wQCCd4b0tM0b5l1HfYnIvFnbe097pq29+GN0RPACVIJEW3YhVwWMz0JQcDaEnR0jvtr4K6lW2RpUGSMuZkQkwInA7teAiKI3tcegRO0Om4Kz6GScRwcmKzC5lRnPQE/TfQmcBQ1Zwa1wyoRz52R66S9WjedfoeDw372GVradB2tTwKvpNjx8EeywG9OTRsIEjmULe1nRFA3U8VYZQQF+cksii03wwg69rPETj56SedIgz2gHF/Hry1BT4i0826yRJYV5n+bWv6f6seJlK/VDWetUWN2KwMz9WFvdxoa1XxLN+E1djZzZBm1g+5YWmG8mHYbTrPnHauFZyH3bImygNuffplhNC38T+dUfr/h9mEY3HB5SNUOXDImqPTivXXiGxpimvnynTqeFaIPZA9P2FIej9AsKbufhngPIsJmr9a0ahxCK3Etkv1/mCM7teHE8426SeQ9F0phx4UcLW+M8kr3CIgn9t8cKhcuEORXl0wk5sUcKg4EXziWcNGnsZOtuxibTuqRa2SgDuWQuN2vWu9Z+qm3wCD4lhgcvRbSroGXBPkDPH2hgLaA/w2pS1ndOEdkjN1wBo6Nh4RWSdJsIcNz8m06AlDyddNWKd+D+JxRIrXusW6z3lHxL0D/f5aiD25kk3tmfw8CpgRkets61UFDCCcBxZmbQde0boK8dVI6ACZTk22RcraocNDWxiVxMk1piiICdeDWSGXPkxryJnfBeQsDcnaMFFCypK5s0mkJNnVMNPo2odKJqgoeLgf1zgax/LVEN5p18vF4/17l+EY/QmK4H5NP91Jztqbt22S3CtDw2KiSN/IpDFcKDGnjT+Z5eyP7frG1sHkw4rxAM7zqFYmH+Vez84Eo5M7iVWCnzfxnjApclKt5RZD66/9+CQG6w8XQjvXsBfHP9iHYLWXAACdXDWy8y4osGIHl/a8xKeOqVFPq/w4/DTgJagITduq3y6iuAsYwxgXp/8EE+bmxT0I5ac3HIy7L7iOgQdkNPNGlqQuCdu3RE0ME06Qhi1mEOAlE0DeuI/PWl5s+JcCbWJThZX04fz8ZYuK52jN8doqKYWiBPkTV33iAIGftvnjFb3tXj1d+Te0fa16ZO7SXT5FX/Xh4+ySPjPOb7ykAXbs5JBeoj3RpgpOqoE7IdLXedh76Eau2cV/XssCmwZPkGNuWipf1INc17y3WQS4yC8HD+tB1Gf5WHGojVBiwpxkmLVU1eIlKLxY6caPcY7o1K/i3Q/bPQAIevlmHX5+klp5hedhvGbHgUQrmks0c9H6kMg2k+4tgGdIQIFZtmIi1cWyHTyrCcA4Ar1mjMzmVcg8DqOlLCcddHjT/44w3R1vzsZcxuRr8hfuuz1iq2Q+mww1bZLdOATf9TuvVjWX3yQwsY90W6Z8upGMXU8MC+DM5BqUGfCtCEOQ/ljpKGDx04RCo+XuQ66O8LUJQRYFefV26Sc1pm/WPBqWIg1bpUgoG3ZTnhztX21+Q4BAzsg69QRnI9zQ7ycCS+yJkLitij8+BRNdifBz8tnhjlCNeJs7mar7ryhzYYTnuSLdFg4YCJXOtpuaBJYQcqvNw9umPhf74yhYqL8c3KlFVwEybPqg9zSAy5A4nF0FtzwlPUGNyoILOktQxLnBbOJ/+i4XgkmttIt2LmMj1/ZiTnR6GLRsDY1uP9LPhvRdYox/59wTtxNWC7xcAgbsLGQaf0s7/i3CDsNl+nV5mEqnrKWG1xPUucn0saMj/yE+EJsEiliKKviGvunpCDo85riOGwcFVnGPmjHl2TiOdNetiZPi9vNSLwMAi+0Gx92FumoArnxuBZwNCNs5LCzQALZOJXVMf+6sxl9UtX7F29c81nGIUDcFmtR7tAqDztgx6udcR0Dee123nb5EcVEwvfYGVqkjoCPq+7lPzMYUskjVgwlK0P063kfO0hRxaHL586vw9PsfKpCjxEorMU9uIdx5AQ+jjETWPZ+ZPC6D7CwB6hX3zVjQ1M8nHwTH1dUVXhiZy+d7hywL05R8SxfIHEpoEr3O9q+Qal7t60mFg7KyIZV+Xr28jd9ijKtL5FCU8k9uQKO+tRTlpIf8WmZlfinFpNzMCFHCfqmd29SvoCQ6uGXn8wnfrXjsV/4DD296ss1x0h9Qt6NZ/B0xTQUwGQzV+FBMJB2xdY2JZfpUGWlZhSDSgeDhOekR5IKZNTcuZ+AauiBWzuHcFPyqeItHxVqXAIzlNZ+VK31pitmCwyASKjfH/UXJ5dwuwAmRdu988d2rn6QwegRUsK/cVgU0jPLlVw1sZrD9mIMx/bYaygExXXSUD84PAjG11Z9JhNdxK8X/aK8d13XH9Q4tMab81VPF3DJo1GwHxfsuEwVWYMFHrq4mghg36koPMDw0nws9KO+UiM/Ow5d2PMrNcsE0lzeUA6QsLs0cEzf2SEjbhhRQ/kBq4VmtqJb1C+5o8Z2OiPIiMRxS2xSp8D8Byh4HruFS4IG3U4g5SX8g9M2cDpc7qM5kpuvAVw+QohFLAYwRv22evF6vpsKlNq16aN7W+ihvWDhhd1J9EUreW7thj5D3LYYAY6nuC0/jiOs7agSRB3c8Q7KV3c10DMgR4N6TdXEBL1n2/YkeW5JahmqJ4rYmmZQjm+ApS9aBvfPKIuw5U0k1iq65f0DzUpTkAJ/KAY+9IG+IlnJdK0BNMR9tgMUuwhhmPtPa/Js78XaE1yha0R6MpoKo8B5TZ2IRSKVI1lWyloInEPGtzYW1KKF/oVDh4z5hTmn73GyOW16WcBRfoy53AW04TuXDjG/2+p0IxoGnEPAxymtiD3oyYB7lpcQc3FvRP/NDsSjqzHQ0imXJYDv0IFIPYX12QniCisRE3ebFG9l9v1+ddAIa4FkuASK6UQVaUuGpK+VwlOEuB8lhy7ACn5ijGiz9MxeZhgWvf+lmuAxCc9b46iPA0Dgq0CTBFKwI9XSFtCQx6rG9NQ2e6nnvhwkuTJPWwDF4QjYLNLdk0TW2l6SxsVt0YPyZYz4Ck4FLHvlMqq2imEH2LsnUoXjCpsGl8c76UrcYBwRbb5F1iyejCDDlBFoWMnRc5yBay5lZpM68D7dY+/76TKBuzkdV+U7yZoyxS526Ca75N9fW4E9EVNOGvndgohRevSfePuIvKpkBm9c6ObA6BqwF7BOcKcRiyDK14ZNNpb16dw61riEAeExLkzXYiW/vAGdGxGjbRfXcXlNzmEVDVc/KjqAymYeoaLDHF2mktUfUDcGZyjC/MD3mFwjSJ40KBCiC0b5lwN0oepM9D5iX0Nb5HQ9sKAyNiwY1HLWSbqaNbfVZp662tZwL/n15bJn3odyb053WSdAn1YVs41sf4VRGxl0Y0E95j3egsgdEaTRKt5vGgRgS3EQU26Tp9sQUpzFCl1sstv3LxTUpGo+VxntNDj+5FYPWso/oG8Lg3YQAsS/d8cXWoEaPzGbCjBPD09SoxmL04zXUq/3WsM/UKsIoNUTS/AUBi6PuxZIPHaR4qrKgACuj1VQbi5F4JN0TNjsjEAK/lU9KRh84uSEOfnqR3lGasc6xp3fPqcOeTnjZKoSLSS7y12g2++fcOnoC+kuMiP+vP24nbGKhk18UPOZH30mjhVhwQ/frWcadDGUqLBCn8v8CDnONgOEgpHiP/PjLiL7Yps1ai4wFtqNK1GmYhWIRUhlTHnmdWl8+6DK/N7X0b/v9HbyL6i3tbgC7afrI/3hbUdrDrnlcXz3A9aM+hMtQuspK+X9F96fDJg5aVO3coVFSn69tkqwby2OcER4wCHhD8/or/BRsK5CvwrP2h2QwXW544cEhE2H4s6q5kEAReQ5XWrA0Dx/S+eG0BGHz/1xh8q4iJhntkvYhAeon3QWp4J4eppP7wZScapHl8VwvrrwLCGSGeSYJQRlBUPRuBd4ONBe3EoxdsvWrYncinOH5jfDy+TafDoSbE3NKwnFYT5Abs2SFDBKVcUozAmktAXM4YAK3hs8ZRGh7ZrHFZiSJLpYDVkY/FxRzHlmrBF/55+m3Aw6ciYO9uLNGqCOXbzD7BFO4usHtYaheI2Bk5c/mmtKoL/bYlOyEo5Uvz9850L+2RK+p6fvumr6FFSkNxmZFd19nsJ8BPQ3gniBl1L0gGROM1WfrGbg1Ma1JxlHVRJ6d+4PiOvG6D/wK5nV0UX3hak2HOLu7Ww8nDeSqFYHEQRfbL8ZXkX2zq0g1hfPXXSMro3I7xyXxw9QbukgoBou5dT4DGsonRxYVZM6ZeWaYS3uNl50Ck3uJ7oXTm/AAphMGTD9grik+wA5hhfCSAyIphu51Msk0Rbq7c69gwCd7PsPRwnwt4x4uqsB3elqOf3HXpOd0Kyn1ngAu8VbgUDpyzltEWaJ88Phv8DyKdp/Uup4u1G42P3mab0f58u6UEz/mm4C3CLxhGb1EQ0BRSET4DYIGTs+h3O1aPixpj2QGNI+AeT8by484I/sg/QMomUxYWEn3tsi4aihV/jb/7wTa4KUMu8sbwcGypyZsqJIaKdNs6OZABVQiD/nWp+R9lg8/gAnRg2OnoslxiFRKOAzeCaNdd9NXttSYHQN0QMZOoe1jnHgJnPw9vOwWfXDL+zi+5Ya03FwPmtI9Te8COyS0OkqLOCZn8OtkGPFxI5YgsKjGNdmR9f5+72IadWbJHkJzZORJHEeD3Ej20gscitnqFdkiHMDgKunFeFQ5F57oMofeVF/1l+K6j7VipfxcH6+ouCwtTjh7nhoQBFfb8RVJHrfhb/Y3s6mGLi9teRUKFwN52grw6XSVthFP7AvJmKFzKhkSrQnbOMP3MuR2LEcfSAzKdjCJJBHC2SvGqRyilSdgcTE4MyXxeKVVlyFCj+vjDE5OtMZdMp2y5WdQMHU0LszrI8A29/W1V5v0pcxfQ0yRDlkTTPkKBYiZLCY5OjyaGjTE4XkLHfHsOOOLQYXcI/mxYo4zt0Hzu7O5uRaSpGra9l62I8eautI5XPa8U23g+4fplo2GNxDl0QsvJLvA0KewXQKevbVi2S3Tcuk8IaI3PtBNKmKzn/PIUqAZDWVZ70CnkMBTBRzBnbMbp56rYVQqOd1UQ1qOrEE/MftH6ggkc/m83n9q9Q8tvLc3T/M8DXV4mxe++XxaM15Uq/6VTQoNSco3doKtrXp7iHoAaSJOYpw9Eso7BQrOOIG2CcY0qTw/lyXAixdz8OpUg2v/9aSJ5mX2bBkhxva0EXeA8bQq1ATJGspNOjWezJMqqyAR6fxSv92L8MnzDfDdQEWxLqCaXV4ybrRV8GahcsAejPNAXeK6aHUnfL8Mdv+dlUqVn8a3TaicbvJZNwDH0MRsRJRK6PVoSrDDPRy58EqodyM/Wnay2S4mLDpkMqF+5dCU2XTmZCnSzKA2bolE1uG93KCFnGF4hfegzXkKAcW+P6pFahS/LP1QVz0zeuC0+xB/nvSXU6Kc5xXgmG14dLbYQOdVdwI/OIW7gexHvzBOIJgP5dIhOkAMfoxW/bVXFqHn72jfqNRE71L3ODVZXs5ZRXz9w9bTGsdgiZKr3q3KOa1Q3PjrWJCMQRqWYQxdizq4ij06IfuuT4DzyB482NvQRxGJATRUtGcyYC3tF2YqujOmE2ZN9Z03ELTyLlOxavccxyKnlwHABZj8aqx3PzCauVOiTz2q7KL7pZSVvRSF0UBeH/Jo62tcTryKFYj70e0wD7j1B/7oP596OsHM0ZJ/PmhKK0Gtx2xrITpTgf9tZ9rruY6sQ3RhAoe5TDJRuypRRfd6DLGHBmqMthKY9sgN442pBzO3FVNN0AHkVLCFxE8RZNRqYfo1NNbfkKRVeJOWhqUZ9I3ynPfDmvAgqRr2dQaNS3c8xYv5wD5wNrNqW7ZzyTNWY/WLBnx6kK5Zgi92akc1dJu3MplFWn4mP37M9nm5srAEsXwfeEVFa/qGx94TeVSZLyatjzgqEbMjzw4uYFGVOnevI2B/c4NCCK35HYd2cmTAj4zByqREO8tFEasBHVGJWJOoDJhF/iGLw0NyU8vz0O7KryK5ni49q0Ao/4pm6Ln2AjiJqRZulqxQdYh27giNrvGXxeVrB/T2g7MYWLqc+xvcil8Z+yMTIDCuO6WBqGy5OfqwSUoaYmfa+yJPLD5zEqZ41uqNiJleFiXZPaPWRwSqxwgvXbhC/U91/9AE9Uw5DeM/pQyrEcycuNSLzNzdBSa4IJCf4YDnttMPk3vRu7EM42U3Rv1AAp733Td5AtTxOiYo52vb/FmE5gPDbkNBFMAUW2CdmjkKHBWfRG7DAJBQfB9kJQISfsH2N427Kvh5xNjaeAl4C3RmwTrmaJ1s4hVIJ258vvDxB+y0J5TCuUvHhNyRwkoCrUenXsU8+2WCWEguJpicrXrFBiAsMSpMMIUoAhmcl/uuGITiQu/wjZlZXDK0gOg4cKuu48Ar8FfD9GZAmMBQAwLg9EnV3lG3r5zNkyhz1p6Wvun1ZOKKoyzSVytCZnSeebBJdE3/8UyZabEXgXV1TXcunbCzsS8b4f+YuEZ/m70ugRXs5Y6hC/p2caFWcP78VxjdfrzU38t2wtY5yrd9/WcK0W1VwNl2lD9cPPLQqaqlPWCRzJpuUWMbchTiqg2j0sVvEcLjWRAebF/1WK6oOyVgm7BwERs2awHrlUGSiDvXnFaZTu7pq24bRMI2Co40oYml35P059nHqZN/jAn6G/bN35pBevFEsoO1lByhMYfOHs7en8msdlED7nEv54PUM2MXnYJmVyHMy54U/p0rJpS99IEpy6H6LP35b4H23q3P+mMH+KsHG/u7DlwsoVMe0r67fwe/ACRfDSfZ52/yGHw+yRt9E9opgvwVSS44JvYimoV9CQMzIimvgfc/0Nm5cVEFRXNlfJoXpewIQibOF55ifV2TUkpLfQ1l6onl9w44v7nrIhgDcoRWpvTQA2ciggy0sLkQu4koTl5+DTKSoGC6jTQb9fEkXC3mRK6JTl3nVZ9iLFtMH0Mx6BYnIHuHn9Traa4yLwip1WgJwoIBQChxHLGzdm73rEgyZRjlUTGV3tfwdGYYe08fDaRRIuY8kHLDv0P3KrGeC8Utqoa2MwCPABobPhdfTBA6ZPwC3KAQYKxd74LlH5UGGwunpWo3mDhxWvJNJzR/jVX5/q8yYF3zjHohL0v5N2PpwAI1bLaYmgeEP71pYJaU3mozuFUe8YihLUCHOp18uQhu1rw8kCoXymiWBbTxreCHnf6jurFldo9nDmPPc9qlVmqjbmsOjYrsVrnKfH7sbQWeCuSlmEuJe6ZKZbH5bad+G2U12xZeIUWRlnDe7eKcONhvbXQX8pblKDSf0xH5gyqhS2/5SoBYr1UN5ACAJcP5VWHgvv9Wgk7sGzg1RIBVNX1q3bScugHm0nY+J6u2BKoZoBnekLjUJkCEtEZ4sbT6AJ84+Ofct/uGc1HavIimx+T4bhG/SqWo8DZeHbMexi9J7mAp8GpXFGjkV8Mk6bFc9TJxB1V6pDLNYygzLkgHx/tgzktO6pSbQ+iRIF0n+rz1hDSiQaCrv0oSaQSW0SzfySgS2hcceOfI5ccSdae1QN9hYSyDnAZj7PYppqCUdyBW3GmtF5jT/h+3Wc/6X25ksVde4lA3AgelVh/j0rS3L6H+NauBM5vk4MsnTlj1CgUWmlyXruRo4zAWL1cJAwELqcv0WB/3WqEI/uw+3gSH3z0GeKzvlWe4s9TizwMN+kGcQ5d0YeaN3TBfgatkAERO8TVKj61AYnfxVjhl4vLB4BOTbNC54RnjRU9csdvlg7PNRPdopIsXoLW8lyrdCrblXDW2cNy2VdtlL3xtK+OumemefpwHEqOLIfnbzR9kK6074PaTBd8JK5qJXX6B6GoZ4+dBQl7uQzBk501VPxaeX++6JoRAhFPqiyqncQtCgEbX4vRFlNuJuE2eKInKDYG83wsgWiNpTZ45i5jzYs0st7cYIOsiJHHwOhelk06BDtjEag5TKkZQvZvw1FFTTVzl59IROmio4JPpZeEUxAMZLxxqOk0F/ZA0bdp1IBPrGEQzK+2ZcuBa+DYGnYtXXsvT5+hPatrOC3OZ6SUPVKoOJlvWuwTxKmyyUCT+btlx2jdKNWe2KN+eqU0wSEkqqttN68eBNbU0+n7UtLHZh1+fN++m0WT4kWOBRuIggau3NhBdubUwu0nAvmiXLqV0WYn/LmdLTuUJE73sCpzNI49/x9kNyWTAJ0nxg7Ew6iRVAgkSn2ZIeM9sfwjUOvItlOBslEDnMZdXjfNAb7iyWQFaKNElgOGKWaiGz/Dy766gYmqAMsYscbgfK7WgNv5Bjy0mpgoftMcSVbHsAlL3mf+jJuqt8Hc+4hwxoW2U+M9Ecrscy//nPKmhYrjfds6l01FEbsMjYwI7U2aGZJW02h4iXFvQh5KxSwUq2bwWx6dyk9L0uqb4wLqRZ1YDUaykVoOAG9EW98NP1sOL/Oz7JeNS+0bzHoQ8Qgwc1lz2jzD+n2tjZNDHvp+qwTE9lsoXzEudaslwiJgn/XP0Sef9ljFXAc63Amg3JhROYhQZkospUUFtgK1KOUy6MVcsEwnTMi+upoOA3Owkz5eZMojyfuqbnq6C38uT72LKA23b0MWSKRSCIMUFQlsJ3XXu+ApXyWk+zV+iYFjx/WYB1Fa9ofP1MkE9GtEuSo41Rwi4kO3KEFbp+uNbD7eHDTGHIeq37o+qQi4hg59gxiuTzc65TS9IvTbZlvXuHVuKSFOSESSJ2h8g1VLClZ+7Bf3wEFfrLyp5SHYwNYBx9/nqxW6aWuM52ypK0Uy1ikC3xSF4soZEOHd/VXweJneudKfnU3v5Dpf6yth7+vlXQ7KzzrRH82QBVxrv43BL0i+nUTTCg49jI8xVWkcB4ctuXqD2DUZ/TAq+IWMCAOlhhDJmBXU9b7DDUFBCHB6Rab00ahUhph6Z7ogE99UYtvcB8doMsF47oXNCjzIU0MxHIJ/Bjf/WNEU+QxLlgwPrxaZh5BmnlR82H3WptSqFrRh/ALyS47FJPTkGl8yA1fOVLHuPCYuddBAFNoAxyB0atDlO/A5o+OvECjVS20fR7Z9ouTLYkwOhVIEfWa28I83im55BzSx3LYo5jC29fS0aNgp5/Dw3xpwUWvgJiDUZXnEZF9d7z6HcnfIKaZ71iIVv210QLmGJMNSxUk6VupTcn1Ko9lR8R5yCCvtONX4tpA7bwCUhnr+IE83HhfBsZDATWGj6kJ+bwpJOT5XzB7Ix7ve00anxMjRyK6qsEkpJAISnmzv+fdqws7o+OLbHuRhs0032bzXD+FkAQf49Iunrraxh3KBSDx7UxAaPnsdhGBxi3BjKYS2Su7DkxDETnMJ1Ki31XtpqPu05tjbSKL1uIpmQzYgzfLmHMPXZ0gQ3XHdH12Dm3RC5puSLtIgwtlGpeQFGdLDrfJW1WWleoocxNgcxCvpay/j7VmcQ6tJBf0lCvTLTjwzUUoI2ZJtXZ4Bj9XNUS7REIKd5tMsTTQy6JGjUd+s56dAF1DIK2l2wUnRqamKTZZu9OTFmPA0FT7a+1VtyhDTgBroJHwpLUQtJIEkhWUdcZE5DccNAQ9U/pasx/mMHf0pN2bm4bA+4hjGlEHq69eyLCfHgxhz4PTH9/eZdAMxIuUghya4KqVbkQhkRQRFZ1o4KMSwH5aNTjIAGF1X+ivXGmNpD+4cnAFld/Bz+UVlpT/Q6x+7v0DNx7KXxY4XxQlu5jXSZbRz8HqUK2nw2+ogHWHlyVgGnRSJgpLmJcEnefRMVAClBszuBDx3DQIjn5FE/HIDqa/dtiRiSgiEPxzGw81exdoTM6DN3LTpJ1aAyU/KcVBvHPXGv8RYfTq7MsLiAYxwPKV3CBJ+Y92Xe7KaW9PTdGf9ZNz/4/6xFZeJp+zEt7vb6sgxBzc7r96H2hsX3PYACi2DyZ4SbPFRztFGgWQr2iMGmNmydqxg6NDTWsuN+1AW/ykWOq+dqavxVpRtTHH/lvU4ahAjM+izGlOvkel8RL39JPQHz3gR//Xjum2X2Q5pNuo0GoqNjm7Q+CftxE2zbwP3dFiLOVQPT3zYL56Fdo6q86+SxxgAaOTxCjtHMuvyHGytZPL2iBOn5abgeEyy/xJkdzJqzUYhq4oR7zZ8Z77T22+YFj7lNzn+KgTvea/baIbv7qSxsTBj57BmnE61XZr/foBkWyJdWHUE8TmcOLG6kshalNmGVBsNKqeHJkUvrHwadahfRp2uIVkJdeWOrveTvctW+/1rdY5DrqAwOqrMwzu7qPq4mnZti9qLXB7uCn8IynTHteUnk7tKXQ0jxtt8LI9eA1y29bnMmueo6zqzG5+LluRFS1I55o75tja1gTCsUebvFBF6Ian+FtZCPOHq7gNXOrNuYXb8H9xWjH+gHrQJzGzkkykc/SaPl40sz0XfuPeyvFzg1Dmmz3DfVF1f+4tnLIFv+bkmfZ3btt8iORpjcmIpfOAu93Nd76rQgwfLSTWa5eqPUZrS2LTyd2XhO84tILOf8eFFVT9WYugmHL4EQr8Wmthmaaf1/3PpSxiOLoNbCWkymj8XzedKQWh7JRflSBBJTUbIKRSt3v91QTF+7ttHMRSdUj7lH/dwLDdYRf9Vij4T/knjGCfQuTUiIA8l/uUgOTbZ+JXOCrohIzUY4CwhVo8K+1XllrIjLk+pLEes6bzHF/cuhUM4H8rCf86WkxxhyBIEu5vJ+rqi5/OGFwp6WTSWx2acf28/JUSQ33aun6vnIDsAsO+Riwu9VEnsgl8mh0UEej4+Op5BKRqiz9JBmCk25WB8gFTGBhWpDIAXYN0r898+mQ9vDGoIyjJFTa/HePxlZK1YTA7TK+YCPNhuJ3dv0im5TxvLomDZJb+RfojEwOYSik8nSmUdw+hAJb3L0oN64uAWlrnsQ=" title="Mekko Graphics Chart">
            <a:extLst>
              <a:ext uri="{FF2B5EF4-FFF2-40B4-BE49-F238E27FC236}">
                <a16:creationId xmlns:a16="http://schemas.microsoft.com/office/drawing/2014/main" id="{0E8CBC40-69EC-4C6D-89AF-673340620316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30200" y="1935651"/>
            <a:ext cx="3483504" cy="4303037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167" tIns="33167" rIns="33167" bIns="33167" rtlCol="0" anchor="ctr"/>
          <a:lstStyle/>
          <a:p>
            <a:pPr marL="0" indent="0" algn="ctr">
              <a:buNone/>
            </a:pPr>
            <a:endParaRPr lang="en-US" sz="1843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sz="1843" dirty="0">
              <a:solidFill>
                <a:schemeClr val="tx1"/>
              </a:solidFill>
            </a:endParaRPr>
          </a:p>
        </p:txBody>
      </p:sp>
      <p:grpSp>
        <p:nvGrpSpPr>
          <p:cNvPr id="45" name="btfpColumnIndicatorGroup2">
            <a:extLst>
              <a:ext uri="{FF2B5EF4-FFF2-40B4-BE49-F238E27FC236}">
                <a16:creationId xmlns:a16="http://schemas.microsoft.com/office/drawing/2014/main" id="{EEAE0006-4947-4EBF-9DB6-9605C419F43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2" name="btfpColumnGapBlocker493474">
              <a:extLst>
                <a:ext uri="{FF2B5EF4-FFF2-40B4-BE49-F238E27FC236}">
                  <a16:creationId xmlns:a16="http://schemas.microsoft.com/office/drawing/2014/main" id="{BC055332-6095-4739-9D67-1C1D5E32570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btfpColumnGapBlocker516624">
              <a:extLst>
                <a:ext uri="{FF2B5EF4-FFF2-40B4-BE49-F238E27FC236}">
                  <a16:creationId xmlns:a16="http://schemas.microsoft.com/office/drawing/2014/main" id="{2F29EBE8-1723-428A-89CC-321A975E785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" name="btfpColumnIndicator283188">
              <a:extLst>
                <a:ext uri="{FF2B5EF4-FFF2-40B4-BE49-F238E27FC236}">
                  <a16:creationId xmlns:a16="http://schemas.microsoft.com/office/drawing/2014/main" id="{3BD766BF-4605-42E7-9012-6E0D5544044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927252">
              <a:extLst>
                <a:ext uri="{FF2B5EF4-FFF2-40B4-BE49-F238E27FC236}">
                  <a16:creationId xmlns:a16="http://schemas.microsoft.com/office/drawing/2014/main" id="{8177A372-6720-4800-9FBD-0CE615D29A5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ColumnIndicatorGroup1">
            <a:extLst>
              <a:ext uri="{FF2B5EF4-FFF2-40B4-BE49-F238E27FC236}">
                <a16:creationId xmlns:a16="http://schemas.microsoft.com/office/drawing/2014/main" id="{9D658EDE-CF22-4261-B370-CC3ABD3FE6A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653387">
              <a:extLst>
                <a:ext uri="{FF2B5EF4-FFF2-40B4-BE49-F238E27FC236}">
                  <a16:creationId xmlns:a16="http://schemas.microsoft.com/office/drawing/2014/main" id="{D01E4C71-6793-4D2C-B63C-725877958B0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ColumnGapBlocker132444">
              <a:extLst>
                <a:ext uri="{FF2B5EF4-FFF2-40B4-BE49-F238E27FC236}">
                  <a16:creationId xmlns:a16="http://schemas.microsoft.com/office/drawing/2014/main" id="{83846676-AEC3-429E-979C-B5257818E52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106578">
              <a:extLst>
                <a:ext uri="{FF2B5EF4-FFF2-40B4-BE49-F238E27FC236}">
                  <a16:creationId xmlns:a16="http://schemas.microsoft.com/office/drawing/2014/main" id="{515CCB43-1EAA-4257-B311-E0BCAB93B82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446715">
              <a:extLst>
                <a:ext uri="{FF2B5EF4-FFF2-40B4-BE49-F238E27FC236}">
                  <a16:creationId xmlns:a16="http://schemas.microsoft.com/office/drawing/2014/main" id="{8416D7FD-3389-4C1B-9557-37070E7B0A1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90927765898143 columns_1_132390927765888169 4_1_132390927765948015 </a:t>
            </a:r>
          </a:p>
        </p:txBody>
      </p:sp>
      <p:sp>
        <p:nvSpPr>
          <p:cNvPr id="6" name="Line 363"/>
          <p:cNvSpPr>
            <a:spLocks noChangeShapeType="1"/>
          </p:cNvSpPr>
          <p:nvPr/>
        </p:nvSpPr>
        <p:spPr bwMode="auto">
          <a:xfrm>
            <a:off x="4072767" y="1699564"/>
            <a:ext cx="115376" cy="0"/>
          </a:xfrm>
          <a:prstGeom prst="line">
            <a:avLst/>
          </a:prstGeom>
          <a:noFill/>
          <a:ln w="9525" cap="rnd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4244" tIns="42122" rIns="84244" bIns="42122" numCol="1" anchor="t" anchorCtr="0" compatLnSpc="1">
            <a:prstTxWarp prst="textNoShape">
              <a:avLst/>
            </a:prstTxWarp>
          </a:bodyPr>
          <a:lstStyle/>
          <a:p>
            <a:endParaRPr lang="en-GB" sz="175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dirty="0"/>
              <a:t>Target witnessed an increasing trend in number of job postings for technical/ field related roles between 2019-22</a:t>
            </a:r>
          </a:p>
        </p:txBody>
      </p:sp>
      <p:sp>
        <p:nvSpPr>
          <p:cNvPr id="4" name="btfpNotesBox194876"/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Bars hidden for years with no job postings data</a:t>
            </a:r>
          </a:p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grpSp>
        <p:nvGrpSpPr>
          <p:cNvPr id="7" name="btfpRunningAgenda2Level456905"/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4544763" cy="257442"/>
            <a:chOff x="0" y="944429"/>
            <a:chExt cx="4544763" cy="257442"/>
          </a:xfrm>
        </p:grpSpPr>
        <p:sp>
          <p:nvSpPr>
            <p:cNvPr id="8" name="btfpRunningAgenda2LevelBarLeft456905"/>
            <p:cNvSpPr/>
            <p:nvPr/>
          </p:nvSpPr>
          <p:spPr bwMode="gray">
            <a:xfrm>
              <a:off x="0" y="944429"/>
              <a:ext cx="2630748" cy="257442"/>
            </a:xfrm>
            <a:custGeom>
              <a:avLst/>
              <a:gdLst>
                <a:gd name="connsiteX0" fmla="*/ 925153 w 2327780"/>
                <a:gd name="connsiteY0" fmla="*/ 0 h 257442"/>
                <a:gd name="connsiteX1" fmla="*/ 2327780 w 2327780"/>
                <a:gd name="connsiteY1" fmla="*/ 0 h 257442"/>
                <a:gd name="connsiteX2" fmla="*/ 2273059 w 2327780"/>
                <a:gd name="connsiteY2" fmla="*/ 257442 h 257442"/>
                <a:gd name="connsiteX3" fmla="*/ 0 w 2327780"/>
                <a:gd name="connsiteY3" fmla="*/ 257442 h 257442"/>
                <a:gd name="connsiteX0" fmla="*/ 925153 w 2273059"/>
                <a:gd name="connsiteY0" fmla="*/ 0 h 257442"/>
                <a:gd name="connsiteX1" fmla="*/ 870432 w 2273059"/>
                <a:gd name="connsiteY1" fmla="*/ 257442 h 257442"/>
                <a:gd name="connsiteX2" fmla="*/ 2273059 w 2273059"/>
                <a:gd name="connsiteY2" fmla="*/ 257442 h 257442"/>
                <a:gd name="connsiteX3" fmla="*/ 0 w 2273059"/>
                <a:gd name="connsiteY3" fmla="*/ 257442 h 257442"/>
                <a:gd name="connsiteX0" fmla="*/ 925153 w 925153"/>
                <a:gd name="connsiteY0" fmla="*/ 0 h 257442"/>
                <a:gd name="connsiteX1" fmla="*/ 870432 w 925153"/>
                <a:gd name="connsiteY1" fmla="*/ 257442 h 257442"/>
                <a:gd name="connsiteX2" fmla="*/ 1 w 925153"/>
                <a:gd name="connsiteY2" fmla="*/ 257442 h 257442"/>
                <a:gd name="connsiteX3" fmla="*/ 0 w 925153"/>
                <a:gd name="connsiteY3" fmla="*/ 257442 h 257442"/>
                <a:gd name="connsiteX0" fmla="*/ 925152 w 925152"/>
                <a:gd name="connsiteY0" fmla="*/ 0 h 257442"/>
                <a:gd name="connsiteX1" fmla="*/ 870431 w 925152"/>
                <a:gd name="connsiteY1" fmla="*/ 257442 h 257442"/>
                <a:gd name="connsiteX2" fmla="*/ 0 w 925152"/>
                <a:gd name="connsiteY2" fmla="*/ 257442 h 257442"/>
                <a:gd name="connsiteX3" fmla="*/ 0 w 925152"/>
                <a:gd name="connsiteY3" fmla="*/ 0 h 257442"/>
                <a:gd name="connsiteX0" fmla="*/ 1103085 w 1103085"/>
                <a:gd name="connsiteY0" fmla="*/ 0 h 257442"/>
                <a:gd name="connsiteX1" fmla="*/ 870431 w 1103085"/>
                <a:gd name="connsiteY1" fmla="*/ 257442 h 257442"/>
                <a:gd name="connsiteX2" fmla="*/ 0 w 1103085"/>
                <a:gd name="connsiteY2" fmla="*/ 257442 h 257442"/>
                <a:gd name="connsiteX3" fmla="*/ 0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0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372390 w 1372390"/>
                <a:gd name="connsiteY0" fmla="*/ 0 h 257442"/>
                <a:gd name="connsiteX1" fmla="*/ 1216681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532691 w 1532691"/>
                <a:gd name="connsiteY0" fmla="*/ 0 h 257442"/>
                <a:gd name="connsiteX1" fmla="*/ 1317669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23210 w 2023210"/>
                <a:gd name="connsiteY0" fmla="*/ 0 h 257442"/>
                <a:gd name="connsiteX1" fmla="*/ 18162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8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124200 w 2124200"/>
                <a:gd name="connsiteY0" fmla="*/ 0 h 257442"/>
                <a:gd name="connsiteX1" fmla="*/ 1968489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0 w 2124200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470448 w 2470448"/>
                <a:gd name="connsiteY0" fmla="*/ 0 h 257442"/>
                <a:gd name="connsiteX1" fmla="*/ 2237793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0748 w 2630748"/>
                <a:gd name="connsiteY0" fmla="*/ 0 h 257442"/>
                <a:gd name="connsiteX1" fmla="*/ 24157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8" h="257442">
                  <a:moveTo>
                    <a:pt x="2630748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9" name="btfpRunningAgenda2LevelTextLeft456905"/>
            <p:cNvSpPr txBox="1"/>
            <p:nvPr/>
          </p:nvSpPr>
          <p:spPr bwMode="gray">
            <a:xfrm>
              <a:off x="0" y="944429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10" name="btfpRunningAgenda2LevelBarRight456905"/>
            <p:cNvSpPr/>
            <p:nvPr/>
          </p:nvSpPr>
          <p:spPr bwMode="gray">
            <a:xfrm>
              <a:off x="2495906" y="944429"/>
              <a:ext cx="2048857" cy="257442"/>
            </a:xfrm>
            <a:custGeom>
              <a:avLst/>
              <a:gdLst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960420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54722 w 2067875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0 w 960420"/>
                <a:gd name="connsiteY2" fmla="*/ 257442 h 257442"/>
                <a:gd name="connsiteX3" fmla="*/ 54722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54721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32691 w 1532691"/>
                <a:gd name="connsiteY0" fmla="*/ 0 h 257442"/>
                <a:gd name="connsiteX1" fmla="*/ 1216681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124199 w 2124199"/>
                <a:gd name="connsiteY0" fmla="*/ 0 h 257442"/>
                <a:gd name="connsiteX1" fmla="*/ 1816204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4 w 2292514"/>
                <a:gd name="connsiteY0" fmla="*/ 0 h 257442"/>
                <a:gd name="connsiteX1" fmla="*/ 2237792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470449 w 2470449"/>
                <a:gd name="connsiteY0" fmla="*/ 0 h 257442"/>
                <a:gd name="connsiteX1" fmla="*/ 2237793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9 w 2470449"/>
                <a:gd name="connsiteY0" fmla="*/ 0 h 257442"/>
                <a:gd name="connsiteX1" fmla="*/ 2415728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1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0 w 2470448"/>
                <a:gd name="connsiteY3" fmla="*/ 0 h 257442"/>
                <a:gd name="connsiteX0" fmla="*/ 2749369 w 2749369"/>
                <a:gd name="connsiteY0" fmla="*/ 0 h 257442"/>
                <a:gd name="connsiteX1" fmla="*/ 2415727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69 w 2749369"/>
                <a:gd name="connsiteY0" fmla="*/ 0 h 257442"/>
                <a:gd name="connsiteX1" fmla="*/ 2694648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909671 w 2909671"/>
                <a:gd name="connsiteY0" fmla="*/ 0 h 257442"/>
                <a:gd name="connsiteX1" fmla="*/ 2694649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3069971 w 3069971"/>
                <a:gd name="connsiteY0" fmla="*/ 0 h 257442"/>
                <a:gd name="connsiteX1" fmla="*/ 28549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238286 w 3238286"/>
                <a:gd name="connsiteY0" fmla="*/ 0 h 257442"/>
                <a:gd name="connsiteX1" fmla="*/ 3015250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6 w 3238286"/>
                <a:gd name="connsiteY0" fmla="*/ 0 h 257442"/>
                <a:gd name="connsiteX1" fmla="*/ 3183564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491561 w 3491561"/>
                <a:gd name="connsiteY0" fmla="*/ 0 h 257442"/>
                <a:gd name="connsiteX1" fmla="*/ 3183565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1 w 3491561"/>
                <a:gd name="connsiteY0" fmla="*/ 0 h 257442"/>
                <a:gd name="connsiteX1" fmla="*/ 3436840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1 w 3491560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0 w 3491560"/>
                <a:gd name="connsiteY3" fmla="*/ 0 h 257442"/>
                <a:gd name="connsiteX0" fmla="*/ 3677508 w 3677508"/>
                <a:gd name="connsiteY0" fmla="*/ 0 h 257442"/>
                <a:gd name="connsiteX1" fmla="*/ 3436839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8 w 3677508"/>
                <a:gd name="connsiteY0" fmla="*/ 0 h 257442"/>
                <a:gd name="connsiteX1" fmla="*/ 3622787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1 w 3677509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2 w 3677509"/>
                <a:gd name="connsiteY3" fmla="*/ 0 h 257442"/>
                <a:gd name="connsiteX0" fmla="*/ 3837810 w 3837810"/>
                <a:gd name="connsiteY0" fmla="*/ 0 h 257442"/>
                <a:gd name="connsiteX1" fmla="*/ 36227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1 w 3837810"/>
                <a:gd name="connsiteY3" fmla="*/ 0 h 257442"/>
                <a:gd name="connsiteX0" fmla="*/ 4107113 w 4107113"/>
                <a:gd name="connsiteY0" fmla="*/ 0 h 257442"/>
                <a:gd name="connsiteX1" fmla="*/ 3783088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2157862 w 4052392"/>
                <a:gd name="connsiteY0" fmla="*/ 0 h 257442"/>
                <a:gd name="connsiteX1" fmla="*/ 4052392 w 4052392"/>
                <a:gd name="connsiteY1" fmla="*/ 257442 h 257442"/>
                <a:gd name="connsiteX2" fmla="*/ 0 w 4052392"/>
                <a:gd name="connsiteY2" fmla="*/ 257442 h 257442"/>
                <a:gd name="connsiteX3" fmla="*/ 54721 w 4052392"/>
                <a:gd name="connsiteY3" fmla="*/ 0 h 257442"/>
                <a:gd name="connsiteX0" fmla="*/ 2157862 w 2157862"/>
                <a:gd name="connsiteY0" fmla="*/ 0 h 257442"/>
                <a:gd name="connsiteX1" fmla="*/ 2103141 w 2157862"/>
                <a:gd name="connsiteY1" fmla="*/ 257442 h 257442"/>
                <a:gd name="connsiteX2" fmla="*/ 0 w 2157862"/>
                <a:gd name="connsiteY2" fmla="*/ 257442 h 257442"/>
                <a:gd name="connsiteX3" fmla="*/ 54721 w 2157862"/>
                <a:gd name="connsiteY3" fmla="*/ 0 h 257442"/>
                <a:gd name="connsiteX0" fmla="*/ 2157862 w 2157862"/>
                <a:gd name="connsiteY0" fmla="*/ 0 h 257442"/>
                <a:gd name="connsiteX1" fmla="*/ 2103141 w 2157862"/>
                <a:gd name="connsiteY1" fmla="*/ 257442 h 257442"/>
                <a:gd name="connsiteX2" fmla="*/ 0 w 2157862"/>
                <a:gd name="connsiteY2" fmla="*/ 257442 h 257442"/>
                <a:gd name="connsiteX3" fmla="*/ 54721 w 2157862"/>
                <a:gd name="connsiteY3" fmla="*/ 0 h 257442"/>
                <a:gd name="connsiteX0" fmla="*/ 2157862 w 2157862"/>
                <a:gd name="connsiteY0" fmla="*/ 0 h 257442"/>
                <a:gd name="connsiteX1" fmla="*/ 2103141 w 2157862"/>
                <a:gd name="connsiteY1" fmla="*/ 257442 h 257442"/>
                <a:gd name="connsiteX2" fmla="*/ 0 w 2157862"/>
                <a:gd name="connsiteY2" fmla="*/ 257442 h 257442"/>
                <a:gd name="connsiteX3" fmla="*/ 54721 w 2157862"/>
                <a:gd name="connsiteY3" fmla="*/ 0 h 257442"/>
                <a:gd name="connsiteX0" fmla="*/ 2048858 w 2103141"/>
                <a:gd name="connsiteY0" fmla="*/ 0 h 257442"/>
                <a:gd name="connsiteX1" fmla="*/ 2103141 w 2103141"/>
                <a:gd name="connsiteY1" fmla="*/ 257442 h 257442"/>
                <a:gd name="connsiteX2" fmla="*/ 0 w 2103141"/>
                <a:gd name="connsiteY2" fmla="*/ 257442 h 257442"/>
                <a:gd name="connsiteX3" fmla="*/ 54721 w 2103141"/>
                <a:gd name="connsiteY3" fmla="*/ 0 h 257442"/>
                <a:gd name="connsiteX0" fmla="*/ 2048858 w 2048858"/>
                <a:gd name="connsiteY0" fmla="*/ 0 h 257442"/>
                <a:gd name="connsiteX1" fmla="*/ 1994138 w 2048858"/>
                <a:gd name="connsiteY1" fmla="*/ 257442 h 257442"/>
                <a:gd name="connsiteX2" fmla="*/ 0 w 2048858"/>
                <a:gd name="connsiteY2" fmla="*/ 257442 h 257442"/>
                <a:gd name="connsiteX3" fmla="*/ 54721 w 2048858"/>
                <a:gd name="connsiteY3" fmla="*/ 0 h 257442"/>
                <a:gd name="connsiteX0" fmla="*/ 2048857 w 2048857"/>
                <a:gd name="connsiteY0" fmla="*/ 0 h 257442"/>
                <a:gd name="connsiteX1" fmla="*/ 1994137 w 2048857"/>
                <a:gd name="connsiteY1" fmla="*/ 257442 h 257442"/>
                <a:gd name="connsiteX2" fmla="*/ 0 w 2048857"/>
                <a:gd name="connsiteY2" fmla="*/ 257442 h 257442"/>
                <a:gd name="connsiteX3" fmla="*/ 54720 w 2048857"/>
                <a:gd name="connsiteY3" fmla="*/ 0 h 257442"/>
                <a:gd name="connsiteX0" fmla="*/ 2048857 w 2048857"/>
                <a:gd name="connsiteY0" fmla="*/ 0 h 257442"/>
                <a:gd name="connsiteX1" fmla="*/ 1994137 w 2048857"/>
                <a:gd name="connsiteY1" fmla="*/ 257442 h 257442"/>
                <a:gd name="connsiteX2" fmla="*/ 0 w 2048857"/>
                <a:gd name="connsiteY2" fmla="*/ 257442 h 257442"/>
                <a:gd name="connsiteX3" fmla="*/ 54721 w 204885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8857" h="257442">
                  <a:moveTo>
                    <a:pt x="2048857" y="0"/>
                  </a:moveTo>
                  <a:lnTo>
                    <a:pt x="199413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1" name="btfpRunningAgenda2LevelTextRight456905"/>
            <p:cNvSpPr txBox="1"/>
            <p:nvPr/>
          </p:nvSpPr>
          <p:spPr bwMode="gray">
            <a:xfrm>
              <a:off x="2495906" y="944429"/>
              <a:ext cx="19941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overtime</a:t>
              </a:r>
            </a:p>
          </p:txBody>
        </p:sp>
      </p:grpSp>
      <p:grpSp>
        <p:nvGrpSpPr>
          <p:cNvPr id="36" name="btfpStatusSticker618732">
            <a:extLst>
              <a:ext uri="{FF2B5EF4-FFF2-40B4-BE49-F238E27FC236}">
                <a16:creationId xmlns:a16="http://schemas.microsoft.com/office/drawing/2014/main" id="{6182C4EB-24AA-4609-9652-FBDE7819BF6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38" name="btfpStatusStickerText618732">
              <a:extLst>
                <a:ext uri="{FF2B5EF4-FFF2-40B4-BE49-F238E27FC236}">
                  <a16:creationId xmlns:a16="http://schemas.microsoft.com/office/drawing/2014/main" id="{9A1D6EF1-A58E-4C72-9FC0-1A07422B1DCF}"/>
                </a:ext>
              </a:extLst>
            </p:cNvPr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9" name="btfpStatusStickerLine618732">
              <a:extLst>
                <a:ext uri="{FF2B5EF4-FFF2-40B4-BE49-F238E27FC236}">
                  <a16:creationId xmlns:a16="http://schemas.microsoft.com/office/drawing/2014/main" id="{95F6B7BB-0DFE-4C9D-9239-41E05925B66F}"/>
                </a:ext>
              </a:extLst>
            </p:cNvPr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StatusSticker149086">
            <a:extLst>
              <a:ext uri="{FF2B5EF4-FFF2-40B4-BE49-F238E27FC236}">
                <a16:creationId xmlns:a16="http://schemas.microsoft.com/office/drawing/2014/main" id="{7A722605-339D-4B4D-B2BD-86110A65DCE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62" name="btfpStatusStickerText149086">
              <a:extLst>
                <a:ext uri="{FF2B5EF4-FFF2-40B4-BE49-F238E27FC236}">
                  <a16:creationId xmlns:a16="http://schemas.microsoft.com/office/drawing/2014/main" id="{500F6085-E99F-4A38-8EA8-AC2393BEA662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63" name="btfpStatusStickerLine149086">
              <a:extLst>
                <a:ext uri="{FF2B5EF4-FFF2-40B4-BE49-F238E27FC236}">
                  <a16:creationId xmlns:a16="http://schemas.microsoft.com/office/drawing/2014/main" id="{186AA129-4E67-4FBC-990F-6B1981E16F8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btfpColumnHeaderBox985951">
            <a:extLst>
              <a:ext uri="{FF2B5EF4-FFF2-40B4-BE49-F238E27FC236}">
                <a16:creationId xmlns:a16="http://schemas.microsoft.com/office/drawing/2014/main" id="{713A62AC-6328-41B4-B3DA-2B7F91ABD530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354248" y="1230344"/>
            <a:ext cx="7507553" cy="559753"/>
            <a:chOff x="6366272" y="993408"/>
            <a:chExt cx="5495528" cy="559753"/>
          </a:xfrm>
        </p:grpSpPr>
        <p:sp>
          <p:nvSpPr>
            <p:cNvPr id="51" name="btfpColumnHeaderBoxText985951">
              <a:extLst>
                <a:ext uri="{FF2B5EF4-FFF2-40B4-BE49-F238E27FC236}">
                  <a16:creationId xmlns:a16="http://schemas.microsoft.com/office/drawing/2014/main" id="{C7C292A6-30D0-4A22-8B98-FA88FEBBCAFF}"/>
                </a:ext>
              </a:extLst>
            </p:cNvPr>
            <p:cNvSpPr txBox="1"/>
            <p:nvPr/>
          </p:nvSpPr>
          <p:spPr bwMode="gray">
            <a:xfrm>
              <a:off x="6366272" y="993408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Target and Peer 9 increased job postings in L4Y; Peer 6 witnessed high growth in job postings in 2020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52" name="btfpColumnHeaderBoxLine985951">
              <a:extLst>
                <a:ext uri="{FF2B5EF4-FFF2-40B4-BE49-F238E27FC236}">
                  <a16:creationId xmlns:a16="http://schemas.microsoft.com/office/drawing/2014/main" id="{E48B9DF6-1E93-4611-9457-227CED0B00C0}"/>
                </a:ext>
              </a:extLst>
            </p:cNvPr>
            <p:cNvCxnSpPr/>
            <p:nvPr/>
          </p:nvCxnSpPr>
          <p:spPr bwMode="gray">
            <a:xfrm>
              <a:off x="6366272" y="1553161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btfpColumnHeaderBox642890">
            <a:extLst>
              <a:ext uri="{FF2B5EF4-FFF2-40B4-BE49-F238E27FC236}">
                <a16:creationId xmlns:a16="http://schemas.microsoft.com/office/drawing/2014/main" id="{C2431E0F-1AC4-4DBB-887D-48D9C61436C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0197" y="1261452"/>
            <a:ext cx="3483504" cy="568301"/>
            <a:chOff x="330199" y="-3753681"/>
            <a:chExt cx="5629396" cy="568301"/>
          </a:xfrm>
        </p:grpSpPr>
        <p:sp>
          <p:nvSpPr>
            <p:cNvPr id="58" name="btfpColumnHeaderBoxText642890">
              <a:extLst>
                <a:ext uri="{FF2B5EF4-FFF2-40B4-BE49-F238E27FC236}">
                  <a16:creationId xmlns:a16="http://schemas.microsoft.com/office/drawing/2014/main" id="{A10B9E1B-35A6-41FE-9A6D-C737C6EA780A}"/>
                </a:ext>
              </a:extLst>
            </p:cNvPr>
            <p:cNvSpPr txBox="1"/>
            <p:nvPr/>
          </p:nvSpPr>
          <p:spPr bwMode="gray">
            <a:xfrm>
              <a:off x="330199" y="-3753681"/>
              <a:ext cx="5629396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Peer 4 and Peer 3 increased job postings YoY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4" name="btfpColumnHeaderBoxLine642890">
              <a:extLst>
                <a:ext uri="{FF2B5EF4-FFF2-40B4-BE49-F238E27FC236}">
                  <a16:creationId xmlns:a16="http://schemas.microsoft.com/office/drawing/2014/main" id="{FB29E209-16AB-4320-A9DC-6189D82A586F}"/>
                </a:ext>
              </a:extLst>
            </p:cNvPr>
            <p:cNvCxnSpPr/>
            <p:nvPr/>
          </p:nvCxnSpPr>
          <p:spPr bwMode="gray">
            <a:xfrm>
              <a:off x="330199" y="-3185380"/>
              <a:ext cx="5629396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btfpMGChart16405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TAkJEmZIFoVyL75HfSyjycG+BYphGy5qEesTVbqgIFzbhpWKbqqCVG/1rSw4Zbr5DAhBOClY8E/gYQtOkemuMla1i501QR+WANPO0nZMaxNLpHVjxyUs07ZnWgA7OUvo6bJNbEYP6cGWdKHKdc+9xCuKesdAM2CO3DfY+7Qi9rz7NobAc4uV1G1k4S0ZXplR8hFnM/fJXRjOJUgz61sCt3m01xFpaiaIpnScPsWRwyEJsvNoxYnhWMMIn0UAxvUF2+UCftX7e1QZRRyvHg9wvjVGJqZuHQ4qtVcYt9SQYMwQ38r93vLLlDG3BixFbWvfQ6aEflaOoqs4l/IhkU6L0VWVxZ1BMzDHGFieyt/PAE+MOX6p2fVfiO9H0N7JDX7htNJK3X+W+qLcErbu0Y6Ut1IYkyfIXKTGP3yTsGGyDAyY3SVX4ipyf4P7dOpkTWN2qERj18zqwB5rfGnHk7u02xkuHqDGkVLiaBErpeDUqvuRUUs6Q5WbUE4FHloCgbKzHXXO3Sagsy9LtVQC9daAMWtSBWm+uCEd6RMA7ocgJdHBGSw3BX4MdKZNPYRbxOB3a+9vbMyP/eev7oCh6+rkmPNc9Ob7BzzZl7FchTgKp0hNNMG/vPL3Ws6pRx0/xKEejj8ls12dx0nkYuXO8S1CAwy3Clh0WgbEmwjBjJ1J4ks7OztRcXtfD7XKWnlCDKiTH/A2MXqs6wRaRTB/cezORbL8gf2WX0Bn8pTxl2CIhSmuIs2EGZPhBL7C6/TS7zAtLfj+XBmF0zgK2Xg0GrGmH5ierr8wV8pGiZlHhqqxD5UZPnD1QAE5Gtf7PwiXviyI6YmhjZJOqw3HDluTktrSwEBjEQDPllPHGFfcC+v9vRP2m0nvAZYLTDeXo7wDW0CuttF9Jfq9UeX3qj5b/Y7ulE8xDZXE4sRmKAFaKGW2hLxqJ094gioIDmZ6biUKKYPsIgoKcAPSZK61LTIxaYMNOP12LOojZ9kqjg466hiLPRyAEDUqBp1zXMUfcgkMP+YTNhv3JbMIJ63Ec3Otfdyjq1LB+sHE+OvgqsVa+Z9GGt2Gmnsd2xbgsp3Ax0WDLNzJxOlHBBFt7Sz/+78AIi/U+n9/gnXCgtyvXlur871HTQS0VWibQZGrkQK15hqqSODKJTqWMCF5y4Po+bJlEmGg8/6UPN13Rr84p8ld8wz5Nkjq06auAuUapJr7N7bcGsjvgmvGR+hBm8M+jPSoRufSgGW9k7B38FS1qAzwvQCOk+pi3hO5nemacwcYNAF6BxjoD4zz3wOUS5S8iRhb5v316gjCVvz6E45pIqeS51XxXP7/DY9fG/xuvKgkHLi0BoKqo2X/4fGJg9dWPbPKBVB0zzOGi1ELeV/3Dh/gDswyPZw7XbnGLf80XVaMPjEGv90VEJ1C8+yb4atwKx4u+HBQqHh+cRXq8J00mKrWfEFNeaIQxXqR9eYsgn18Xm9L1s1d3qR8lD4EgBPGGwcv/y2ABV6TPxsGQ/Wgv8g5zcIYjCk55UE+RA1b1PILd8mmHOVudeU0TlqR6un5XFDNB5z6PI/nhEqZvr+EB5vJB11pNihPZUI8zNKOrhvmUyG7kwmL3JYFevkWSeu47XAiiqir7Wf94jHSKTpNnPXDtcwX1HM//7SrUgbPodzpwomPaH3lfbyx/JjcdwJthpAEVHnVxrkqx04ueU0MRuOhZhSLiPTp20kQym/BH0wNaC8oFKiHFfzYJMK022hOJnnFIdgVkezZyx8M8aEUrF3J74z9MVx8n3EeOvqXzZywzYak7FVCe2XhJdYCZuG0N/Td4T2r6mLGeDKn8mrAQJmw+ZJOlvtsTZseS5MOacnvCKwdupIWtrXb/oIL/q2/Yp1E6SlW1G/I2trg5+6AakHuDDDZHWXNYyjqQ0y3g3URRyQIN4RBe5+jE7PHAZozGqSPRTWC6je4uVCpjDdL760X1E7dBPm3MCMZz3Avgw1EvJMNmIPLB0+qyJDSYs4Df6AQT30okdONsWdZ58sFHr4cBcaP5JAniXwvb0WAjyGC4FKXa9li0/VNsG2lW2BEud1SAYRRtsAH3/zy8k++5IPXt3a188EmHqunMYA9WcirYUQk+NuP/jHmYK7o0U4rESdpWMrhhrCFIyteEbKZEfIgSsBcYsaENwRKTczx777PXVhjBN7n6FEHY4Y6AY8BFeDDJ8+iBdUBiK30DesnPHvFeMLvt7N10R3WbZeXcDNDicgGP/o2tTq6VE5qt7oD6qt838CS3RQHwI0HBjlPkybvRNTtApligJ6v2kxedKiC1zgYdzHvH8bCPXCi/9s0QAUYcNusvWtOO5GZFqlcAwUlnD79Y/1S2wOKRWJWW0RDjR7oQZHwVKyD8+lP4ncN9qNzkzCECatXhJr/x4ZOGDaNp93G7Y4WjvBM7LrbeQn2ftv125ZK7eI5ukgMurI8M9byk7HduVoIRs54cSfFUuW43Ova8keuGZXBrq/LTElFiJpa81mZpHK8bqP8GjEhvpLI1DX1gcrLA3AH7j7dgmDAqfnvqIj5FBp1OIe76RzfqyAINX784b9asdmfU+DLDEPvEIEGFmUrP2xRKt7cSNHTqzINNN5YB+jYRIbbar4kT3kHSfDPmOpq87eD0O4eWQLzH9E/VyP2PD5+luSR4K7fxNJLrw9bavTZvNeEOGWinQcRkLvzTcK14D7+DF5OksBPkneQ1wA1JVWOC5PmBqJxwBBnyYC2HXLAEsj2L4Z88o2JFe3y0Dxee6wDLOMjEznw5aIcuu0BH62Kk3KRnKQGV3buDx1yW86cUKq1/XKaGcNM/rf1SkhbPQZj4Uu5+uZseJtla1li//LU6jXbT6x7u+r6IgNpbVhJ2EryIhJng84zK0aNrowAQ0a23NoRFQD7Dj1qZXzIVQKl+uU5CMZdXYRcq7VJVll2OkJaLwP553+GMrh0ppbgZeHfu5MtlEW0EFq0b+3zr2sCH6cFUdZRSfJiMoPiLYawrNcXGgRkgRI4gcKLVCXN0HKRPrBvUkN+9Ijt4FJpmnBvsNiNRpxYhKhTeRIaSmk3+fR9KZKNUbX+bA9Yk4NJrBC5iLUhwb7dsCpeAoCdxslcwBYRd4A1a/H08660wLdxrDNXZS3GWOZptJ7/PcKTK0s14czJImpwapwxtoayYsvPFp7pyQ5M0pbVOtiPhjNPG8C/ePCwvRwmxLLKgZpKsI6Wf5E6RcFdb33NKWD1Ec85fKMsn0SWNOhgo8YBAS27gQYbOCtRA/3uER2H4Et7Tn/NjJl9ywB1WX1nXd8JKDo6u2Vn1EaVSBS3uRi4lGWHbA9bfiLX3wCKE1EKcny4DOnKFpeKRkB19Aw8p0xxPshIU4/XhepjCHDxc8PvPldrYSn9XhhpExMkS+jCU93TeZ58Oh+8begMpxUkhth4q6muFsMVKjETXaVcdmKO1ujBWe9doQwdCzc7f5ct4sBbxp3dZ86cA6ou7o5VnP2PO64xgAz6Cz3pRjnSAJ3ItOlnvRbN/JvwJFw3UsxG/2pyTdxLgAWiq9vy8ZXjJoFNmomh0H/m7qiT2N6AxPtZGuvhjxmPxTO06LwzrbpAxp88B69LCq5i1QC4iR5ROFdydMjaopbd5ts5TR7+2mdNpGhXsMHlmnl4dlw1LfUxLd8Key5o0slF+h7EtmmxmSlz3iUJxZiaTJ5uPEzhPCtblqO02v0FZNetNbGwLiMamrgBvIb7NqDYrQu6I37STbn/VxSGOL2fVSX1I74hgEqTCcYa9dNK2APf9j1fWOq6QC+5nrt2ZpPXL0gEKdlACpnqXKw+LlKGT/ULAPtH61y/syXAUhf2WNnPCOTzexsKEmwMsR97gT7O4hFJ/yAfrMnEwEbJhe03MJ/06PG+sfgEI4iJqw4hkmwWs9QMpAf90Bbzx4Pcdmh2dzFMU8qCtD1OhV1DM+XAF0OBHh7iKKgRK5uY2COQCAXn4phpHTJ5016zkMT0gb5yEeuLECIy6aDGkm1c29Wbl0XLve+njvH7erSbaIVp+NvUMRmXoUalwJYWk4kGqssl7CoG45rTb3FHhaMCCDwFkICtsjqWYIoyh53CvXRYkeZGeU+uHmQz0r1IDdoVvAPUQmoxhYxwqUnhZSZYxtOlvTIThWnFe6+8/QH+O2nJ92MS14GI5jYkNSyE2VCzKAN5hDPHs2ERJHOyI6RPnWXGO/bZofzzq7/6uN/3vGTFoqAMp4ZKv1YzVx+oYNvMg+LbvhV45u9jrJdrudZCQZIYlchpxxg662iNzZRskr52aCQyfY22pqVEMMZeI/hdfmM+YSl1gtMHCiU3orToCqrGJeJbCbEUSbKqlX4curngWwUVKqKnJgsdyPSF7bZdDQZhIUk6b1vY2QJdRLXdc77RoavWloQ6fxnNGTB210Xye5LLUTJrOcQ/9D0N3VkmckGf5WNDo5+kKRXNfnd18GQr5vE1zCWj0eLc/jiW8KVgubJdompHDKGWH0SnqQIYL8Z/BMPwdPCnnleTlwvOZmD3SfyDf7eJdUUQlbLzHJhDlxv9zUZ16Co8vsBbErQ/TbZuV3T2pp1H3vwEkyoHtUB7/yYUtQmlzc/RnIjh+xMBHn7m1rki1wnCQEkaptUE5FpkFeh13nsyCK7AWb+rOoeUlR37As4q5onqpjdI2EJnyHHIW0OMhHcGsVpPDnN5oBYE8uNQDIkWgPFSjyIzUGDRAhFrIx56MiEIQp3cLkUxrxvGvkfNfdyswFGPF6HiE6x2XtpnFJ+xWCcQ6AIYoUQ5slNg7pr1x/F8uSJA8sxSL3aHDfmNuuXSQMvXGhTTyef+M+jUqYgAsTC32J+Oq4ApjoT0DisemXkUsca3orijcqEFJobPRm5VQhefsfiNso8KoiOqXZzpFeupqQ7HnIDaiS+4x7y28PeoA/oX4Tve4HMywN0B9ERQMdZ9y8AlJS5/EUYW6pKLJxLnIZeeiHlBRvPqaJCABxvt7hxTkr2ZKzKx7Tqs7LPaS4UimY2O8mJLJotxohugUx/UaLf1S9nEpR7CyWG96EgUQM9WtMDkkVYxB57twFRVUcqmU/60a6v1VmNbVq3gtkpD5Ein7nJojzCjlRydh1GDmnozb5sMKELFxIbcJYE4VsTZlBtQisyoZRdmvZZN6cwBy+raGAgtSm32RtVlE8cj03/8tfcfEuYoC3dhatRvpG7zhDNyvY3ks2KyDDnU8/wTGk+vIzHOKvzSF3PD2MBXzcgddVsfEkeOzkenRZ0k1vBDASCHjea+9jtMaTqmv2ATKe020Mzymxip+/Vq5Q4Hs17ZQxuREuoqoAQZfvlRtGUPV1kQOcZ+ROzATDaaNssu5g5D9uiXU7H1nWvhJLYWMqOrhLzNXic9ky3VUIbMeMdGJXbuUJOMcwNdAuhlCTYOtvR/D3JXVokspj+zCnczDD2IHb//a9idhBC6QkrDASvtMSyLusgSSjWiUh88U4s0yv3UhZCOILupT0VnJS1ZVbAX43SE2doFbyrTzb2eJ4jCjTD5HtC2zQYIO13RLZHwAJ2T/l6vtmP3EtNUVyNewaYldGyM2PXTMVGjYzmxqoLFBnVhRIEzT/wuA1n6EQViIcow6051DC/cFbAncVknXQzS0OOzFaWtzWBSrpnUI9Wig6jWEc2yCn5qN2jAz3D/sJmTsTov94X7LXlTvcW+3hkPUqzMq/wSfyBne8Wnmv5lDDROAyMb5UqWNdCz1tjqQZmEvJAm6SU5oIlPw8oeyV6Ad/KXkmiNCxcFmtuV8/0mwM+81lzyLsSB1F8sGPFJRE/tFFUHrcIm3oJ++jmq9N0aqktAlMZKOtvWn3OZHe9mso06B5FjprWS4VuI0KLRoF8FYUqX+yEDsbiIMMJIr64BvB7m6Vg3Lc2a6gyV5g3f4Eu19TMGhEaEyfYxmWryIiLTVwXC2VJfZaAc1GA5k3bP58h5lGHManUEvUXS1atLMJK5XwhBCRAstBv+YVLz/BW3p6r0Yu5OGjTrbdZKecNVeT15NiEb9yHWzBrFbYWO6YmpNbdYAnZCkC84Wm02ikXYUyDTP23JPHHaRpleZlns/QiMrSghTh6eIbLZkQAYnA0ZJ/qrM71nkU9oQH0pZjOiD5bn2k1/NjvoDB1XcJVPAOgmkFkcXN7vFF5KOMzRoADqShF/AFkMHQW9WyO9N7OOc5N+LlD1T/mbehgn1niHD9z3BKSVxRPSem/Ght25D0zn19Id28riuaxEvPFg+yv1WVU7TgG4el1AE/b5G5g2G+glqA9M5PxzHoySJdlWTlZUXCtQiGet/JH8THodMePMtNSqYxpuG4xyqjiJII37JhWgNTD9tGYRZSzwWq3gzyRCDZhvNchFsFdTkYDS6nsGclF8RfqUzuLzL3O4UUfAVn7d8YDbinP5cpS2ikNOgusMBFq8fnsuFMSaliJBQNivf/uWKdhvxqANaKuR8uK4bnVNi16DEvYMn3iUdPlyZmCeqTXo0MiI9S7iPOumgeZBVF4eDr+5KJCO+M8Wh4SLLAWrRxxXIGS0y26DqxlRLN7IOAoJUnxqLJ3+j9RyEQWc/Z77L56ge2IDEDumkt5FcRZkqIEVbUPtII6vqeF83C2kD4pkgSMMtCNLw0q9aBShrXdEqYfJtCkQNW6bqtf95NtgyeFAYPMOGkxznsRlnumxNWJ1WDyhq28sh5fq7J9RJDhYk2mUqxC8I8j/Y24KBGgaWhCZvPCAJSTbOeEn5YFHrtPwHSlt9/+8JKV52X7DcfNzsoX8vVhXyJVvIQ318t65NQ09EVey9RKbgIvH30x5hKXUejX47jBGG+dp+k3TWl6Xa6avRuFng/KitYnSecB9pfRI79+OHzPZNoaQkKyLdbEYaaheAYcbQdr4cSQBz/YfCjad2L7U58zDIYrjlKvj0s++osGwgcRouhKqsd6A1Tens/Uak3l5gXTMZuaBPcZkJacK+yJ7WPp+FdnYffIvYVIKbsCGcaXw2uFytrOHx71058zv5CQAmirSkziY1yARQ+SZMk60BnxLIpnSG2SaXp+uNmASP+n8KfA+ifd6qglyS2aHiw+ioe4KYURgHTwCq0Ma/UWFE/CF8MtIoNW1eUMyPNdwjNWtc55VccwL16XjdZ47a6di2oJpxNkejDe8zp/P4sB/boI2PAhuSCMSplMc8pvRkfVZAHDqJbEU3TL08FjG2RwSRJ/Sx/CorN/wIorEKzzMKjzVtGLMYbvKQAbNnfgczLT/fXb5VGUM2ctkHda16P/jLfD7B7m2ZT3vWjrzQjes0173Taol1pUcPIMTuyOKFEFGZc8V/UJjRLEwHG2dGmQ6Hyv8FuSXNBNP0Ppi9uJjslVrTvnK+RRhiGdYOXikTOmf6yKJRFTtIlaKer4tRUjh4lpOAdQqlzO/IVWum0qHqaAq56kXr9pGtISO5hfp9geDHzC92S5/WxwqA3sEiNBzEyYHGO4DXae4ge2Tk0DgpZiszq4wrlbtDT3E9G5ci3Rrj+dQOIvaI4WUbrHjQqAVmtjVz70wadUWbkj70EZhBN94JjD0F26i165TwaMSztOIY13c1Qje4k6n9URuAemDWG7ZGn+FUjS/qiU0rX/J9Uwpny+pMJLZynIqQnI14OiXYHWB5rs7i21zY4JbMCpBrdVWgwzz2N/ymL0m91LSoe3PRNZZ3tf5QVuy+4Cjtd5fK1aMbKR0gIbPg0Zeczs5w4Ot8jZDb06DAYeHB0IScF2OnK3r1J0o3JO95ynOLGnh/DwdaGx+4tE0c+RMiOoxHXwU5UAHr7ZRTd5pzmGbdiSe1iqD9pkfd5NCp0pXdS44HpBopqW/vTnFjboSMhjplyBkAddcRgFxRFOJd4L6FJAD1yzhk8lyumTMq+Lh5cXHtORVrCdhRRkzH6C13aSHmOhKRLa6/TtrYoNjsm/qxrLduRQWOMW5d6MDzmm6Xej091xkq5MGmqMcejOIlfFWn+w7qAzQs5p1H9xIZNHXnynm1qlHMELZ5HdK3mf9o2PpvAzMw6tDhWWwXIsxsICdPEdJUAr8+WMl5chSjOHOt/fKgn9qnRN5o8LekbBmtLJ5FUf2RohAGxxHxC7rbf6z0s7XS9M6v4thkCzGo+qbsEgon/pnVgKBZ+tz7hOfEs2eFBN0Vzv22QsM3Uh0uREiNR8I64E9l07ngZNYB3UKHPkv82Q92KeVr5wMb1YG1UPFX/JNqfevcAXqhvc/O9c1MmCZzU2wMpCl1NG2ky0JwFuhCATmLps2KFJENxUkTKvHNxE8FLvjWPXXARQJj+GEOOK49UtvM+fdMX/UbY4WMArbMVKVS6CTJE1DBdBRAT+SOW7f6UpiHDbjD3Q5O81BATf9ICbgN/FUF2ROn0JEWnBsvl/dBnbXkbodHuK9PPw1WHxTaGNtXjQJzDb0ayl6hBWuCzoYXd6gbfKZfxYeqbKndJ9FNEUKdQD74t4mgXYecdJpFmeB71K/fGuPZ6fgTz0ktJnarFQzrQqac5oxWoMNhJa9eBlAX1B3H9ucs6x+pyJiCtllg7OGu2+zTemSyykYFF6gkFQ9C5DNC3zWBk6FjMA+yKtmQBUjM35pxxatlCfiWDfhjpUb9iNKkRMqSdFYmzIvyE3fPbmVAdJ9rFX5u/khqdyVfo9wn6PP1G4+mCxZzb0wQMF6w7SAJaWpQVDJe5hdvld71pADTGAupjxjoZg/xjb8c1LFy+1VcQanZIMx+j8rdWQXP/HF5VUAtXbG2FoL5rc29kyJ9RRcPFk835WSyIF1Ey+EdJJV1zQUfexBPN28a7z5NAX4Y/qFTr8/oggFqLTpLLdHRckFrB+9mV/AYWMMWTiFJXv9L4yq46zeg2gux40IitQEcPvBIrJXqfPB3L8smvQjvMiAGKqOKIxLsSL1Lmr2i87PoYrbwOaIVQO/EDSzayLJLJ+VmVh7/jbQjipLnp7iDvso51uzCavDQtFY9+bM7NrMrbPubdxT6jSOpaVVTnZKAodVNEMMzz2o7R3Sc+1eqFyXQu71AYbFyqLwYt9yaYiGuQiJx0du1aNLrUwggZB3NaSPCoXyqK9fbx1yEMX0Qczc2pbwyHzJyyHdx3V62NTl4uTCrrr8i5OmC2cfRaHT1ZQg4leSpA3Xu4Hlc4U/9MJWaSqR8HgbJBj3IQYRxlYjCtphgkBROJuQgul2dOL/UlapzIM0l47pAPHlwXSD295eM1f7N3wnb6dj4b3Cuj1b5M7WtsbHLu0+cSmfMMZ0vqBp0O9xSLwejT6E3exxZNQoHruJrv5Zo8672HzFBbbYDb2ER3qdUN0g7ygYYb+jrmneppQJWvjzBJ4yy4yDMutqJCtYnEHnC1vACP3YTl1Iiz4Tb5Rs6QkdfCEgPJdpaSdjZy4RS9vWqq77uUYNUoK0bU2pZi5FhMnIr2/bDQXEjOhPfHUSY/9OKmGyvgctPeESZ8nicYl9M8BZdhFZToDiojFgGGpqI3a8wiC4VWsSeW15vZZlMjoPzHPP7qqL3SaubFqn6lgqY31O1CP24O3h9PT0hR66Isor7ZIZTcSbu1nTHdHHtdff3ulRMSusXN3Eg4eWYB1V4OxWKtNwJTLRTcfWL0cdlDLPkHr5qKaDCNOlNRxNCRFv6ehvgtHVvneWAWK4jtlBVONGFCuzZGQJLexm0RMQN1yFdU+KKkcERFadvZiX71TCT0O+Pr9Vgl9Ia39gw1xmtK88Qd/8VvsUHPUiCtGD5KLYP+0ql52uJCS02IHfXj/DHjwRFWbExX7cLaARQabECfdUr+ADbFNqMV+r9qga0CzmI4NGsJUb3n2CpaCRNy791U75CSxFou3PxJL4g4yTyudya6gzIbq5sA5AXXPwcf/KPq9nyd6PPyNDXZLeoxbkD913Kb3HvN2VMc6IUgpmwUMTvnfsfI6zrVDWjDG7khMDPUCAXSFTkIQSBjFJ9du/eOXYgxKdZyIAT09jO5+k2zvG3f5xPes4qzusgrodMR0z17ZugyhtNypJ2iygZ14wzFwMXTbM7B+sF5oBRP2mQqpT2jR0dtba2z50/m/0Jb4YTWtKXbgWjgmFGve/7XDvaEZyJURU0Q8EweKA73WLNHeHgzSIyZ9FsYXogI1yJBDS0sPlRjwTB+QfbHErN8Gl/qrrV4GPj11ZABnKx2bhD2E3avI3yjF05gNtlQGTBS3s0TNseSNDTpah8KtDVgYACKDCTL7RoVAk9cVgut+jUuonj6h3jThMExXAlR0vcgjmZN9UU704xSfNLaDyfTmXJgZ//Fb/3xWPns4wtofcSs7Iv0xVfH/61tb275PQWkXqzYckfP5YuUX0mD4y8+IOiBVMEuNWpbp9agZf1DUi8w6wy55sqOEj2MCdcwcS0wEhgC9EvRbN1LKgP1OhcXyUo4W5VrYlTx/VFdGmtobk8SLfwxc3NIQ1Yf09Od8NsWLd67q/AFStqW/AWANmKe2lWsU0yj/2FiJM640o4UtLqOBaQ8ki0Iu8b/KojTJAe1UN5MBD0a/AaG4Gi1LKN2+2aftUK2d92ToRGlLF2EXMVC2VifnLxdI7tfH0ym20silWJ5ivf6tLQnF8Ho9QCCltBNFF5WHiFGZT/Qq3DOLv1jl4JqdbGd8iSzx7tfCo5l36WAtiBd6GL7xYiOrBpSkUbQUNVyLlpTdfk9M7zkB6HQcnRgZNlho02/fN6YiYNdHPhJfOoSZwjAX3XYY94lHW4IHLnat6Y2uTG8kjMsbszI29diwc/kO0XomWSH+bPlhB8TLELSw0UT/0Hr/SPksVXPiwFlYyWJS3qK6AyXTEqCrex+1YUpefL7r1TI98t9s6G7XBEEaV34hNQSgiS72nK5JBma4DE79hZ3SDfmzQdIwLKadnRWjTtSkJBjjGSkCOA45kvE8mEa51rm6oquLAfzCHbgWnGz6uYDiLtr7QEemSyoDqBilFLX0XJP5af2cH9evbYgcF733185wsTjcZc5xq///DEfqLBFu1SGdnWrDsuQIbtNmQHc5xnJ7eDH+KqNBuF7gJivd5DvkWf9m3K2onDfBPMSYZo2Y52eiRb0DxXZQLsF0eMlnA36eHOzat5G0st4n7rf6QvW41qzsKylieEdjFv/3uMFb6x4xpofY+NhHUWaCYpQNBVYXKRzfLxEwRsC4SZfTd35CFQzHnGzHBg4kyht0EVWjVqtEdFspvrT9/6yZnQMEVK++pTAFY1zg10+S3/IRa9y9SMh6+r7v7pXL1lgyUxcEfmch+mlfXap3lZLX5+8+HmIR6UwBlEQD+Hf77B2IZ36rOCAinBH7rjlr4trRhIDkdDqHwe15cs1Zqikbyf3/I/4gyey+4Aa8BwOgGSnXnIfiCSplnttArgU7S0icYzQJqNS0iMEHt+foBXwU177LcQBG5wNLmVAAOta/HK/fAPBny0cy5m3ySwo+Io4DRQh24sjlqAR6HDD3u/Yy9lUakSg5jmhIbfUMgHlTpWBC19Ix7mTat+AT8dk89zXjqmEcgx5IEMtm8eeST8aEJLAvJdqeAP++s/uU0eLdil4LeauW19INbFlABKmoDCDqOZ/y8S0lTC1azx9lww4udDvARSS4AJkczWJI+48xw0iMPqpu/eXgeBNqGv6xTjpuLaMRIdOXW3xI/SCg26zB71yxTpGD0UzEDeW7t+TArCubG8hU5Y1SLzMirI2ybS9N/jUPlcR1rK7jlI7WyXiimnOEK96lgnYeYKkpCDPZawoMIoGsLwAV6eNJ3i2tbsF20wl7rA/TT1/yoz1jHT+kEYwqnEfCMdgNqpspzPrS05z8IYJ1IuvfpBh8770J22Bi7XBz0POkNEJp6Xn4mos1wDhVOOgaA5QTlO2oIh7vjjyNWEKfRURcalsQtsjTqbzxdMpboj6vP/zoRUKtW/2hCEhtcV9fxSHxfkpwH+mSMmZDn9/AcMx0Hz7jryNmDB2sYfbxw+0x53onPMY+MGEX6PGomqtCHREyLeRc5YKUIJwrj0uYir6J1biKrUHY2BIrOAt621e+g2MBm6O+uZHuJLAarZsEhTVtWQWn/hhQjD0WeIK0Imy4/OfuYSCWKPDBl4wuvmrNgdfrHQWKVmFFKtx8+KDZg5riOshkz7gs8E72XzwDZxswtW7umoVvxZSiWaw5WSDUviXMJFmVkuZMtCsoXQpear2uKYfKxi/G85KoQwiGceLIQQ3QidB8jNpQvtspvzqIHI69LpELkHuMKbgqbJ1i6xA6vboY1ynX7E/47tjyK3eBffdF5Wdx9+ReyQ3EkeLw7Lp88wLGM5r1/WPPyr/kSxcvvBw+foX8u1NoNv2fJ+jyeqFH+a3P8yZAyHNHF03ebHXgFpPI7d6wxrm+yhIuSW5VJn/IeqVwSTvM5zbTs3Kabg32LgqdJL/p29gQutYTG4Rvr+ZRXAS1mo5tUwFs7XIQU4FxTS3oSgJ5zdKFWloqX1uZR/N28poGf8eRlN8o1phuhUWBEjTDQ+bbXw77t25g4JqWz3ZhPsNoNpNovqGzbx/HcZInvv3GlRStvAvlEkEsbYFoNVAwtPN8EPs/eoACZhlY8Pl7ylvjMY4WeZoQoohGq1dEk2eJTW956XGnYIE6AYeMt3qitpAB01+6VUGoeiAJXNpCzGla8ctdMCtRzuV1T5FDmUCh4CXkpU6tzrJbnopB+2mThuoZ/K/3BNg9o49z1dOs07w6BtaBR6ZCieFyCGDJM6Je/ZibX3qULf5TIO+Tx0NLIotYWiAypJKarnsvEAPFPB3eiVKEcbkU4EB+XSiuJ3g5FCF+F01NBjRo/9pkI0cv1fuy/y9ggdX91OZsatghNqjf6It6yx9FS5kloje35jHhl0dY8C6wrifGfaHIphuGRAMZmZbD4URcq1Q9q7aZj8v2ZV9AScnCdVmvzSundw85fys5o6avzmhhVfl5mmHmcNPUvKeOJTADFS1vJ/TuhOs4sdO8Q3mW/IPl4Zv/qo1jAQ7bLxBkzCpOoPl0ubWtAAIN0HawGEOJEfdaBneKUzmqEnl2z3OpMLxfAaivGaasOKZU32RDyw/gtrM2xSjXMB+nqTfkmc4Ktj0zAoa4M8+1uwffKxN62543+vGyFSTdlvy/p6RXJP1+KXUXj4WWNs5rsFRohmDu8pNTgDiKgZTfNP/t4ilJu5c0TfvU5XSQctfJmEPhV5L3yWS+LxKpYE1xsHnpYJeBB1oMsO29LSMdAi4Pdq2DhDS7zUIpFhzY1DlADVU0BXXIe2+j90GF/EsxILq0iYGHRmD4c1unghjtEEy/KSe8c0Io7W70qmnVcch7VlmFm3vhOLXq6k4MH7WeTYMcZ3NY/T/qwv64gqUMttsh5Cn0n65ADQ5iO+uu2i4SyzxpFfZPeg3CFM5KCr26GqHKNsurDXqj4BZGrVYXK7Mj37Hvp2Zd4waUGs9dOQY3PAjXA4/dVGdOXcoxcEQTEJICKSiBIlE52kZsQ75VClMpT0neJr7IwEq9pDFFG4HOyytf7vVPr75lJf9dyAyw5LWRAPbuSvruOWPAOvOVh+ee897/JTEBASNVmse1O3K5isSinHUZV2+jTrgUQyRYdpyXqshhXlXti4bsVZHSq/rLsfUowdcaXQe0KBaKvfrtR8KSrMQqMwGZ67BcEZ7moGvF74AG7XRJFfBdcftcc2IV/Ocn8HOBPNNiVBzCLShEEatmV/AGkgNxMUGPk6wY/fQlo+K9m/3FaeRK298mA6BkEShtLIQx7I9L2bBGUSdGqt+9l5ndlUzPznHGwGAZ77Twdf85QXn997qZfzX1JjVjvFhYGCXSnKZvn9SogeVXfh0+ZkWqfhZc9TVMi3tnGKJISr3h7KY9JVXlXqvo2dnCd/Mvo02fdEwx0i892k+CXBtISZgrM/23FMIuoOuajXZxQcHVorarvE8mS1d3ucKIAqIwwesr9B466G++850ClT6vhAWNJXUbfrAGri0P9TresPbBH6GdTqeJq1QtrnOAMWVjuidi0MDLeKEyfqlZ60nr7EK/G2ZpA18y6CxmytVkNj12Uh2Yal9RksxkmZB4KqKZA3l5WtkeDQzLogX2ypvMwflPjXCubTVFbKOuMU8DA3Y+hK31jzUpABBRUIEgWWVAC1CEgVVA1INaq90pPH+6gQM8vaHc4mLwKOI7f/TbPH1/sRNnXrRREW4KfHuldMOSZpWmi/ATEYGqoXxP9cd0tBwc7a11ki+1YSGrtO3zuZgiEZXVOXGhQE5nC+TwyKmdARiDDdxrXa8I9c/SMtBFcndqLijJS2IdXOyKA4M4d/3elRzQaby491KFZxeVS85UiOeVs/UxLnt2qxAL2nAVYi6QelPgNQ7VD6ufdNlz7Lji/sHCWjc+36Xjfa4oXZiYunT8SxVKEKXBIvy7OfO5uQJbjHEjZpHRtNSsfHHFx3ujUpyDxEjBoesB9yqyTFiVM9F8IPli/nKgirfkRtAPRXYaDMIh+Z+iCKR6wW1nPF2pdBuBjM5rTCN6DoKHdBeAmtQtkMsu+k+Sw1VLVYfVwOz10SuJ+kdOwHfsbilUurxuccdAxWy+ksGGg7l5IXEOmaqQiTriUNMM6HtZv0928M1ita9/hddFs6f4vM5cxnrTAIBY9cvc6I1hLKnYxZ5S9CdDAQ6BML/y7Rtl8hBidGIOfEmEC/jcwgroLljrOAqETFp2UMe1YFNXs2+DcM4nauOikC6vysenaWJP5Pqou4OkuGMfB5bovO/OqBsscyK6rqplmDml+IXLTF9/SvtWv4KebRw9yYooHWHm0J+FerXVq1lzjq3GM+R2+8+HIPN8oBSE8ilviCvHEL/4Esx2ychtxGQAccFKyF18I4RJ//a2GlefY/LY10KlsnK5wWY84ByQVttfOdT3fy6erosge00UVS9l2Lg3whNNWxWfjJV3qrxRRlWYVWZx9WLO5XmH7TzTiF9H1KdsaHSh7lvfyeXuYM/y8CO+zfFDJ7vbIIdd6tE9uyoixDmw4P9Cy7kuY5UIc0TRLsIuPnvmA6KPytK6/PsPWNxy29H7Qi5NXlbjF7QPhu4PvQMpIou5phoABSkBmn43e7qeCyXZbEi74E2XVLW08Fla2yiRt7kl7EzAv4vpuuTBTecFs/htoiK5HeECbwjyRfYRDR6ENQDweGO4+BAwC5+RNtMetXZug1Gtn84p7/r3zAo0EJpG9alCjMTWTSArCGhJI5Ky1WCOGCmUcDAACRF1tb6iELQWH4a1OnBwS7nDKRrccwSy3DZrOyO7C+PWUR+8jGt7HhHEFFqWvv1QwX7rweZuolDPS6ksnqVvNkZXtI3h5Jl3qJgax+uMy113R+jc/QHJfktWx7PD/qeK99eBT8Nydffo5SbjdM1kzP0oJWskyRPKdoNAKFQxqPDOdsC5CovuJaxKufHNKo6/Kwyp8B9yURH8ichqsaIFAQtGbg0Pe2xdAYy30XWIjsBibpH0ElTIcLbUiKoP0wu5SIGXy9DAaUr1I7mHGCo43IBBU0OoLQcJg0BEDNbLIhVYQRIDNdXEBqblvWMY1WC3JPY79M1qaAXajusYYqwrS1B2gSUAVeQ5KbZ2x9ynZ+rwdtb1rh70qztlut91izIZ9sZFbJBL2+LfID9d/DlEjD0W5h6trclwR7aTLC7glP6mbwbfi7YJ97d+5Uwwnt/ht5VTMxWG0A2Nuex38q7q5JcMHWsW8xPMTba9zWNrDHs9gnsox48UmOsD4GMr3wkPXScx5kWfBYyJQ1OFG2jFz006U44H4OzMkyGjlATvMOHJU9BpCeQJZWnpko77jcaPV41iNjwXDtd2UBZ+gkSnxiArynqT7b2OWUfbkES0ifaykt95RY3O9DdX5oUjSOd1MPkbQ1kSyFaV1IUis4JwlQQJeVg2lboHMnulpHjfOYnBQr28yLs2NZ8evk0+8SySEalfJBxEhh60Z55v8WNTeBWkQCNENqsWfXSaz9xPxmgxVp0kBi27EmBAK9ksKcaMVrEhnMXT60vLGE+MBKN3SJNrI7tP1kCRvv9uZdYBIUAGnAHh6c/nLW7FT0WyVsNXcTtUeXv2dIiA4PesTN1zaEXjIT8eCQGGtrMBwgl2A3c/rz3o+wnqniPN2OYZnu6B9Is1WEUX0Sn1xwPfvgwzuz4lzvjKB8kb9Ftt0xaHphFNlVNyzsShxELmsT4AaynEt+fujNrS4mLZNVltDfR7ErRpMbSzzE356D9wK2yGdd3m3hjvX+51YLieQd/oVYsXkpf1YdMgv9jD0sJ5arGFoGw9TkAr7r5JvNmgX/YVvnF+TwhAFLJGVfyET1ewHqYEdpSSBnnkqn0MSUujhesP0EZxOgQIvv1CWMU7MzGOiuPY66c/vjp8Od876rmkn+huqGFMKbJzPQa99AqgpFvwRE07hbTS2UhxZnAl5vF3NM4simcf8vFkYVWhv8fryYUP1pbvXv940u+E1KtjOsXS3cWOkPAu1/QK96xTwRaRZJvo/JsQCIWsetbXjpe5t+5mvaFVeAH2uyOqZ7DHK+8ZLM+4MikU+hi34fy4qSrxOpPoM8U27WqujZBhaqkFc21sKKxAdGNNnapoxzjV9HsDIMxGQJlfLjTOq29kytUagHsFEEzBXa47y55BjFwqKAND+tKl1FdgA+txOSLCI2rlmy0fsKrVrLIEdm6J9qYoAigVn4h4j2ptMH9wmT9BFFbleUseZPgX+YF9enqF41JyvDid/osYygjaYsOk1wbJfrFrA3FAF219SxVhxUBiQnQPk1JEdwLWfm9EONeXzZMgySkKZoEnAZsiVJSsUTFV7RhN7DmFWsawZpL23TCk+/4QuYSbwBZCtcH5ZxUuYy56kzkUo40WoRwU/vDYeUfM4P+kM0xjYCpVfD1XTZ5IPTXoE08Bp8IJUsEtBYuaCrl615jjpr92t+AN1EE8n7RHL8GSfjvycKTRpk7e8/7eoYfMdcGyNSkaMqHLhtlbpAQMeEJD4l7vc2S6jWP0K0/vhBWbZ3tAPrNIkO3tWeIn/hEXTfsL8TaOEoOzQkjmnwMy5U+egsY+hyoqT0i/NfNNZgXHbHu8xMfmHRwCAlX+x/2pAGY6AUnTaRDosEm0mwR/cupOXiui7ux/5h0kEpwYDjjbm6q2QgD8GLhy1mob8JNfQFy2P6lQLHO/FMZM7DYWB8xI9cqg4eETok/P6aHKt4gFWTFzUTlCDHWSXZRTSM8SJaaVgkrPgTgD3B/F2sKGqfAIw1ADvydQ8B9zcLihHy/BgrDM+fKTBpoRlKRofPZ5QhQonxgNNX/4ZkAMol9Ishpz93/0MGjp/AcUmsjEPW63LUJnn6MxQz4yKcixUwModidjpqNqC6HksqWsrfbBz+KpkMFdSAcx8LBdCgVN7t49PqZPZLgoHiz+xWmSNtEFbOUaaw8g9dPdMfa9E/9VS15jei0jox+aqjpk2bIAc3iQTY+l3xu4Q3Oqr4hWKSLHpZ/tnNY4UOvrNJuTD85YxTBy41tNY8VuL1iTvUH12Yp0okj1Fbpk5XKSM1K2WFWoD72R8pRtQyYhDLdcbvX/iiHNyrEQaeD/y6KzagSV4DbEEhbe3mP0AEx8rqH0pz9gxbJ/qmz2eK9Je7H3wR+ZRNUxATGMgCvYWXPZRD8UsY4D9xjA0y2LIPBpH4vdgM6cJe5kaz965dKwYH0+8x6PfyaYnS9bnEvf3TlHja3D6oYrXwyA7DWaG54qyaOpy9zFOrG3OqoHeRC/aTUMF09C38AhRlX/XSfNAFO5djPQhPfEfsxR0+6Eu5F/d6Y1iN5CJZ1AsYmuL6B6RbbHPH0NNiT4ISMgC2QJfqNyLFtY9sjJ72zJm2mLssPJM8j9J32OSfwHxcfL8mRvv/ocDSiOZ/m8EAJMbWO9ZhRRobudxkTsSQJJqwDvmLBYBWQfmFRn0VPd27fvZtdkSiS1RimKY48pN7ivasNIHb24W4Ui2R/Ln2pi8Ph40ah9FdS54UGx8rGvWFYV45SuE4sxGJVS/ZTmHLASxZBG39XxLpV6xHSJ4ItMZeYVNcip2u8e+VEiUNuORr4kuyXPsbyIht7p3dKNzJ7JS16ed23dKzgcGbpl8fxGeoJeTKd5aLQy+d7rEzZ62cb6Yr4Qz5rmy+Tzxzy24W0pwQAmiDvPHGCBF7RqHv099rmrCnwzsLPEBsmMIcNeJlkCADUkuHBr+SlAfXMOP6BhvzaZC7Vc72Al4z10ezjufqRhM8JKgWlFKueUtMj6EUkjJejUzj1qAqIeRRnZMCeZLfyJYFCBkn+M2n9mVsJL0DW1iDs77XVdN9tCBwKnQ3+2Yehq2kt8L7susDZSuEGfrLIqbevLxwlBph4AJ53j8w3FiWYuJAR4ybyq9a73M+rpI2ma0zBK8dOTl1Gta9zuEHbVJhsGYJ/M3FLI6KMEByq4e33Hlt2MKT6LjPviTXx/ox+9XuHk0aVaIOIEEwN2YbpYASODijQzhp9hUWFuWAdOTgCEC8c5OtdX8Fl/T7X0jruDCzhEJcWh073rviXaN5seAqlth1yJ68b0BF/D4lUWpticmJTXElEbeiT1vA4EnqLeQBFDIp1XJQ+bg2yj30dKbAeMz/gAbPw+JPklzOpxAZc7T1txeGORgtJpVknMOdlNuPbpWFav1qwHC0+irS2e8Icu/Vjrv4Ezo74l/VmvCol/Bin/OKDq431AbOgDCG5IQImFjSDNfhX7wThyyEWZ+BKSPGTIl6QzxwGVTUUUK0+qZvfF3p3A7NFT4wpFu2GU6TUUT32CBb/sgnCLkwbk+vr8/Zm4au+FYRonj2tRU7U1l+eLljFA3XFeA8GgWT5sGBPtP7qtrk3h3lAXEkLJZYIyJRzFpdA+i40GJ7NqtOH47p78sP4g5q9VzvGTdlVSDkkRLaSPRRn/FMPVDuHTQxs9/c9LjsJ5IoQkqMSM5l/Iu7H321s2eXMdpEilfP6P1JFGdDfLZCTh6TOWXTpuSyMefo0RQk+aU39Ww1+QzSkq/hA8xG/774KwEqMfqkvWMuK2H6tIRYwEvYn0wS9G9cJBvp4SXekvk5rYgzbvefyM9w1LBwRHsjnswANZWvqMN6D8KscZhcJKzyITl1imb82Ez2Nu/82tCXtA5n1BYbBM8TtnTlCxASs/4V8QQze5RjHb5gLjjwIEyM/FOreWs2C6XfstCzlITRO/7iqKR62ZtcfSCXo079rfUeRzmRwvkb3glS9AtmFY7uuTZFg7Kc0x7NDlJGVt9GC6ar3tpWwZ/CAnuQpDOUGy9P5kGqGtzJTyQMENUm8549JfmDOiShj0d9N0mlVAUBeAL7kp9L9MkMAxW71IGID8rx3GpjtBp/ANW2Q2qwJA9GPKZY+RSImzIz0qQjt4gceuDTuzTn7ba4OUAEnjMoMtjk7qyFzt+P5euVr0g8DKloacdD5zlxsWwyvzcaVp0W0UY0w8m5Qq45Uh9SkPm/LlsOOEBZvH2jiU70/bLb6PAcZ5g7ZfAIOEgRqmIYI1YTFzhYejrAIpSngtFBsYOxV9X8Z/a2lyRsusK2ta3Txr8na9OLawket+SdqWZeWACc7aycg3S83nyA8HJksumqwzPXPhvHt1q1xw5eAyajEPAd6SeRX8poe2nDFohXwDTHLB5Q6DTZCSHROIfVlptj1e8BTHjxpxa70bPI6TdsTGtK8rP6xEeXeXlHt70I7phir/kttdsanmIhLVVB4tKzy657w/ZNZ56LNSqVRZ4tio2Wf7Zn3sLuaUa1/q6kbGPY5GLcchL02AgK9ZoJoCEcEERc7r/Qa/ThS866w2CySRMWFUOAwDpPapGYJNKwW/DqNfBdtdslR6FnnkywHxO5rRO+iwFkv+e/wRfpWZFC8NgGmS5M9qwZd6Fv1iFAohLzk17YW6Qtg6/XBnCQvy0gyOvp0ke7JDRb+CRLCDko97jr5ELT6n6yv7UGIKzFdZBaUvICen6jEi2RhbHHR8Am+iDvrwp4u5i0VppA0Y2bESmCSHaXmLIV05eCQZ+/35eXsq8r9B5GarvNjswgt9J/EQ76/IRK02i3EX/GHFDor7rlGnwpxwQvNqKa7jbVseQidEUJT1yn+yfuGzNzea6q7izSyBU6schuAX+lZYUQbQ2fK2/VuA8PeDPg7F+Q+0XyktuwJpyPRdX5TgKcqTAvmki+NKCrFmhotywPM62n6XqbRzx58YllFHsYONA28/lzJVaIS3v4CqT/uds8QnDVkKp3b4oJCsAL2qvgEqXFdmQeUGWO/fwbNqtS6kQKLcxWi4w2iqiCCRiktst5IumX8ZbsARKiUL8WufmYg79py9ZH8cyCcZ2pRPn6hKkUWFipwcO+6+NGlBQj8UdU8x6Irmb7D05nGmH6pJrI0JhJ5mQDzsGgtBnoPlQ6062bePuddf+G0iiERj16zSjrKZazmsOuO4FjJkcsKvUKIpm+oKn9q8EBh68OVBxOPSIX19NdAjMtQgrxIW1yBR3y0GYhw2e7Efn7Hvl3n9t7ttbPyHlZuvVnxcNzmLuJxfRO96UjnF0uampipftP4jrCBAyB/WtZhv60FJgAtPbgIQCeVJgO3KLtdTStN6IrJ4oZqX5kT2vTvUCk+Lqrz0ddUF49Wi6H8XmMttBbhAbz04lKhUW49y04I8uHmWNR813WpFvcllafktdSnN35XmeM6uaSh8nGQQMT5xUkmYf21tYV1I9frpCIK79wtZqofRJg8wXlhzhxfjIkz1Oobkjjcxgvnced14fPuZhNgYYxhdjgnxWNZYYSqCJdTqI4lTboOU+5yP9k5Ou3DlnqsDCvBLEYyblN75KNybCS59pO8RUIS2nYLz1pCCbAbXxwBam644vDgpjv4wOjkidGmQeihGvUWSQlN9OMVk5GeuHHZ7HxoYXeTZ3MzeBwWk5n5n5J01vTs1Mxcst5hfspzIi6shKMchylqFR0P20w153Ryj1vlhg7+9jmrwCj7nrKB8Knblza9bZEH8yPlXpqQSj53dQuwZ8uVSlE/d0tqjSqSOtUTtgOdfZ9XYNe7jaWZtjBqJ0AK0+9ybeA3FNxJE3G2PylAUHQFGI71ggrdyGhkz/neo9mK9jtB3QedgI+qeTKNR8bgPXRilZ997c7SPZlonC2UC949J4epAZWfYkfHRejyuNF+3iO58zkvxhq479GVbl9+adaQHU3x/UrTvW4v9OeVFnZh2mhelznGTcnE4hge5R08Z/H+Nvv78X/fMi8kgvKZg1IlZrzbS9aQiuSZo/fxcnESL7KaVKsNWB+//yOL5sxjEkaNG7NxIROxLikEnEd16HbYFI7EwtbELxiaxqaOSYIzYbB5CODARF8zIzxfxisvK1Hhi+olanXbGEbQUiJdj2UK0C+g+dfPq0ToIaervPiP6JJXdYZnQtgZeerbomDvzvjK+Q+Pl9Aq5djcn4OevyGXy/mjb6kgLx9WKRF1ayB2hfcYj0aUYjvA0kd/4K6CKW2kWRkKzVGu/ELpBW3eIs5cdOXyJaG6Fp+16nfpSWBYKHr/IVYaasrQa6iGI4TFn0HeUXwg4jfOSAMQIqrBB3bYd5fXgQEFPQJRF/16o2K3QJ5lpuaXkJPlTTHy1S0WuGre3plYo6/a9tVXs5JeUD/9TuDYPipySNCFfiQGCoPf9yedicUVhakN1aZyD4BBKkHtEFUPHTxsCELGzwKJ2mbhJ9e+F/reCeziODzlV387foH7wgy4rl7QwLjH7tAP8FamLlC+cn6msNc9p4WZw8jCE2TsGX08UR0M5ae61wHAasB9MPB319heyO4mdqD1mi1v+Bn9DpR7MDZZk/I1TKH1UzFe45bB3yzlLyHI2Jo2q8v5bf4ohtoeB4SqUDgdiDD+U7Si4lSv8mauOBsJLF/CU+ewrWh/foCufcnkzUvADUlDtnKsFq5+pc39KBL9Lihpqyzgv315IbU1GHHc4hCHvVH1hhZmfzN9oV0RATXeSR1bCu20400Rukoly2qj4WhU16l930uYjcyN/i0vyvjqAIGKs96haSxoFxNLMt/Qtrxd8aM8kWQoNWpoVykvZtqu1fmQkddCstY4pZHhw6RjmdNrUYVsN0UuBU9mKiOu1RwY2QUOXsIwxa+Yb2wRbPZRS5J0cBB+T1GoPR1Kll2ipezm+ucy/WdfxaJzsjM2OoO0aHD2bx3OkncDakcj6UB9BRi/v8SnO8ShXl04y81b3kPjWLZ81/aNkJfbrKWGpHrKEAXb5CjlgpJSgEHn0f++rr5uyPxDHK/ZpSP1BUTKKlaZyPU+meSxKKEtqImEYbcQdAfxkf1r4Gpwl0dfv2+wzqanXCBJA/NiheSZmUepqRL3tK04KdrUVYHPnY6qTnK78OXiyz3IBbnzb1f+NqIeq6jmPNufw4w40PC/kkqS3VD1OlrczcyhaH5Io3FYHXNK0t6ZLI+SZUdDV3YpgkwZcggaB31m6ZjIXVIIcsz5VpFJ8vnm1pNBQqUiRK82YxTodIIet8vnSJX0yC2qKYiiFXzn8MCHiqRXjTslF1+vDg0Qof89jzmpt8850WArpWTmEIysO356rvF64LSA18dgrDZDUxjhUtiWO3+7dbnfQytN6/Y8B+ZrGSjOTEOuI/l0Vdl+IB/NbcqtQs2F/WdOUVuS+psMg4inbZtPIqebfV9tg3zpF1IhnAGc8YST2vVwB0re8EbaOyFNwZKQGIT2i9bQd9d6WRRJJXiyR/QCD03UCtNnqk4/A0+lZuDFZJq5I5TR94G4/WCEmfECel3bC/p84gE2IhTb12hfZwO6Mv11azX3J7OcUcoiQMe+JmopoIBGJMvsQRNWFh1PmCB4Ml7QTRjRShaCyRvZdv2N5ecnne95jCgSz2Ma8IcwxjDy3+CfrReLkqEYS+s/PLJCaJBRqQM9F4r+1GzgYfiK6PSMhmNmKEuCCnMOG/uCvpxvy3U5/oW3QQJ50x1URd+ifCx3Bun9yEyC4J8p1riTdfxyo7/bg8MRI1YTbyh6l+AdXzspbfZgdc1N/7o0/gl25S+7dYhacuVjlREZuCAfQSvdsXNjHCDC27c/A73+ISDsrsURPFn3acsletAmHx/u+Y8qxbZgw7MtT+GTcg5U/LCiozO2qkF90iVkC0W7Qidz7mjj8OYnFAMKtVCDJAfAoyiDSycfFDONb2gZ7YPLnoLX6qEzKMtmqhnUefrXPnHuRfNZM4EDERuYrogNPN30Qh1LgvZx0XRwaBBj3emDLR3q+pY7K2sBmlJWwp9WWUvDUTwrdxeBfu1+Zh3uXs4xn5am25fgGvsw5Fm6emTzyY/Ic3n0JFMvnkrWAmmg0WlfJ8o6dlbc+9zG4s4YcKTW5KOY9YwwhpCdL+Q78lO8l/yfFvkrTJ7UtBxQYYfkcZv7V30h8xTQYbdgSObNivgWpRK5uaEpxrQwhxjv9IF7Ffa0hde/OP+H2W4qzN2iMTsbiZiJZ6MklpUg5agOArE3TqxT8yShW4JSmokWWG+L18xjA8lscucyl6WhiL7GlpbmYV46KKyJj67AMDh0ot4f4GUuZtxsFMUWnhJX/8UEb46zjKse0I7hNIEui2mD66r2CBeIX0vJrBZqlIuo5jQCi0EAH7LzwJb/AjXE+NmzzCCJWzp5bxkh8mNVr1ElLkYJSWuNPeB+sfBrvQscfUX51r+N4FscBgnLJugcahwqTYSNXai9/J0UzHxJPR/7Hdx3Mj0idB1WhEo3WXbO8PJXA7DrLYP1RKuRLmOyipwIScgonYpO76VdJlvQ2TFh+hWTnjKCIGRtrtNU37RExTL/fjlvfyuAnu551wQbwJwG9QSn5pScPZpLOTPFYFqySybO3zXEPFWQ3jYy+CYcE9dB1OIdWQqIagJrSe1hGiPStk7NmZSiQraMu/6B5eyR9oGPPOrZAprtINil0PJOavmBEg4ApSjK1HmpDEWvdboGOTfTiOXR7F3uYBjsJbXcWCRteJQ8mAH2LbS8cKn0Kju9CWLDoj8sjj7cjUO5pNy1VxPNCqgAPH23frtuIIIAVxU2TuS8weSTsI1X3t1zXLKoNzkrYVZPtHnxLjH9PgDE+Gr85zBPmikeCE51PFLQRe+pELFiatCYZXDn17mHGXlhby9RAz5YE9aCxTw5UEID1DG7CoOFF+yblPxHepumF3cw1Z7tLD7e4sv1/nrQ2ilHVgroAnZq41vwu5CgI9W0BnaT1TwfrQJ5PUePudwXAcQlhfHIAbYSjnC4hTL/WErevvGn0+ZT7nr8DjypisPi6c14VIw6CGu6m9KJ3vJvhV8r2dYADtEv+KU23ON+vPWKrWWCx1SCPwzrVTTg+kLoP/tmfOIq5qU0L8LR45r5mZRqA5hS54uJivFOg3LD7NBdbmyAp4jnh7OPVBG3+XagD5Nf35A/C0NP5Zgx0Ao94kHYq2U1IcUZMhheNn3VCQCBlSS25VJqI1UKvqFsepj/iioVyMk4s5OV+p8cmUfpxmi+jD97tgIDWp7GbhGz+9YVLbXY/LKj7NGU2TPdawx/TCL2/7IGW/vwEyMPPH84RvSbJD19TNk/L9Ypz2FTNuCZtW5TFC6Bsu02fVrVwhoaiZqisW2HmVvGNm8VtRXLfkqJbXwxzJCeUPbP4qghsb9AQksMvef1dMrW1HOa+AMD60+wawc1NLcAn1rPRwFXD76+8kz5035XmisvWTDT0gYUZ5Y5ZpQHjj8MEvkJQ2SKm+/guOfyuczfJS6oLJYqE8r5oacRbEKgwB1tvCAAFAeefSEq0Mn5qJmANN95xH3hhzwEHVNVSfKFpY37HVodYgM98lJM5goutRuDGzaGxuOkVHYSQ8FwixWjH3DpmJt+VzzmyOn7Rx8PxmLKhu/9lwz3pGtYdDNYrquV5kQ93Cwb2eBoumPjug74+1GOpXVRrbobIgncBYMGzARIu6b7drAPYR4BM9tsYCQ9idhs8EuwQm0qBgf4Gol7HxzpBqD9h4VvYJ0XZMXIIWNBR3xF/az5wxdzISPlV/zHZG7oJA3hoRB48uW69UTb83mao5A827tcDK0zLwcl8FfrFq6tYC93P2295jHPiPZGU64hOxbPO2bZv9w2RYVDrgfZIWgctTtpRrOPczDTNfBuZxnJwcADrtLttlKNChZrwG6it1IySdvc8n4nEb1MsXjFRnZJXUbQLwV48AS480U5+Mbo+9ITLEqi7nCqjnG9nIS8dXge/KEExRiT1QcJMajqg2pVisYVxiqvm88Ax5Akbg/4QYGVoqWdXHn40TT1Nf8ww+5R0lc+ywmH80OtiBd4oOWf1DzlQKcTdWoU3qM1+aJjUHCFhn6pyzK6ickq9AhQN+Iswa3gHtuPnaCs4KSazd87M3TaAg0eczzrFAGKYWxopQJvfyjdllYSZK4yxaCA3XoRIZvpGBUCLuJZ9WW1pzdJpBoO71ywn085ZigA5DDLMG1Hu5IfnFpA9xv+/RGAMyhfMN6VP2LpwqX4WthsfOTfiZnEMeE4BrnZBFXWdGoyUwgSH8gtUILDG+uY9GyucwflHmsnZTHPIqt70HwiXOlSIfHOqNJE4TNOwAtfon1viofnp+MjS/v8gg7SzU3bodd3izs4QQZRnUakEQ0ny+ozfdTg8N2dewRCX/U4/Jn0RHZ9SS1mWdnzjYxiTGj9OdxhD64DscRY+o4/cZ7wEhja43qdnwE4MQaPxEkvrAd5woBjlqO+LimX1IS+foi+BX3Qc9q8mnNJ3OYWvsJ1jV8h6jKGh6tkwp5mfcWTaPNtvitzgSCejssOU1VEztRjdWChjJX7TS0YrWRHMaJl9svzs9fqdmpfIU4G1jJn4MpCSdkEIy7TQrM1Qvx9HW4o7cIfSollbdCvMDdFwE+zJ2/3NUdyvDqTnsxEyo8wryfvoUxsUs4BGfdyDvW8soOvu8vuK6o3Di4cFRtMmHjiyr91Lj9xkrOU724v+RM7Cxkd9XTYW/oBWt7fvZXxu2Wb466VZmu/SeqTbSfLv26T+ytnhYnUPovmiKPSjhl7Mr3Q9/DgJHXVQMagikTWqlAYaxPoQtM/BYiWPmOEU92MsIkdlLQ+evr3Tufv2XAxtCBxb2XlscC8ResU80mXtrLV24uG1iFQBnNkSunYgOKmyn4rjiumGJJZhNM9wzseEMxNnmJJg76+FckHazZ52sEwHs9L1ZgvmYERMLFBOxtURQ4HxsWeekBt8+PS8gRhZ6iKzxBzpArDQ3R1XUCjPywXkPiKEdgZX4I03r4m5MzYfD4P74RHOXyQzpXX3URw2XbYvlU66UPboG1CM0plpRuKFbrRPs/SeBj57iRppJ/4U2SMXfYv9fq22bj+U+WOwiPp2iAQ7NrysiiaYsuTMVVOtcMEXO6jt7kcIj3er+H7V24+uILlFtSGuFthVXFzaJkCSUbfB/hEkuwBNjAGoRDcc9t7/kJK1J5SMNqWVqsowmMB1GE/g6mCtoFmTXxKHgo1Lftph3Ri5FHFvTYOLbCYGFLf6drw7R/3bLnES8UzykkzFrVrYEErSSFrNd4Vk5Ci1VzusD7aSfJyDQQBgEZFyX20isr0yClB8Oxg2qaAtjq9FSFm8WnVZBD2yuJ8q/ktcHJy31liupK6RH4nTPvRyJBJVfY57LFy1Iz65QVG5qimr5RzlDt9YPIEl39mm9D4S945DYSa5qFKiiRPeSQe1KVcclPCCbhdmw7sottuv9TJjJUYiitLj7bl5MLGdToeDxSS+wuKHmttse9Rx/WBih9ib1yhOY9cuZnYGQcoBa2tFklDtuWuvLOaPqgY+17C2xpjdHsrtJx6JKqijvsiJBvex4LPLuOZy/TXbZM5rNtPeVv1BHoxd9kfAJbjz/UVYyNrOuI848tvijdXjNSL95B3LdP/CrMFXUfHF6AoXsLZFL/ITG938pU5ktI+S40SPdXcwsZh6w2hmujMxKzpKHeZbI8iH/OKwDs/KGNVAZkrLl9dDn4lgfV6tp5V4YGK3dg5MLTRPQI4EbU83JXajxx32wyWSEnY8q+8px4bxi90Ril+gjDaQalXzYTDjVrggwGJrQ+CCqpKxfHYMDZnolpT0E8k5TwUVzIJ51++lrS96a6zhT/v7HSrSMuNey8rpLo+LLrONQRyAUtBoPc/AlL/AS0Zzu8vvxU0jAkSpsZfNV2pZ7gPLEzhrM0B6TJWzARVPX1h4zq8ZbNbCmml0cTTpI7ny9fxL/AzQSeeX9P7Lw/0QPXGbM+UlUKwhEq+rOpoWcVYxtXVnwXqCkgZQMmBg/aix/QrSkWMDrsOpEM4ulFf5KpL1iyetvsK+nJ/mMpfwJR4pTLiqqJnidKcaP6hC0XV/Y+h/IHZMX72ml0ts/UkzC5ioMIcu8rmgY8IUwQopJEALgxmSMiYufDnxWbtCHTfEp4GvwSLzwaQzyNL7VeBmZoeVvE+OPqtYIEpw8qSKPv8k5FzKmcj2rH0+uRkJ6UwqHKNKTnGXVW40BpCjJTkcsRtnIGbkEDSC1oqkf8D8JS5AkFgDo1/1a0lOalZ/evsSiDDEj6u40m79Sli5VKKBajXMP+VggHNyrHhIcLO697BeY4Vc5rSWov5UdB6s093fg3brv2iKzBhXPy3thoGIU+pWDv8jtKnnL8394Qso9iB4mgOEC6tbhcjVN/AD49aj17PpwHBrQj786vQ8qWcqq6BS5bAwb+0Mt4uxVroyTZNRCQyKQ4HcBFOlolevT0ZpriKcCVMeaeGrlWTEuHKNADRcYEOBdx0R6jY3oGEwVtKLxwnTlvFKg4Ktn1R4jpDjbeHQ7v2P5CxnSfOxPm8dWZ+2Z7T8kF10a/3YVR8GqfQloNcRZFSf2nzXsVD1kmL4G208TGPQJnIToeFuDg+m8scLchwNHWqQdw4RCPx3wrVYIwxeyul8k9UpeI2h/3qo29rWO4/bXXbXNjS8wcJi/5NvGS1i/svMu1w2gRiRUMdXr45ejG5twWczhn2osoBkhTTwcPhWsLH0SpVkryBX4wfpq8BI9jm8ouhsJsEDwuMW+0vQx2+bosTmK6YcOgqXXurg30LaiUzNAj3G08alHWimPJ/+5jWhqbmSz+HSc9lXKMZYdxISDzXuzIDN3oVGNYfy1viEM9QW3CK1ti7xqyrBXO98PcrFHpcq8s91NCJWiXPS0b9gjTSOE6Vm9LqeJGkimKt4+nc6ElaOQHJ1sxHCOidBZcKqEW6+vJreRwrK9ApQpGPGOmVf+SZ4Ar7TR4VUCU1ZlTBdO4eyEpqGPcMBh9aMEIRQf9kA47eijwh5TWSAFJo42ZYn595/L7n30Y3MOeSFXvQHkqTTAqNvNvJOKnyQBSdnHzrevgN5+kpNfOjKfdQp0RaBAbLRURwFmFyGj9iecEHfXdda0T4ri/TTH/o/pX9fvRVuKOS91d7tY2587vtG/URX2zibBlAVq177AFmVMi3qx7hl2dqMC1A6ngg/dJwXJN81115lnNH/K9pFSFdjnQv9REjnyOgsPJbUnn0fH2h5pXDLMatQbHA+N6EjWSIm7rICzhyLYenpS64uGXpQ8FdHRBTr6CSC5y7RWCiVSO4oLfehvxeHPTr0RS8zIv7hbYiDLAK0K2K7ob7n8D03MVwNEGYz3LlSViy1me9whJgJCxYiefn5eE8tIFHJ9fIRs7uTLoOM54k68RwovwgDAUpB3GlpT+4IXNq96v0BoMOzoUQceoWPlRHvweaSvlvs04aXHTPgDnzwFmUu+Zq/Kl+j8Yv3XSplPQD1f1II6bNVCYGLIn/KJYA3sWOnyzsf5XxA+sacnGu0c4CzhsXnH7jFsKN3oRXqa8AuJ2A5xKSUsZh0Hfl7t1ZNEWTbRIlptM9TGtXGZh87icSiYE0QCLoVV01mXLtaGcfigwJChFrnxp9MsNy3BxixCG3QQ8rbQ4zfGG+04nracXaiQoei0iwY0OQ0GnQ8jq+s1ygU8FmbWco1HB4NmgRWqJfuxqHm+js4QrFdRuTaTOFtkdbXHIfmm0s6/SguuX+YCK1HMf/qoLS9OLI8nPPjLd+klt3syk3M8dIs1M5RI6FDFUz02IoouDPCmkWC8lDGvM1IXeVPbI3t95Tzy38mwt7/XI0ytkME5xqzFR57nR4oC1HoQUg+HdSvlrhJOnTEqLbttq/vf1bInYaNrPmUpqj/iCFMIv44JIxA7UUC1p958SHyb0T6NN6SX3eOzvivO0iyLQpOxaLXcaYQkghkpmJSs7tRgqH06kjekTLM4edscpkpVUjW/SZwNCGkxj8Klz2j+u6ep+Xqk/O7bBkn4gHOy81VfAsyRD3bUefTIpLx+/kqMPy0pfoN6EFPnvbMDTQ6fjmu1b4rd498VVSpV9Wq+T2Mce6fBDK7jS2/NvHgqFdAhBinoUpkSTlV0EIeCY35mRSVj0j6lvDBQ/N1Ho2/8h6EFBiyJpuCmA4Yw+gNKIYaxobb2O6OXeAi6bbcG9d9OlmMdoBlVtmnte4qiEnUU3niTkkejHqfG/3lLQekHtaX606znV9ZqhGty1z7AjJXWmIhxnG9UUjNodqkheZ7+C3iA++kBdzhDa54OsK/OUnPZ7NWyerKEag80UMb0JOqD4kZm8yogY0LDcje/n4bo5n0mZ683Az8/9QoMLvefLYhbReAlWU8b3mS0kUwPY8XUy3bW6/6JO6OJq7xbhvoZIX0HtlUjMhgMdRX+lsekdWN3hA5BzGJ3j0J6zOYMbIAcE2P0iY3JqTCacfXeC8urNlou8pG53fdX5HLXA5mS/lWhjOCPID7qqv7cpgu8vTscUn1mjyGryETG+B0JjvtEzxXbEzynkOeN1T+eA86/q2ulEzf5j0HVTD1yXt9hggSF6xeHc+Ny9AFMdRzrtmra/9iaJmxxjYr6aIOHMXMb1fMr6WXXPEHB6fRUTszMvLmlpgsE5c1hMiy2QF3m09+VT5fOMa5QQ1mTdD+mKw+QXV1SN9+gs700/4L6rhu3pCmf5BQ/vw+efBPq6eqd9kXkTITSSQWG6gk4cdlcmUtS1WQUk4zsQv+s5j9lFHC2xe/cKipZl9WW6svZPZ4w12SJaTcZ9hAD4eIsGLecnr9wRL1jVeDbaXTQFDBnEt5PUQZ0SdxcLolIGkSn6GAFy7uOBny4X+P6eIjLMoLmImpYP7OcfvGOsTswSZXf8/WYBvVuso0+e0LIeqYIyKwXn+/alXx/s8v36hd5qgMtiHNMTcanKsQkiTZDDDKj8mNvScZVejAahNu4w2WI4z5wLixon15Wjm9BLSktGtSGKkg3l363mfGutoPoaH5epr8LYcO0fmGeLkFqefHgm7Ca2Mar+MpLUkgIoRyr++gbFTiHNJUavFvDzu9ZAFjmK4wzbYqSvJCdzm88JeImkw3d+yk0S+GWXP/sFACWW2jtOMsaFgcLQJnCDrLjCTvkfQIfHj8XHfScVOed5/M6fK5Xnew3L0G15ZKDW9uR0qRlrc4QsXsY5/J6ThavOo3AZukBpYYJu61/FwtA53ppEP3ep8IAX/vj82W/tM6h7u+bklADCTDJVkPxSUzixc39B/lvE7Sbb55shnpCT9q6SZTMLn2siq5kQdJ+yfD9Q7Rslm60ZWYZ74aLbdcy/DqwYcQAnmpCk6GxcCWKhRv44S9BO5ZFE+DMJ+t69yPTn7tskkEXftRFSC6JHWKNQDzRPM8a+l7tTt5BubaGsVX0FfrHcIWrQSU/BF/rw7vkKHXKzhc5pNQKMgytbIs48eacnxck7RzMCPhmqSnel0gE2coY/G1s0cy2F17r92Hj7UBqEJ0M8rb+Ayn9Ma/mWgB/EtLPeObsxUVVRyAqQwmSEVZz7CB/K/3Jvji+5kFS1WBzPJWonrJfL/6qnGRuyjOgF6H1wHopmIB4ah+4HawByRZlwlNZYWs7mMSnZbNxzbiiiK7Yu1NaszyyDw0PWoY8yyfSShZyjrV5M7Yt7FJ6SRIy3SAOawfz3Unnd4nr0e27pqSdzrlzLJ2pBvK5VrCGRUiHBrRr6TqaWMHVogUaF11iZEgyjulZsnQ+Iq5pryHWazrMDI4UWi5MpBBTdnJLNkQuleAhTcMFBXtsVAt7BRHrZ6/stfu1lyp7b9RZxWBhiz4PMGs1/9Dt7l2jBZFcUQmC9Oaq6NJptT062/SywvxjROIHGLqFUl1EOhtlNvbcKkwqzZWWRnW3iq63Cd6PDHAwqzsFxYdHP49t9zwFu9HElyX6WTELWc7Ha9tfKUMcTuvorGF1JucbWM4h0we70lFLYmaVagWuBe1e96CJkkypCqisgS7fmCNp9sVmC1svNucTRRg5SOvQPd2Bqw/DL0gnyyRQMBU9bYxohFbQIlm00JV//OR3MALwHqLIvJpiY9UDPKJ2frEiDhEgBkDkFa7/rLBxVeqWnUdFYigZARnaeRia9j2jzRJOuuCcUPx2IWBKnpNEDThX3Ma3LlgODXUnO1vAcgfFwX4DnPoafyNydBbRXHpKyzNNJmnj/ffnQBIx96Gh2z4QaXIX5L/sdmkZjxkwiqZnYOXQLrb7odfwGGhrVQrksG/9VBMHEDiy5pxJqr4l4zLLGhizal0nNy4o7F5CxaCD8fAw/v1A5HRSVG2iiZss6O8iKx+AbmP+6E5QG5P6pjCxt02mUrvaUUWnR6T+kSbuTLRQ8fU/sZqE7HDcvMuArCgZAqc4OfhAzJ1KfHxthuRU0FuteHy8QUmJthTR2yKa472WfqDr5Z2L0XC4dgYjPYyarU0jW23XGTKERb9WrfJooREgDgXoBbfTGyVHxPcygM5DrC4x1sHlSsc8tey14c8CPGkEIPss1VsS8LXNEsHR78C+Qr7FexPj88z0My1ZXHo9XrMpZ4SsDjo+N77sfZAHfyse21jcDh1rnaxk22shIfazVfK+NCMD0cEPpsqA/RP1TLZH3kL/K5TBDSgaSl5NeHn6/XaN1dyH1dS/hw6PUoN3dtmy4sNNaX92M2a2sL/FXHkVTs633J43ux/sPZ2fN8Onupb3M+bhxuUGBwWzWjEPo3/rvyp3Zr2izSc6zdWGCTI4KP5u+E6WitKN9EjdlFMSSHXdh7L8A44+ESCC3Nk+I0dDgy6ZU5aAAO+onlb9VD6KmBpI6lYKG5oa7H3K3hablVnJkhrX30x7rLcnQXvGgjSfS1S3u0eEIZM+blbnj7UN2IeFTaVza73K4n5vGyiCV8jZIl8ezM0qW1u1IinRtwcID536VzZ0rhN1xUNLpfMUuIz3mvCkPRTkejlQZl87T70FZTSaDgdX77ROdQJ2kdATkddZrejkctDBxduNmCxf8jG4AtZQud+clr68v7OFhQfykDaYSKnJzIsiqBAmQnb22Fg+IV/1LXp6n+ZuF89rFrA1YzY8YuOI3LsiOYyDCK5kiati5xqalur+Xt3c+SB3vXUvyWeds+L5kqzAUZywj7hTRzCJ98VdBmkd3LAQGvQkQ9gX926i29X9XfyQFZuXYIPFZ9/9TrClnF/NZrpSz8qmPJFtCPpxqlfN6gH+SgppGxN+Cl4osbg3Y9K81t1EXA15nGjGGOKKQSpnlCW9H9b7IFAF+uXqHzt8FX74VHTJGRj7a2Hkt9Emi9TGLvE8rQJn+qirfkx9y4qvAXTAKRrgu65WJZ6hkfrWmeMVOoDdmyzQ5ODLV4KOp3cu1mJqJN9Ed6h+FmWaNE+OYIJ7K5y3cC6GTngH2OrpG/qltEHIX06E+hYbDBAHEiN6g/yjqTeSy/H6k+QdGwmVyTqCqYEbfc6zAXDrHL970Rz/JrwVmAoZku/XYOrsYVEy0Fw4BGE6cX0nyBtH9ROTJbSkl4lVZWb2Lk0iDQge9AfbpxG/Gp4AiFR/QaHvPe4P0sj7VgkA8bdqowxkaJdp9pDp4uAAe+qBghG4WMi9BVab9/sLRd4jkoRNpMG81Iee2ZL78Cnr3UVJLhjCqJHMbdjXX5s3Q4vmGN2S2M+S55ObplO//k2MvjJG4yKZWQroL5aZY29T7HDbg4+6BSNk4gVsItQKAyWNYAT2oGnGoBrd6yfWVJQTyYEt1zdHNB4/qall9XYj4oRF7pWPc9qP4iY5TDQMqlO3J2nFPmO2P7jEBIH5lxRaXb9l98hoy3St7l9a+RhDF6W+1Sq9IvDudTOL2lC/Lw9p8ThEYTJKWml5GTV9Lfb9zZLKig/N6A1/q8F6UqG6WCNbNyOhpcUBq4ZflsUld3IKut2kIx37u8yquIMA2Yea5DmZY2kJ6DYjHW1oJEDi1XZIqJ9XTX/bfbWPvWWjVSNZYhxI3yoBrvGpl9hmeFh0FuWALmtyZu+58tiKf+nxkT+5nY/CuHMdwsGvGfW5vi+yAvMZ0XUVzXxFWgd8tsb7tNHBoDU4ZunXMx6ZMb2UV167CUtcsUplnCYDBacSpPFeBM7jewFkgb4nx+rOiPWttE4wwFBlxS2XaEkknkVkDBXKf2Q+UDsggJxUybcMUpv5irYh8oFQeyY2ZeskE0f6+vK7F5rxwpfmTzMX8PgpbR5Qptj4/ldz1GdB5td/Q4VPW/HCd1N3yzcVjy7txa94RJrNPT54sRj2iCieBUIuCOQSMtGJcvhb+8F9rIchlUhdk+Y18vOWYxwT9C/9vY7wgjQ9E47ibZBp35laEAt0BmOkKZCsUtcHyWvfDGZadlm5VNOt9bMOFOM4GfcT6XGNRNUsA718gwkJGMksaKkNZsrV/k+N4aga4LPe1wO/nZEeCOS6CvfLgmreIHSAvH/SgstRraFafPRn9KDGXlv4D+IZxMxaHh0ceFm9XtMK55udH2ajdTKpWzn1911+i8UEq26b/yv+Rmusu2nFE1T8UD3ApiVezN+01pQDjaUYGzBjPMcQ0CjQMCs/uVlH9XBK1h3i1++pTyKrxUFWeuc2bjyNNhIwG506LEJCr1Pyf45HvfBR7oCglDm5+As2D9f2D1aQB5FYFBmV2/ADfbuwiBXqGIxnd9piSyWjOPvYHaOcvV3r9wYkCl8ia/vSqRoCP2ycMbNDYq04xIV4iM+odE/UJGJO76goXk6KQgWmv22Ok/OguRppM0RTLRhas6MR2ujwcveNR7tyJlASB8G+LDC6aszn185cwDAPaC4DSXlrkz7/mz+S8jHy/0Q0beeavAm7WWMiNM+qjdc001ln0cStcFnMxT4arsKyzVBiFtUczay0gJ5P39xppa8rwhyp/jx2tRhQf3tMRvHaFe0Ve+0jylNJbjGJQcvHepnMojoLFi0pOoAwLuz1e1+b935pb6a15etyWM90TirpCP+St7GMtlwF0Kt7Mh7WchgFwKnLB+kHrFgg3Df2tWcOJyIavqE/OZvm/AHX0cbQxw6uC2ge19AJpSIGRq8PhSju8vMxqVUaTC625mdF1ybzRyzWM82pEDg30Ey0IzeUP90u3jETw1mMXSMjUP4NDVhXdmhbOWkbId+nKQHBNflB4kwP1ukWiCV/hv7zRmFDuXCRTEPSHr/p2sA5jup+5+e1VkwAVGY87CCM5Cg6E/AGblHwIrcOkNV+8XfbBS7eXws/aRnSrHDopqaAvxBDrk1Mjj7fhCI6OAcaKEjnaJI6T0P1XRUriwBd8Ik4wovZJ8kje/i+Tr9i1ymL+xd61Ktj2oFDyKmQEY1y39lUjxodPUU4Ya7+jEanm1W8A4UIjGF1t05FS0BQi89JgZwq/4nZxCK2uM9QliBQjaeBTzX+hDmSCO4pQb6O8ZDjtGPgjfvmQzu5O43pNplA316F9JdvAJgFrbnz6DwaNQD5nJ8AQ9lklRNpWaTcgljBU2/tZFUbWQWkdCnBXunlyNfXiI0HoLs+uziazb1nogH0AgGb9kwrSryIWs5ONRKA2b9E62Z7UOEm9ibg46jGfkhWu+ilqrahJj78Kk2OHNU+emnhYlHWcZYyN+/H2+z56UXFif10/VVJqspNklFZJLKFqdbNZ0v3bc4sVeNHSxLz0JeHQ0mjH8f6o5AaztvH7Gl83tZUj8DRjZy8rIZZ+uM8Vg7zxT497zgOdttEgoEZxKB9OuMY/5mpgwmVWLXP7MB3cUGiX9vny8XZnH/8vHQv62bw3QbhYTj9MK/MDADNIiOZeK48X2pzrsxJ68+ApOGUj8slPYSGVy2z0Ay6aEvgWO+9uDGCLnQqUwcx8PyK6lic0WbUqFTb9m2Hs9W3lNNB/Hf08oDz+ZoVEpZGIuMiMgOBJWYOF5HwXv6PjQw0MtSN1YwTlKedQcbwFYwoRhWYmn/oINqR/NBOF/JU8t5lzWprNiR0DTr+u+1IhrjwjEiFIbxIKtY2JbxFJYfTQDedmhUCeBfhhZTMlblvGfMNLTWeKLXaiyLdHPwZ9NyyTsTww7ZVSYEVZZmR4qq65CGYV/8DId3bLZ3HzSt6J9tW6MGKhhnzoxTTK4vUz9mhda29NexviEf1KlaTZaHf08qMiDbKrL1BPv04QXnU2vMP5eWBnFSFbfuDz0UARq887KFlSnaZMCswU9JBB2o8zjLrjE1pY/P2smlNw0ep4mHqyeXx60Hxdejw1qA4zDHc56+SGWpQhea/3+Nq7Ew85gI1G9KwIU+vwJn8eMXAzm+GYZtJnc8Au04TXzLoVdnddTyu0qivD9q3dBSYwjM0tLftwzNDruq9iwEoUMOWOxH3M6snsHm6urpC2kLYoeiN7434wanZZcqp9b1PlDZ1FAQ+u/Awwc38Q2M//WC3PhnQLjVr5iCoHEGXKdHlT7ZvIuup9CkMlxh8nIkLvYscYzjqFVOtXtGvGaQINKClI17m5neDlgiEHjPZ5oleuHMIFsCC02dZgioUbuwB+ck9p+nUODiLk3XDWn3zL36y/XpHH/I1Ya4zgoV2+d+Tks19aogLtRSXLKDN+LapyyoWPeN51AGSU3kjmjytIKOey9z1XJS/9aOZlqJgAtkErAWXO7ucEVxU+mniM3yxL5B4sipAhHN0T5cZI2aRVNPatdlbvfpBWoyxzP8H++gcdIbOg5XGAri0quqmm5b19k/3b7Wvd/XF3hkctWXbWudo7gTXJtcuUPV8gc6Xsxp3F9BwmmoBM+PvSObw3oRIAhBsuIJLTBCLJ+Lem/QmBwglq5vZdRUuYJOKFiBilJa11ciFsrVjH/bJ345VMXG76Td3JiBCAYXdNgho1Izf3fiyiKifk5sTcBgl0+vqWp8bj+K+GNo0vaQMLAzPKIWxi6/1bSIZOKuI7yH2q4//2hUuP8DKnnu6Tpq5EZ1D+hyA7CSTLN7FqMiSDxvLTvkPFv+X2PFL5anU4YM7J0oaP+9I/lIuaO6ktaqzzyuA+XQQRbzBS+wLIu+8cxAhb6Lo7E9ayfC00mZ7B1eLfw7JYe1KEO3cR2zS3lHyZr+i4OmPX4uRDJRYM3t02FedFA7Quw6gHV0oTF5OoQRz+bFq0F3ZC6sMlE4Akjq5CzF8c747zoo4DjqmAKDvySCzfkOBQ9addCchA6R71d2wfkIwzzJgdMxYGB9dLz9vbiscEMHMUTsGY5sk+7/82rBGwArl6BmGzouLK6MesnxnkSSxrFBJ1p28Ob1Q5U38p7Wf1vIPd7hhTqwARr0FL1+XHznzudstX8Rf11wzQFZge4wSeORinTbTyhuUENYGD893XrN6SJeZZ1Bc8C8Ju8JvS8ez8yrR9fs3udGXWIvRdV+HGzWZgiQDUo1RQaU60xffD6hCu3pkdFvmZverrRaUaHHi7Jx6st3at3Lt0ecHQ6KNSwbDVSR0vow/QUB7LCoRbstTJA/yQxJnVqMZtOz7E20IKiyyIT7fE0BrBaaLGUg+2cmqPJ2lJtrty74sM/W4lqUu1rliZzmJfMGQuhfh8A/d0SEgaB0i8qkYcpAKtZqYGQkh2ItJig4f62NRAdUx9Ze+m6r7wkGl3fpPCrXCFnjZmZyDK88Ih8KfXyCBJ4S8wo2jUEnT4Luip8034a+8JlZkV7V+XL4zeO3btPtISxA6KQshrgFjJ9W5nJl0U7dKFpA7eC/5aAoFWkp/VFtOu+mZyrrMCPBVj0dGKFgqrYD4ii0TikUyYtl189kzBMsl3iSpy7ZeJqkUofFeB+VuS+N1p+Fy0jH5vsqm2CpAdvq2XSEukbZoKwN9YDUEcSVK5bW9Jcusy8X3Dc/3nSQsvjwFfSTTcjYS0X6vuCrypmw1BpWVxUymdAVxCkR6U+m1mOs41Q7PgKfY/Nr2EDT1BWlwmy7tYwZikNP6MlDbeWJ2IRp63wPdjFnt1pQHimfDKExlIiOReB8iixF9gZVj8u5KZUCx4JlqB4UCR8QuaiEQNonB3uTxz0J/3EmIN6QSvnwBB3vME+NPfePiUSAbNnM+CIDcDWBeuzWlpAukLxv7BDpqpscUxQarPyK8VX/jBOqUDTg4lKXGKV9n9TVJX70rC9q291JHYQPYkBpBEYauo5SJUAFmog+mKgRC6LsI/nnYFGWYsnOjVDrfPbl2RJEZkvAZJv8kUCRz77uMY1/qPml9qsXcEoCA3MnpLVK+C/o4d+bjOnKa/BsOJxza3NJQtSNIWsvsdBFuct/SoXtbK4FCD1K1QL9OOyJPLMsBhpNKmzPy3zf5SQ+wBBnxJ4KzlfNpAC96El+VD2NNzjHSMwlqNreB5azmgX+WiTjDA6TSrYUx6wCO3xzVLkcwSTsDPUa0JN2W/TkyPVeEQ7HyQIwjjlNkD6mgLNps19FFynVYR8/CLFTEBC3e/LjB251zlk/QM71i09kb1HeNrpdW8TrWVq+5R3gaAkdBABpJbR6VZztb5W5mK6LqsV74buUwum6ZSIHF0/JiY8adc7gv0pmxd+o5ebt+m5cI4Sd0aTSYZfRqn6NexNR51l1yzE3ETjQqZgtUw+JvcQ8UkSnODptCcoYC9wy9SLb7T9jsm1alxtCzoPfjNCWHKnCU3K4qAccJ0cxZR9H20HtjRglnTYl7BVGvlxoVxrw7J9uRecq78aKDdY1HLp5/CUsKwsiQDIhKEXPdFCxIe6YSf5cL70e4aXBlcAB4ocfuAlJJlUgaJUzGilLoweKgDnp0jc3XpX36Hl3EtPRGvfWUdyPug6zK+quDdYoRpHlRncQzBqE1hibY9ywFIwyylPoznJv8ogkCrICOmvqX61MSuJz+RrEKz+9vifwo+EkOgN9gIDfEwNOHNCbIsTNNTu/DYdyObCEaZflM00hZrPXBR6yro8JvodhYvYL6Mqc+5+63Q2a4N/blTp2l6LmqY6boDQycFWEnhcGeyuWhFOE/erKr2u30t3w/oGREC74Fs19/PCITOYOAsoZpAmsl5//e90lpGgdKTNjxmqJmuHWZUrafhgOKTOKB+HCbS3Ujkg6rYBvbtVBBrpkdOAQowrMxJ+JmDp0N9XlMGFpwYANOnuAQlNWCPNxCj8t2kfhBfpc1IeGTgFybCzX1Wy4cEn3Snngs0sQUGObFBiH6AAphdxmBy1MmG6rB/oUKBa3Xbf+9FG+R3SmoIajs39coOxMDMpiNhxCUqtvbEazHD7L7GwQc0wTxcRp7BNe5wI3QhBk2ykOSGUrAiNB6QE1Lf4/vuQugUZEWnGEjpgWybbIxpvfUZLy6OZlq/DtxVMFKDkq11CXYYYBtLvARHFV7x5gEmiJtTyama6IKVj50OYDwP2pe8/ryf1CDwTLRWGLTSLaTf36Rpwh7uzyvc+iE8ywVuH+MUbsQmNOYNub1gpzlAkrwSfgM1V6JRBePOowcmxAbrlYKaHfysJV/aaX4HxUOMmTPQjBUe+MMld+JisRTkEXVL7aK5jhMHjBvEpIlYUESpixy/gklWl9oWR1A0EsnaBP0hoC3i16zxUF6yc1Vo9IFSkbglgYo+IV/cW03LvWzOtNdoB8U154J9m/lXtIyQ29kW1hSTL7N/UUZcPuumWQ7WPKVGArOnu39lz6hvgI4WD2wQWBk84l2y+Xn+CmZp8Odt5mefffobA0oF//LyytykzP7V1i1P0D6frFU0ewPOQUa9T0mYhKZzq5nXkG5y75ugTVtFEp5LyiFx6cpnSVNPhas0V0NgTsyjaLCuTbC6a48KyTh8U2NYHf3qUn9edsyotsFSdFk4oojTSXNs8GL3max4CJXNVM62LRC1s+iU7q9t4bvn8xo0+D356Xtl8VSnw03LfA6SpQ11/03GRNjTJJh1sWharvo84XBi2HbZkOYWQcaGJPEQR9A4I/lMCSy0x9evwxS17dUIl3bvzpHyOKX//NSJPByw8wT07zmU+5RR/phXZUJhIe70ELrPC/mIospCl53KOswt+iAHG2jKabhemsvSVbT1q+w10r63qfurhPU9AwP41x5Lx0CSLsIW9/qijXS5KTEGbTWO7JJZCCIKkvP5nHtKgPpIvVnAs/Gqnuox9GIFM3vz05j1kTxVBsL+UT8rsUKTOJAEGunuAhwuRxWYJqSmg40BJtr3q8WHFcXSy6B61rr9qChPhHJMPd+4uxuSY5F8YPuYCwrGb0L8/bAceJII+CxrkpsW5YaaXzkHkEGgiTMToN7gaED/7tU9Fie5XPU4pXl55umX7BDBrx68Eg+M7iElRygcDH56RAssRAwoIR/SctTD2ZCJY9/2m+wNja4XIeS19efKt3M/flmGbMdtzhggQ57X8DbcDlJ20deIrvXTkxuO8Cu4I7VgGc0GE0HlSmoMZ4cStZGLwNfj4dxkWi3+QCahHT7egz/lbf1pGoeaAjntMNuwJiCN2k15yPiH6xNB3ffhc+Plo9X9k6Fb45M78lEUuC7xrpsZP9LNGaMWzjmYJdDn5UGCMkP3QLHZvXB+uglM3ovEfYFlCIgeCQHgT5dyd2kwjDZv9yJiagQhF23ddxWFwIkC+AK9zfJ4ZghH3ymzfCeEykzB+Oer9f+WYsQlAjhBQtL0uDgkpqad6a9CoVRX4WCkQcW06y4VZlpoEnu4gOb+ycCXbxN8wGDIp6A4CZR98v3T60/ajjSbtxet4FdTo3SNL4HUHKdHvM7ijxjFiMPpsAs59Wc2vBn/NgZkhwx0RJTuanxVcL35MTD4taUaxUq87oWVTVvtKhRN/JAi4JSKQ3PC9x1AYINEM8IFkx8ZkLGgKb2bOt9pILT3Pk528YksAXse5ET3yX+IEmjeWgRO/tgzXe8l+YiBoYFi6EGD6L/NcRMg1CgLmIiEPNcLPVl6b3EdURZZiRrHxfa/A3QGUg56YNJW/gZqaLiOdzC+CSzN5fPA6//kNzbsr7nL5BpHzrOXrJo8D7RKCwP6433wof+C6xUc6wHo/7utM9Tj9APzKMqQ86yW2WaLIeKuQto87hmeOoYZFuKFcxKnToHQ4kVbsaMcE5IAOl6lH1T0t810cQbIz0BjuPGMz/SaK5r/wxgARExt2oDVAtn8NtvHFUCsLIQNKC5JOuam+u7hucW2XCiacda6lobL9sk/jkxNqV6Mo5hopKSr0iJx+BuSnDoqkGeo43nAQs7Ag3Xh7QREU/5KNdHNZZZk7f9EgOOAvbu+HEFtwJCep0+fExt0nktrxleoonpRnSC9QeXcRhJaEj+4/ebSX+qLfvKYWsUbHF+LTTm1ezffFOeK/pBHo6OZsrJqZYEhyj0ZM3ROiO0l/D81kkbwrWEOifAEXiknB6y7uRtrgwkdZfaVr0czoEDrLZWZmd2Sd1kMkS1jknlNyackGjBnpPcd9qhq6gzFEjQhgbA5vHWvf6l/FCj94bDyUss4PCMOq2k1ndHAg5LtdXNKBR3bgEobzABHtA8Kt1+2yNmrJ1G8n96oAj4tSqUpMWhJ7pkSTtuFET1IYeqtBY4LLX1MgzpdDqj4dee1eqXtYJZ2U5JYfoYBOyVOum/hIeHwdceJmy5/+XT0ErvsJHkrS2PHp26cCUsT6w6IbQt3u6QL7xuhKrzvcqVGGI2n2gMz7efm6Qje/wJFsI1p+lpP57wE99X8SujDlN8I8PJaUNetaJxcxgUlubqu770ZqWYeE3VjwB3lDw8lLfPPBR/u9EdAwOiVAUZjHt1LYWcv/AbG+gW70zPc8yGSBzwPl79XKhD0lH0+7cPG6+yc6dmDKUdr7J2hgv2W/5ssQKjoN16MiRv+1a0gKwUAZBAoJZ2SAknLVlCqhkWePW+6sxdZfW9+hMlJ83hdNNLkHalj1W+y/13CpnAdeC82E+VmSOu2ruxLqH03gU0Y7s4Bh44knDcQMJFAOFiz8jOzEzDF3nzeXN/sLBCbSUVQIewuhHuh4e+C88YaIxWd29lUBg49Sm0YjYfn03YLPUiuJPc4tbeQzekeFhDPMU00nJ3EOBp3AqQdjI3hJu4/jxXoSXaUHzr6caB1ce2U2Dfmw0VHQgDtYX/bnBgTwOlnjJIoAoWqkSgnk1MDLQa1D6f+KAK5k5XZc4rBuxLCScm+ohrfxaAGEjqE9HWHVcFmn8P7tB06BTL8Fu315Uj81La5Ix53CVzXAODRGmuCN2oa7vma5LFbyFyYgbfVnFTurrG9MkwCMJPd4t06da70y3T5RxdmN1EZvf/ozHF2L2mj3YmD7G9F/4SXhr+F4KshIkfO1UASCe4LAnwjJrq1r3Drvi1NQelQsDGwCFkNQRndziCqkn/qraijLx/w6qoVUMxkcuZ0HXsLFxJpccvIUTEdoFQA2rWRX6tIRF1uSsKaDqyDzL2lc8kL1GpwBZqWulVMQb3L24d8E+2W27qtYkw7htRmlrPenykhMFsSBLkjrCgpxJw9Oi3gUjrMDoru9wUDNhg/FX0esTXwN9jTwg61f3BTi1DF8IzJsBfv78S5nRXMeUg9ru7idYMChBB49oQwehz101NxuM/m3+YJ9qe2GKf/XlYE4zEkZkyg2ADj8OCBln8wAyi+UshvTsBsLUt/b02xbeCIPWAk/FM6LsDqhylQV4SstR9AJ8IG+grFgdGtmCVmi2mCsI+ptqZ9rNllXMx6tU9vfhwhHTdN/93gX4oxz/68Gk47WFbe1L7TT7d6oDuhn7M2A7PMAXei0jFd/MiyiDcGPot6Gp+fblwMmD8StcrrITg4XepgdH+Vojy0Wzfu0WMCrgsjs6/E5hxp/o4aztmDyHV559YQGD/dmZRxGKJvOLOy8UE7yt3L5/Zb/X77T1rtVXGU/xkvMFVG67oBhtVjPuSHCsszB51o3LE1198l+tCkg2tuIIpZdTddcJv5VxYgMk6hzkhxZ8lIVRXdd3wVqIWuhXG614G8mHEkk1VdOBzKndt0w59/wBTB4fYakMBhWSoNSkTlW2cdrov3FFG3kbhYOZJdfZUUA984nIbKCjfg3NnMuBFZYrSJGJ/KkW1FTunLftq5kdREC1PvzbZwayuPbw4rNtg7X9oPBmflPmN3q0jjeeX70x+WFKZEAbaM3Vi+W9UfWFv/qlDnfWti7W8GZy+kfV7i20KRVD+kA5Hf7src0egD4I5a+pY+DEntbC4a0XK/GGE+C0KWFCOqLN8KDXm7s74tVFazIq1pOLq8gYucz1tv8Y+JpeEkQ2OviqVQYe473gBh+DBj8BUjTzTnJwyTPBblSo+rJZw4NWij+JsFeNN5ETeSsoYpwO1IhAmoCFVeSOsHpNfPydrc1LmWWnDMrpDGNXw2ls00Tdn8rUVYfkHEceCnulx+x4ff7pJ8+x4D/xHv9zt0mGGQbObowzUyBgJmKdRu2v442l+LF+VBAkCYHwGlPpa7z7rgrzeohZC6+O9sgSMIvdYCFB8Ys39aHCLmUa6H1+2Gw+lIAT0yq64rpTPbegyrCVaQv74NAXTAkFDC7IsTuvczZk2sVZnfr8utn+Z0ZrgVDpMqIY4qzl+3SanFDk4ytgAoKonwXJ/5ZAk4gobkAa7cjJxKOMxK91Y6W9myqrhzwVg+NAO3il5aIhKS/DkPgkhCnBUxbyrW+JayN1DuSeJfLnrLJggAvz8OnOO+e2D+VPiSIMiP9N/jbF6BwB6LyA+LNvwjcrxySsUD4OJgu++/dXjI1eBrGtuNDHCY3BPXM5w7b2SkaJib8Rd4C/kfaLwE5wRZRVO5SLM5gWaIFZqQWa0OdDwkLWToikV5dL58IC/m0KFPYcV3CGWU2wF+0YV6qBt7p3fDON2OtA2dpU7XB1FwNrMnk+uCJ5P6/P1ziIcwVIiDOhzjhDt33KQRE6LTVuanDjHKHaf4+1NzA7LwWiuHjBZrCLLSppjimSnxBKQHm6V5mY/LBJHTjdyR2rRmtxIhTXad6zv0lIvulAc2E0xDMKqUR516/o+znpRpj5rdP0RPE101QRodIHhFjT9A50NAxP7FZPw2tLZdjml9kIHMP6sjfkgrr3N7o0oroPBUuTUxbEyJ8jD+h4s2ryJUQZ8noh+kZHv94n9wLk1eF2BJ1BM5VuxdoWKONzax0h6mvaTXxSFE3paiOGaXp5jkbu/UbwXUOypwYPQukkCRJeO4qCU8+iif5qp0I1fkPJektZrLYmY1JN09rfN5Ej1Yuiyo8q8JmcC+kjyERi4UUNrEIBlj6Ri3Ws+QV078+cY1e+tAALuCg79O/oWmA/6BehSOcBG85AVjt8phOt4aJj1YAaRkeql0uHqo6SZlqP+asgBBPezAZFRxZ2oWFxcihk/BRtpSe4/VExwGDBRv5HfRseUWqYEVK55ZMgL1YGXBQ9jg+57PW43OCBDSEE/6FxNBP98SrMul3WY5GQwm+rJIB+hma2vXzapD0y+P4a3AG3yBI4VftlT9IV/Y8pd5oT0APP5mnMDqFsowIb/EBQt3l8P/smPcPX2Spk7VaUejwUz7q0r+F6AUvm3IXHiI5cyjsVtRrWNPULC5AkwptzZ+1sVHedlZCkDXiRZp+omK4EhiM7+WwHxD/vgsUegb0iAVHbBe1xrEHBQTCYrazRkkAhJ7IxcnEo5smXgaAONK/lxY3owRscWfIjGZC7Wq1PYxiJ6ODCWGF4R4j4DBa5LL90+VqSlUB60qrRjwX8RMp0DL22YYtu6HvDt9ImcXX4YMoqd5VLSDl2k/8WMxHm4CfNti1GWMekyDTzjNTzIE55pEI6Jx9IGG4euZLqvu/ox2akfnrYrOQB+oROpczSkKYi6jehb/G2gR2GsJ2oJMMlLY8YGf9UGc2uwyOyesCsg/IzG4R9HptYqb46ljXfbFmTzKZsuIZqTOjomNvjHhrfvvEZf7LpSRs03wyKotw/tVbuYmsQ+u+hwCeCrBZdnXzoa9+6mI3mEyzyrp/twfqNfIenSaZX2/vF9UnmiW4BQ63ddrwnS4m1yd0U/MPyVn0Yf0w+gk1sjLrS5vJNEg8EpSmnRAvuUdrjRrhnUwZGCQlVFAkuIm+X/5AuFd8yM+w7flvLw2hKfTcVM8z7LkS96o96vsWIGQyBcXsLuH2AAGrPG6gGSCmmj7VPxYKk1K/nsq9IsR7glFT6ZYrvshLbl5TIrHA8wf9PKE7jdoIpTCucQCU1qkoTqEVGNOMigFrAyi2bBRjlirUixR3oeRu0t967QtQJncOdmyVoXkeMheZKbD0SiLiU69KfGq7RS4CV4rgDwhpO7vCmlmAJqQUpelXVFdr52Gou6BPQIoMMCOdtOAt0D8cmOcS9ItNdVUeOvmeeTmDWtFklNm/C7Wdokw/MBJsbxG/+6JJSqZwjhQGauMZcnOQYVgFhI+n+4G6pt4donU/cHUqqLGolOYVhsRfCH0D8bx+bM/F2J6FTxOZ+FIXhAkJrA1iMdPrTbICNEI8PAqYJqHohDart5e+Zz/Z4ehFUHxXEuLZwy/xKP464UmXTvmsONyl526OJ5WRgQT76CzDQkghQJu03pHxdkYuOQ+Bx5rOpHG5EDrjukm5bUYUntJEIusf5SaciDsl8g/KUWY0JkDwjoygCAv7zVMe8Rziq+3BcRS2YL1nKZ0LgQF16joDa7qnqRS1+Rl1IgnKS+t1cA9ZspQILmcI0yryHjia2jA9ZQPhRUYMlyb/iZ7wNHIFnN4osJo5Mqhy10JH27IVsJ5AimVqFbLEzds+6XZuPFkzCdIgWHHmIh79YOmFf1115cV6ohdNHRv7BcRtfFoMDAVI6kXfvg4Qq1ynig4aRd1yP842WE0gqQGKif5g/eb3LY/L1ODH9mqzXteISOcLpoLuWrD7QJbTQ0slPNuVwHDbmhdVWOoJGMsgIPr3aVlSFP3QoeTz2TdHgZxbLf22PzeGZRrO/Y9Nzj+yn4C0t562lECrNeSuD6xxDhtKF+MDlHAAKB5+vmHXJRMFVTEqEnBM0j/MKEp5NFHEPCwt+MBDUNabcNquwc39dLie53Pfc6CP96GooeeY1Dol/eDp4roLGypdLwgR64Cbe/K0m2mESG+mCwQbdZuIG9Og/E7akyMjQR6JYKVZdoNdjoDEtJDLxxggN7UPnU7bTdTH7VhpFIhgrRrf1+8HM77NDoD5ia/45lpV3wB3rSJd3zqxuGCBXEbeX2COF2NB0qyeUbaODeGHYut4w+8bKq9eabPKRXtg7ZcjoD+rJNaRmq4upU0d16slE717TSo40S6qJHzFd5eNffGYo0dIMNbQHw4CoaUo62sF4SAsn0aaUwy2tORDXTnTWBi7BQa4Zn6odlyJnVKdzjfwaTT78JxSEbFXTvCxcO5bhota4wjmP5p8Z27+c25zus4oE0LNO59JnrbfC0kfUhEKSktxzbtrN93WH7peGt2/d64dK405dipTH6i5DAZj03/YkFIC6sIKfRUSJK4j1fUheyAVcL8I3WwDef0QXy1RIy69T+mqXvsD3dMR50g+2gM+0YZYT6be5vZ6B+bgllbhxxmCEp3qqtLAC9qC/izNtNbs+C/w2X5PNnaB3J2YALnM4ri7y02E0/S826EXjGaYeFK8lgf0nEhSVLMX2tfoUit9fHiTV7mqLEOCXHY4KX1t8M63b9GwWh3iizsY/Hx8jHKJhohlPwjhSeyxJ2BFfDnf5UHFWNLS356m+xdV9uBLxJ+B0IAB3TqkxopTmK4RD4wT3EMSuY3/bjFSxxGgRvhIxHLe1nA5fvClGN/XBPN53Qn24Wz1hTHJnoIWt4ogI5D0Xj4vqS67u6uMTO6vnX2D+Sa1jYEBoqStfHrkSU2oHMF/j/WfqFN3kA3ksDDvLQCO4L9lFZclX3ZDGUvzAQLvjyPLE2qH5pV13ipdI8700jVGRGGtILVqNTz2dRI4N84GgN3dUooxqD91QENxMoFOQEroehSIhmoUBLctt4USa7VlS+t5W/KjRhOiea3cMNFBHP21TqLokk4YNoa2RqgZYNzyMcTQv2Hypq7WElXBhuNqVMXPliFTSCBiE9oG9B3YIld+BDiykZ92u83Q2CSTxopH6RxvIYoS1vWc3thVA4TN0NEFCpQUDEgzwiIJxQ2t54Q0LW/Gd7lErh3d9DauFAoYGZfJy//xo/p0z7b5BZr6fhq2EvJwwBWNjJWF+b5CJ029mYsz32nDtmLb5KI3DGkkPqzQt2XW/G1yIiRkomXXJQVf4jsVPgK/nMPyN9QAkZwzCQ/bZv6EVfBlGQXSLUU5MT/zDzILXnDyNQlXaW8VYN4ARRD/1YhoTsEMWOFUMVcQBR+NKpOb8qf664f+YSCsM5tAJcb2mX+PprEQmUprJ/lk0A9noVUYNNLq9H9HdkDqMO0EEHOjsOFy2zMvGHLlAk0l60oIVBl5RV8TWJU9K15U3TMofAl/qlxcb33YpcDTZcs6OxNu+1rpSQqQ8g+Sq8LU6Psjffd6BeCNOxFk7YTSuzODPauX16N4rhbRoyXznUITMNWgUUTx1yRsvgAjQPoaNoHNHqXizQtYkMTmHxYyYDl+5411FKvPE6LJrnXPbePqOcdT8OnYdHJmJCNww5VDU1Ypf5i4YfXXaWjJaX7YdZUw2apG9U5KSX+64pIzHd2uXevGnofxDd8dEAFiUxGowBdI2tbHZFHrntvzuJNjmOoQha5MkkZNp3cSFlPUN/ly7Me34durOW/VL9rj6ZBV3YLtdUpopbGYS3VnVDJKqbnrQmN3Ycznb2T2NtnkiayBMiLx4ehPCO00flWivnugk1NwfxlzO1SVfNAn//PVCQg3Fgu7YlpMwZzh3DpPh5qWIL+7WG7QLZuNYdqXu1Mct7trLuLQJHpPGUCva/VOH6J+d7rRQa47/sJgJt1AdCLVxy5iOsYcffCoQEHq/f+yW2w465s8TxP76lvU7gPYPzzOQzVayX+OwAqVWbbKv528TBFOOs0NYVv0Pn0BCK5SI8xf7u6aI4hmFzd0e20+LayOKNIHjS3bDGdtAn//iWUsz85zhAd8nFElicSklSJpYHliwvb1h+PqhKmXJVVCtcduZ8om8PBPJ4FYZqIONK/9nnjiy6ku7EQT5VmAySUZjBPRFOYU1y3/z+/WhZu2NVhPSrKn7ZdToZm0W6lBMIHAtobbVEKmetOdgtXpLwLIWlrGBh11L6j89gNvzLos1UwKPrKesJsOoleOK4U0nXavFX4hFTf4p5Ed8x50io86glTmLhSOh8uT7ddsS8M16rN985Rw62Ig54q2MnFf4gXYLhnTWJlemJTXfYLDNaMGJ7izDbBi1Frk5PxwY9JTJ9oFsBoGwCfvLKhujENfKxJTBBF6bG3SthZk8K9D3glOLjNNo6q+J1p3xooLvzoKi2Wi0YOtCwxwKlGjQw5N2MIK+wj/mGuHCyfGNVqM6b6SQ0Eygp40eE4KT08Oe17HSJIhH9DV8LySSGkVAAbyP5DhU03BnJojy6DesOWC0ahVjN9aUneqLKAizwAJvck3znJj2XBJKYAZwSfsxoht7op9qUnORmWH2BS5pG+WNdnjhD6ehYuLVbv7AqGHz3Z72AaysDNKRKeKsHerBpArtU8+TcuLMlkWLA9KOKnUELscGMInbNpvV3Grc98XFzKA20yZ/d5CXAAXiU6cLmFlnzv7Khjg5TK5aSRZRFF+OPp5F2ZhBYQLetpIj6qaBOrwX3zh/hhKONeUDWfXB9RQawTmn4s1souTpxTT+ZrAAhStYXnASRF70mZa42Nd9ab/ZJG9SexpVqmAiNuQ03NkydahJX3WuDp4BdFWS4/zYgGXPLtzcPcuQ3cr9X2glHwmNVZi7L3xo+89QlR8nzQjFFpeZdDWLMrl+KgyFPxD0t8CNa78fuy222C7iTc+rPt4dHDtdO3RJupfm98Zdq2+nlzMq+oDdFCQ63V8iGbgpb2jbi0OcZMQrzcrgACL0uBDviUyMLvrK+Lk9LpP2FDuqal9lSkd4XJVFpuoPzeNaRleTF3QpROO7djVp6I0qw5vyo4LUt86PSlJAlKuueebKYVZkYzMvL0pQ6S0OX3n6JgqKzJ3Sw/XMtsY2o8cllyLbwziEjLDbCdODiZRBO4FA/H6+QFXg2eXyq39NSI1AKXkFq2y6PdOsbtOOe/40VMU1IgrEFicvV2sw0h+E17jO+1+IZOPBvtE/E5SjVrjyrVu4hPJQ2qmJEXRTL9VuXFxlflm6dt87B97Ztr9Hf4doqoNTLUfN0ZZ969+Yz2Xh8Pv/DKRgrThXl3M32+Ef5OGy5cWoPKMgqlMtSvk4ly0S1Qje9f+jmHeJi4ekaoxV4NtPDF8s3gFa18vT/vS+VeipvihVPHbPvwDyNzMfO1ivs40JurI8RblIvNd3oRXfVeufIQks7U3zcsLU4b54u0l2nVrCuJDMtnUJle+TgF3ptK87YyA2MGMo4dX6wysZCZe/IJDJItJA1YAh8CL0pPVvkUOELl1dVLvhtGtynHmdHolUn+WmI8/j3geNOfObJvI6wuBHrKIgwxhzCcxt29oyPf9Z1b3ps9ba++yMQEl2xlO6NNlRTMT2dTJXD9eJ9p5vMgOfslEqmwwlrqvwkHjAi4BIlKt1ZGmc720CP7vB0bJCI4MKTpxclCRQPQ/pWN4aUlVN0xV1byfgSwU4aYLFFZM/biBiyr2ZazZtfYT7DPvy2Lpjic9IleqHjUAKb1/LLBarSOCRgJHuhdPs5Ro/+ywANGj/veEXjJ+ukv894IfwPJ5mSsKfdk9Cgqe+ScKELXnJ58xftpMH+GrW91PfOt3O25JWt8c9+U+XDFZZQkJqpkoJOT//IR0bd9vXrVY2hKzbRTXKCmgegTQnjQCtA5gpaUN7REwoTEa14f079cMlD8RHNDx3tMRxN1k5A7msKIHQ1zpWP4ieliYkQbnKKhr4NYHCLclgWbPXHYpqT7ITC8Zbjq1hbilHdiblEhphEhsKYMsDJDALi8vKP73nVFfPjBBCjz9DKMGlM8xY5dcPEJ6wuc0ypmXq9AM3i88wDZnBWH8qSGYGd5zd5SdsPt8sbRqtAJRj0CZLo5P1WioBjj9EHFzslAdXcNyxmbB/4jxcZhLd8QtTciJUNgiCv6m2oAeLAnGsE9Qkakuhd6FQjs71wLhWKpF9RjGLE3CifsK0FNY1DrPgF+iwwheOQoIFK+s1i+sBvigT2aBFQDVjJ2Wo/6mqKlIs3tTLFH1kws8U7W1ScoGZ71pPxj0VIei8UTpBPc8EAZ7e3yROC25bz+G6QPbJ3PftjSZiB/MG4loeQ/y9pB/xQ/OIT6EqJj+a8hdhUr9b0teydHu9H67CZ1+aV2/O0K2xssSyre0lk7w6Ojcs03CunMaCtr7sp28TeyPGZEmQceQvjBcaT+Diz514MJy6lFkLtKg/kIbqghxCjxhvOagcyVsHBHqHhSMzbrt9JzNr6aHaWCve1V36T+FiyhUAvShOorg1foR6tBVNwTGHCTrzmXRpDSoo6DS/QqoojeTFgu2Gi/cIzjuCNantnyhPR3nxQEap4pyM2xHLmj0w6NM/0kC+6dnFJna7HeGvCBsgWtUdaGWQ8Wdr0Po5buloQ0OsaFK7HQYH4jX4a7eGF/fC7zepx6bRULcKzUG/DN/bHfVI5nBYt+oXF/+2EFS8FFDSyEX3QjK/MlTEyPIVA2FpMGwDgsJZISKkZ2xyBdcdNoAjKzYpBr6Cqdrov3w6lxHyEpciIW+3SfhOQzJIscyi8rGul08xsZRwZeRCgp5fo+qBooFcQvmn+4Z+RwANMD9/3ct8QuiXm4Vu13N7gToeea0w9m3z9AyBAja4tf9WeUS3ZdqjTAm4ClIhlKSluI/z3SKs2ELOl1FENLXo7FhscHxsl4GHQ3oOVQ5dEvPgCE+YFdbzwBYlzGTcSZTAsOq47gYEElI33UO9Y/2aOBuwo8dyRoVyTD14HoNhzQlnm3fVh9XmIhXts+h/CVCqrob3vau+QV4s6O0VO5oy7EmlyeMZApYKVGqqsdkJt7uAIzwDXVd6rpGUNnhJvhUGxTkgiWd/qyFhqe5ERQiJeK1VfUaIvdqsIlF4opAvwgQGOmK4vFVZCMZG+HZzOXqrjujlfqNIk0njAhyGMMqGdzDsNkLoH5bnmvioU/KGSlKVJDAsuKNnarXWVJ8FYPgVoidEhe0uKrgQVqhH0+GwKWixXfuIVQROeKZdtkhITdcbhpBTDXDNPkZ8Qn3S7k8OBLbR4MZReNAGy+xIGyfvGhmjYnxMDeCWU0JnEW0CtC+qulZz5HBfUkJo+jK09KPw4wwexRORW65aPYKkjl/OtCxRuqbl+AnQxRerqiz6lTJI5W2dxjPEbWM20S+44nJmMJz4C8RCI+fJ6vfSPU4+HSjilEwgrG27yUf1EAv+iOdid6GsCbTxfvck24IUJWn+f/2VKPGUt1Qegh5iElbHG6rE/057ZnECRxmx5W5ENWVGQVP+AhJjBytKs2Mr1q5sJo1iLPVgbQjAgLIgB/Obd6WrfEGmuXgodHX5gD7EL02YryPs0L0vBAgtOdmKViKhA7XmbwrS1jA/lxwJD5f2QKR2ZkqZSaa3yWBRQSJkouBl1bCr1cQq30djT9KE4pRnUV3Gbl2Vmm/ZSSxs//1E2jV2TGMF39qKDt77JlngoRq+NTU/XuYWeznuBvkMg7CuMY4t/ygvLcglWA7fhLt9/+GUSYtHSNWwhJb0NefE3fy3MAjJKQWuvoHuxk8fgm5qpYt5gLyJkHizhfX3jbUn1nDKunEIFU3+HADcyxPZG/A487IjBO7dy928LIiqvuJ1mWtk5OuHkNQagL57tUjC1gEbOBgoJH1LdOkbd3vknUCstBDWqbmRQbG68lmosH4PudRmUzFDcuC1C/Y0nrrxyd2U0bjwlLoRVFPZlkiAnQOhE59WByL3mem7rIPJap8vJWvIF0e8LAzMZhwwbg/N8pZGOG2IonMLe7drermp1XuIJXpQgZ6CAPMTXd63NP4yC2iKrb4f418ELEvDJpdugUffiXXEu0Ce5ZE68B2O7DSUdA9k+FrLW1DixeOKnlDVIvAdulreR937zZ4pDqC7j/PGbnvOY1psHAX3ujUVeT8nj/AzCm7E1O+d0ANL0er8AFYcZ1ib6aV7WlM94MbIl5imMzficyRqpn5lKN+L/alJYPi+ogsRnV9fQGT3r5ik+WyWZvXfRhG0mmUFnW0UGzoGGAtQTOOHVZvbQUHggKfUkVOGwVpNyESdRiF6D1+C8H+MqqNHzCi/r1uH0mOFaCKA5kGccPo3g+C/PbtKzUVddM5h3QLhveO0B2nul0cAZ/NZWC6nnQCwxhCo13nY0Fn5YhuJdsJVJrm3AtCkfnO5zsl9t4PcDzFblnJ7KzH4tB/V2eKqgZAckhySAYJN7320ybQ3PQlQ2UG25DLV4SzlrEIkC0qDrjEqWXpywuD/qoxG6y0S+iJ1zwDDOCFE7p6K+80f/r9z1Cb6zWRuLbirVanMDOVanDldGe27znemFqXsROC39C2ooxl9KEaAYUGBlSW9H5B8OhFxxOpL5yDTYP35yrf2rgDxEXAXJoEM/5IZlLq9I3Ow/jyK1OkGcqB1NEwAPhV3HWOxVq37IMtIgAirhEaSYkEvW0mbEqMENsKlCVkM8hH/mJ42I1Bnw+GnAxjxRK7LstHarSlJ82+eQCpHZCVnrkFImHLm03jd5XICsPYPWFm3y+W5rI/ZFZvwtZxr60RmxWK+PR70/+Lm2tmOOKGycx1tTUV2Kbd3x3VRctSaN40voHQnpjLe+xt0mgbbCmd2WJKn8k2ChI6/zLJPNTcOnkGd36+AC3we9mPAsiF+adby7pjDUFUXrn9ge9W0g5Z4qAOcKWLd283TNeMZCX33vvckXqg9SLitsP7ZfAD+LVzYY20f3SWq5ngBNGqjHU3Oa8eiuOkBGmrNYeeEL0Ui0qbCFBE+folzD+zbR+yB2W7z9UsPWQhd8/RfXFrhX6CemT0KBiHMqtqdBIN5tCq6lW4PLGMYxAQ/I9+dK9VD3KZ9+RxLuR6kedsSVVt/+vM/ZFkd71guhwu8V5ztqEreZYqw7NZXZvlWbIEy9dIRKAIIekaXLzWFE8V0hOMBkuYJkXvG+UVWLKB2QLg23Qf9E3I0uYHKfbOIYSaTl/2sG8FW1yfoRqEimyfMlfZZ147xtWKfyVi3uiwg=" title="Mekko Graphics Chart">
            <a:extLst>
              <a:ext uri="{FF2B5EF4-FFF2-40B4-BE49-F238E27FC236}">
                <a16:creationId xmlns:a16="http://schemas.microsoft.com/office/drawing/2014/main" id="{23ADF47C-756B-4635-9F16-F4510E3749A6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4354248" y="1956753"/>
            <a:ext cx="7507553" cy="4303370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167" tIns="33167" rIns="33167" bIns="33167" rtlCol="0" anchor="ctr"/>
          <a:lstStyle/>
          <a:p>
            <a:pPr marL="0" indent="0" algn="ctr">
              <a:buNone/>
            </a:pPr>
            <a:endParaRPr lang="en-US" sz="1843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sz="1843" dirty="0">
              <a:solidFill>
                <a:schemeClr val="tx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6D1D0E4-A3AD-44AE-BB00-858EFE1FCB10}"/>
              </a:ext>
            </a:extLst>
          </p:cNvPr>
          <p:cNvSpPr txBox="1"/>
          <p:nvPr/>
        </p:nvSpPr>
        <p:spPr bwMode="gray">
          <a:xfrm>
            <a:off x="2545209" y="2159451"/>
            <a:ext cx="1268598" cy="22659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i="1"/>
              <a:t>Job postings &gt;100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208F7E7-D1C7-400F-A5FE-E3B19A27C17D}"/>
              </a:ext>
            </a:extLst>
          </p:cNvPr>
          <p:cNvSpPr txBox="1"/>
          <p:nvPr/>
        </p:nvSpPr>
        <p:spPr bwMode="gray">
          <a:xfrm>
            <a:off x="10322420" y="2159451"/>
            <a:ext cx="1331374" cy="22659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i="1"/>
              <a:t>Job postings &lt;1000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D2C2EC1-35B7-41C1-918E-9581BDCC81EF}"/>
              </a:ext>
            </a:extLst>
          </p:cNvPr>
          <p:cNvGrpSpPr/>
          <p:nvPr/>
        </p:nvGrpSpPr>
        <p:grpSpPr>
          <a:xfrm>
            <a:off x="4120539" y="1880473"/>
            <a:ext cx="2392700" cy="211203"/>
            <a:chOff x="4239017" y="1851563"/>
            <a:chExt cx="2392700" cy="211203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F0BC690-ACD7-4E25-96EC-8D2A85B2B283}"/>
                </a:ext>
              </a:extLst>
            </p:cNvPr>
            <p:cNvGrpSpPr/>
            <p:nvPr/>
          </p:nvGrpSpPr>
          <p:grpSpPr>
            <a:xfrm>
              <a:off x="4239017" y="1851563"/>
              <a:ext cx="557852" cy="211203"/>
              <a:chOff x="4322907" y="1851563"/>
              <a:chExt cx="557852" cy="211203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CC5E2514-10A5-4632-8018-2B6DDDFA3F3C}"/>
                  </a:ext>
                </a:extLst>
              </p:cNvPr>
              <p:cNvSpPr/>
              <p:nvPr/>
            </p:nvSpPr>
            <p:spPr bwMode="gray">
              <a:xfrm>
                <a:off x="4322907" y="1891482"/>
                <a:ext cx="131756" cy="131365"/>
              </a:xfrm>
              <a:prstGeom prst="rect">
                <a:avLst/>
              </a:prstGeom>
              <a:solidFill>
                <a:srgbClr val="33333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4313ADBF-82CA-4F63-840B-4C747E8B67E6}"/>
                  </a:ext>
                </a:extLst>
              </p:cNvPr>
              <p:cNvSpPr txBox="1"/>
              <p:nvPr/>
            </p:nvSpPr>
            <p:spPr bwMode="gray">
              <a:xfrm>
                <a:off x="4458775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19</a:t>
                </a: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2F3221-6F91-46B1-A1EB-1DB8DC5100A5}"/>
                </a:ext>
              </a:extLst>
            </p:cNvPr>
            <p:cNvGrpSpPr/>
            <p:nvPr/>
          </p:nvGrpSpPr>
          <p:grpSpPr>
            <a:xfrm>
              <a:off x="4816011" y="1851563"/>
              <a:ext cx="567089" cy="211203"/>
              <a:chOff x="4857956" y="1851563"/>
              <a:chExt cx="567089" cy="211203"/>
            </a:xfrm>
          </p:grpSpPr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37C969AA-1F4E-45E2-AE5E-DEF7CED41A99}"/>
                  </a:ext>
                </a:extLst>
              </p:cNvPr>
              <p:cNvSpPr/>
              <p:nvPr/>
            </p:nvSpPr>
            <p:spPr bwMode="gray">
              <a:xfrm>
                <a:off x="4857956" y="1891482"/>
                <a:ext cx="131756" cy="131365"/>
              </a:xfrm>
              <a:prstGeom prst="rect">
                <a:avLst/>
              </a:prstGeom>
              <a:solidFill>
                <a:srgbClr val="5C5C5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39945815-9909-4384-9DFE-37F44F39190A}"/>
                  </a:ext>
                </a:extLst>
              </p:cNvPr>
              <p:cNvSpPr txBox="1"/>
              <p:nvPr/>
            </p:nvSpPr>
            <p:spPr bwMode="gray">
              <a:xfrm>
                <a:off x="5003061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20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05F0F812-9B36-4DC0-8D6E-8E2390BD620A}"/>
                </a:ext>
              </a:extLst>
            </p:cNvPr>
            <p:cNvGrpSpPr/>
            <p:nvPr/>
          </p:nvGrpSpPr>
          <p:grpSpPr>
            <a:xfrm>
              <a:off x="5421753" y="1851563"/>
              <a:ext cx="566426" cy="211203"/>
              <a:chOff x="5438531" y="1851563"/>
              <a:chExt cx="566426" cy="211203"/>
            </a:xfrm>
          </p:grpSpPr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FB2A092-A271-4312-86D1-C46071C30DE6}"/>
                  </a:ext>
                </a:extLst>
              </p:cNvPr>
              <p:cNvSpPr/>
              <p:nvPr/>
            </p:nvSpPr>
            <p:spPr bwMode="gray">
              <a:xfrm>
                <a:off x="5438531" y="1891482"/>
                <a:ext cx="131756" cy="131365"/>
              </a:xfrm>
              <a:prstGeom prst="rect">
                <a:avLst/>
              </a:prstGeom>
              <a:solidFill>
                <a:srgbClr val="85858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D278B631-1E8F-40B1-9741-73AE8B175B7B}"/>
                  </a:ext>
                </a:extLst>
              </p:cNvPr>
              <p:cNvSpPr txBox="1"/>
              <p:nvPr/>
            </p:nvSpPr>
            <p:spPr bwMode="gray">
              <a:xfrm>
                <a:off x="5582973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21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54C173B-217E-43F5-A699-818CE44316BC}"/>
                </a:ext>
              </a:extLst>
            </p:cNvPr>
            <p:cNvGrpSpPr/>
            <p:nvPr/>
          </p:nvGrpSpPr>
          <p:grpSpPr>
            <a:xfrm>
              <a:off x="6049453" y="1851563"/>
              <a:ext cx="582264" cy="211203"/>
              <a:chOff x="5990730" y="1851563"/>
              <a:chExt cx="582264" cy="211203"/>
            </a:xfrm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D68A365A-960C-4520-9EA6-905DD1EA1667}"/>
                  </a:ext>
                </a:extLst>
              </p:cNvPr>
              <p:cNvSpPr/>
              <p:nvPr/>
            </p:nvSpPr>
            <p:spPr bwMode="gray">
              <a:xfrm>
                <a:off x="5990730" y="1891482"/>
                <a:ext cx="131756" cy="131365"/>
              </a:xfrm>
              <a:prstGeom prst="rect">
                <a:avLst/>
              </a:prstGeom>
              <a:solidFill>
                <a:srgbClr val="B4B4B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1191AA75-7CBF-4ACF-9CCB-F0C1CAB32695}"/>
                  </a:ext>
                </a:extLst>
              </p:cNvPr>
              <p:cNvSpPr txBox="1"/>
              <p:nvPr/>
            </p:nvSpPr>
            <p:spPr bwMode="gray">
              <a:xfrm>
                <a:off x="6151010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22</a:t>
                </a:r>
              </a:p>
            </p:txBody>
          </p:sp>
        </p:grp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24E70A4F-2317-4B94-AA15-93F1A8BD302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374287A3-5E7C-43D7-8B0E-E619B01B16F8}"/>
              </a:ext>
            </a:extLst>
          </p:cNvPr>
          <p:cNvSpPr/>
          <p:nvPr/>
        </p:nvSpPr>
        <p:spPr bwMode="gray">
          <a:xfrm>
            <a:off x="6829955" y="2159451"/>
            <a:ext cx="951590" cy="4053898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EDFA418F-01B3-47BA-8159-0A65522B0D3A}"/>
              </a:ext>
            </a:extLst>
          </p:cNvPr>
          <p:cNvSpPr txBox="1"/>
          <p:nvPr/>
        </p:nvSpPr>
        <p:spPr bwMode="gray">
          <a:xfrm>
            <a:off x="9894322" y="4358663"/>
            <a:ext cx="1656742" cy="22659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000" b="1" i="1"/>
              <a:t>Low N</a:t>
            </a:r>
          </a:p>
        </p:txBody>
      </p:sp>
      <p:sp>
        <p:nvSpPr>
          <p:cNvPr id="21" name="btfpCallout526276">
            <a:extLst>
              <a:ext uri="{FF2B5EF4-FFF2-40B4-BE49-F238E27FC236}">
                <a16:creationId xmlns:a16="http://schemas.microsoft.com/office/drawing/2014/main" id="{E6F0C038-E1B9-A3FB-2214-07C51DEC043C}"/>
              </a:ext>
            </a:extLst>
          </p:cNvPr>
          <p:cNvSpPr/>
          <p:nvPr/>
        </p:nvSpPr>
        <p:spPr bwMode="gray">
          <a:xfrm>
            <a:off x="5508100" y="2384423"/>
            <a:ext cx="1568219" cy="715722"/>
          </a:xfrm>
          <a:prstGeom prst="wedgeRectCallout">
            <a:avLst>
              <a:gd name="adj1" fmla="val -62163"/>
              <a:gd name="adj2" fmla="val 2808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5C5C5C"/>
                </a:solidFill>
              </a:rPr>
              <a:t>Increased demand for overall paint jobs in 2020 potentially driven by customer focus on shell life of the cars during pandemic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3970D5F-4271-27CD-301E-2E8ECCBA924D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  <p:sp>
        <p:nvSpPr>
          <p:cNvPr id="22" name="btfpCallout526276">
            <a:extLst>
              <a:ext uri="{FF2B5EF4-FFF2-40B4-BE49-F238E27FC236}">
                <a16:creationId xmlns:a16="http://schemas.microsoft.com/office/drawing/2014/main" id="{BD733B4E-1C99-198A-B58C-7DE78CA1C9A6}"/>
              </a:ext>
            </a:extLst>
          </p:cNvPr>
          <p:cNvSpPr/>
          <p:nvPr/>
        </p:nvSpPr>
        <p:spPr bwMode="gray">
          <a:xfrm>
            <a:off x="1531298" y="2840206"/>
            <a:ext cx="1130962" cy="480510"/>
          </a:xfrm>
          <a:prstGeom prst="wedgeRectCallout">
            <a:avLst>
              <a:gd name="adj1" fmla="val -62163"/>
              <a:gd name="adj2" fmla="val 2808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5C5C5C"/>
                </a:solidFill>
              </a:rPr>
              <a:t>Increased job postings driven by  expansion pla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0926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mpanyRatingChart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vqjhYDOOghWv+9NTAfhNqQJhDlRtxOZuvwST0S+I9IrKxej3ubi9gkOllzFtawN7Col2HdXyXzIajWoP6RQU9t1UIhWJS+KKOirTkJEQkC5hlqjoeHfi+ikNkKjeECYFzjNd8vZat2UeCKQiTGNk6H0dc+lTyZd0/xPa8vDbc3l1UZnMsxhfR9Ia8kU05ROx43BU5oBqF+7JL+WhXZI85pIOSzdTs+WvwF+ZAcTsnqbC+MKGjIVjPGKa8uySiBatQKHXzWXnCCrh/9gH3I8u6EseK+IQ6Mf3nCqSAqGKnU+XYmf2BeVzrNKoBWNb6cdLkzvy44RzhVa+bZB5GNucyJenRiQicqtgRybKSt0A5NgmCoLH5jzNkgCNCLHLGaqqC07LRndEo4N+W1vfXG0bHCVvwtEZ0F9YDVA9gscaR4tEgSafUO5rm9YdXWyaSRjKcEOy5mTC7tVGIuSA+KxNg/Vz7Ip/dudoUHmRNPI5iewgXAc4pTFLkAMZD4hg3KLMcZGM+ZaFsIa84IR2OLzu+0TR12YYQ4/SN5uK1WuboHU1MR1APTuM1sxLg7sNX75/3tUmnrmvzaNphfbu9zgf2uuwicEtPpENt0NY8+geThqjtBLMoi7AxyKJQklanNFo6hUzUFGBIwKrh989M9gj/JKZtPlTOY1y3hjienGZ8pRJQLv8d7prkP8BIO2KbrZM6Po5lQcnOTzm+euIUBcb/Q59IjSTb5m9z1v+3D8CcON1vtkilA5nWEpbgE/0/WldW4C0hPQIuZW6cqoCpnwnua19Dzp6RoKe5k1Y9nmdHqplhh/lo8xJNsBrZtR8PFYBX48QrBo9q0943NYXAWB0Su9nCnOmUlCJv5RqdylsjQ290qIhd9MoC8apMMI98yTyJmFQ3zk2AvGKKAh0a/jLrvBhac1Q3C4kWlUw5OUwwGZsdx5tPUDta9OwkyT2ZijgaqCQNydiNV2PjYrxIn0En4RxoZxP1GwxkdLJCwveluC4PJL4hIY2tww277Jvq501tVjKJ8LtmLRo+nEQ3Vs8iyOVOgRYR/25etzJmg02Kb/0QkfEHKqcdIT0beGtWPVTkPVY2qJC0V1xo58lYTgikuF44tcmzTrCtvC02+IqsJtQh5yx1R8srIVwfJU2kTCk/mosTJBACMKX9x78ed00dfXChowq8k9AKqmoo85aVceEk8rOI/sl/J2sbelpKa67fRmyZBdKJkGCWXutrcTjsoZcWig0CBmzCeWrtiI8rLlWo8dXC5bmcJNBdjiG6d65eP/tqMMa/5DyDGSEuiayAMAB76tf5KhOb9nSRVcp/AZj+LZRweWBXQKmConwbAsflVHAPbLyPaMW1NLdPe2c/tc9f7m+k637u8M1Hlguktbkib1kBBsbjXBEnN3KZk9XrKEE3CxLe3ISqSmxFoR6fubqlHIe9C19JM4ZY6JBU1va35SGWttfiuD88Q5meMSGgVXKk+b9743lEA0tKQjNK1VsjUVor+20LPFwUNAmd2Z5tXZdC+gLtv2OG/XW0qFCKyDE/4L6hrpG16c3KTV6CTO98d8vMKomNt54y8T795WE08K7/0ixQvNdPTc31KPAEmZ9SWYpKPu1DutkU/RiWIE9GTwkUnFeFo1np7KkWrPlCR9ZKn0pNHdElFTH4hlzgspycOsl/3Y6+UhCG14N8577pNBthouqZxhuNvzwxAehfZUAEBeNWRCZXzFGxjL3jEH1n03TbVkqIYnIQOYPN8DyZF98Ik3cxS4ikYCcjN73I0rZ6WvCCGOyiMGKuGfcSGQVva3Fi3prSJhxv4rhtkmslhHO0jED6XAEC3TkYssbJ7nqfzDyxuzTl/hglYUSifBhEO40uzICrS7b+ZqnMX1g9OyUEa+s3tNWGYEq/gp0/qM4tXz/dw5iLAi/DvhdJ7bE6UrDU+dYb8gwWiO2IlWe4Bj3S96OOVcXsZUhJl7cPKmq91oKjr0pmEE7OJqZmXVMZ24iFCY0Nyx5hECeIZoMQ6KATrz9PDjp/VFeaYVtdru7HRGnmNClAyrYi0YqvKumES5ZMprcbsA78ZUG762NjZ58utPc3ZAPhmYWddQLnNnxB29ieF4i/haGSlBI7Lsi3B6Xg1IbsoLjNx2doJf4Azn5u6M+HM3cxsyrd4JrLftHQjmpkKi2Vkgj5YQ6VcoxzqYd174HtF9ndJtIv82NRDII+8c3QGvHXyzlJL/keNZPqB7d1YyvxUhHnXNlJjd7ZBbgvg+YRCjR7xR5xyCRKe/+qGQEa9jBdjQqnt0G4YEmLVPi4rHyPNirP09s8Bb8IUYikn4+bRUcAKU1qD5Pv2WDSvcaYQTetNBEJdxn3t0S1hAaVtlIjk0uOBrWtf0a7xXswSODz7L/QgR4QeRuPVB6C/phSKcgPEujg/jUlb7i+8h9zZCxoB/BB18bcV88YsyFyt6N6ghxjdmMChP5PN+tyq3a6cY2ccerFP61ngvtQ7UXlIFJO3cBr0A4/FBjAOWngn8XOROLg0hCraXniNhF6Qw1zA70hYlWDsUZdhyNwSR7/vXB9KArTTqSGiRrr4d3O4riANqBM1JhJWOECZLfUG6NKaQskLFcLhszEWXBv92xuV5oKwsNWUMnK735O4eF2+KJsEXLSakHgY+jV/LgyvSVy5Bwp9z+6Hd9M9qPNvCD/v4R06OyrDZ7fqe64PzS6vX8RaOGxeDWDVqa6UKuidmJ53sfsraqJPrO8DrRX+N61H0ZT05cHsPquDmpf7EdvF8iS4vqvDz+6wDMER5VQ5uDG5yUFIGSrgd+9O/6laYa/cHUn7Rgen5SWnEmTF5rFpOVae8Zd+DNyR2MqyZyxi0haexGkTXxtN8zogmnXUygxkzI3/kuwEvK5cCTEuvEZ6XqDE0BJj8d43UsgqlYmA6H3N4AUv+H5nKeeGExxLSc/EAkWOVhTEXg5/b6BFoidohxksunLU/QpxfL+hk4TvPfJTwdGCuCW86yhyK5zQKN5rz6mqO1LapbzcmHmRBaXFKIaLs6CnDR6RksCDzFucgfryBch3L6uftxxwbVp4yKCgl1aSnclH0SsadL4+Bdmq1BYPkuhOAzaeFCJi3vs6Wq4uOGOMMfQMn8TyJo0MqZ09wPu1IRsATrog8LtNS81snhsxf2gFRbVkN+ZlK6jk7Slxk8VdUFM/GmyrEU+DiskuNnD1VmyWLmmgZ5kL3hcDWGxIFlqKyr72jVX2IAkYAYLl2Z0l8lxsfhAM2QLO52QuwbVK82Al5yGuO8OUT0M5pRylQCzrHZhj8VMXIMjGP8cF7w1pL0yTpQBY0McKhtMv3G+s460SdOQUjZ2rMIB9f+6I8h4RGAurIHY6jhunisgzygnMqPsYdcDRntqwnKQDpHquSn+3nIoALjntPiWw9jZYNhejxMjkcpczopEMtA4dXHYNlDmVCm24jr+SabpU6MeVNyokfFOajF3WP6KijPTMHAVqh8SkRfPE4AzIrdjodDT87SBZHw9BjEAvPvsuFjfqo1vKQPf7rB1uaMyAlbzyrHFsQ3jCBrD0qxGM7yqor7Y5zYtRt/v4DDZK29qSRo9IhHhMGSZ53nJDOC4W5DBEGCycerx27F/gPNjwSE9UcPRWK9jP655uHrTjpo/8Q0zgZtcMHZENMaNCYFjSIJSIE7EG3J0dBSWnd1NgtDNcSnDKX/2uPhwHmDJQXNQP5Q2E5inlyI1sgtd3PahrpAfi0Tfvu0Span61578ZjmHRYfnW/sSJg8KHAnct1O+HwkFZXqyAymjMNgCPMyRFzNGVIGCaHpQiY8Ng38r0XBdK3VCruHTHaqLfgjsuFNJB1qCuPVYdSxxNpvB3AJw/wF9hMgc7O2WRenmp4Yig1kitJ95AxC3tYpKI5KUpvzXI3/Xk0o9OxiiCBNF3qr653JjEuP98RKaQ35ER+/zxdn61LSPfha38I05AML18OGjGrgYSpyZZTjV5XM1qdQOIKWeNvq4i1o/CF4HNy2NmXwLKaKAtXiqTOu0pwA3dha3MPKtVxLrTMRq3a1gWJFgx3syAbhx36k8VhOIBYR5EU/wgzcX6OisU5BN7Mlc7XvahpadW6Mw41G54HeNr06bdSAaCp/S/p2rIn88XBeI4jOwbQAkrrdg06OXMIP7+zWZpybtBQaAbKNiXv9cWY6ctFxz/ZR6JWl8+IyvCGcTeDQWC7NLbUB9sTaUoKnx9uyNbZnMrFpnDE8FsEOuWDxpj0lHK4iKWftO8qmJi1sIUjHpKt7CYqe7981rST8DapPKLzmV56B8nd92mNHVK9wvMPclDTiGaL0rGJl/yJRWmOBPgdtfBSMYF4ZTz3UbbL+rESla7Jhg2F0S6zQLl4fKm5UsobX4ymnMjxKNYjuOBKl4YsjBDrRwfdgIOYaY9/8ZQMJlDDjnvsquD1q5LCjOD1knNNCh1+vOjyVG80GEA10zaT8fQwqws6xiVeTrcycO9DWdNOIW/qG3zc3Wm4XS//LzeTvncv6zT32GoTRYo1D9aMnPRoY6qN7VOIDoStlXjJVTtoZaquih9recixJP+fS0n7JA3l2ApwZbsy/swaFaTy6aTXxlULGRBk4AdK9Rqatw3Bro+FoJnNn74f45lkMYWeuj1IMI/lXgqohqXx2cENBnXjzRvU2FzwufEhawlVXb22Z4ur5wFTtE19Ge1UfizHNn/7iNi5IEK9kzddPZxS/rSM7aJyr57PuF9pOQkCKKYsE+A/wePpDlMSdA8ypILrIQfG3aX61Oa4XFESRvq6LmTf4DptqRbUpaniGWPQXoksibYjodjVqTZiP2svQOuE15OeWUb8duWqClM8vrNuxFq37P99pLk0Ihcwkyo3EUL/1IdLXVjYnLYiQNxN77mipVu3tHB3mpg2UW6iAxr7g6w+92p5xvVQ+PfG4ypqglKrqFxRm+VqMA5o3llpuDHQlZKkSsTZuw3PwP+7Sfo8dr60BpORzH2elMhesNc3Ggcbf+H85ERcA1Rn1bdckOzfILpYtmTW611X/PotSJCEABvY1P1zLNBV5MV8PmX4mtQEZNFVhYJc1cJUIaU2L1FYNqkbJ8wBlFQBCIkewBq5+PM7pXP2xMQFfDcnoNT59GYh839AED6v2WYGIo3gRX6RUmcj8h0gLQHgIjFqm9DIzf5Sj4/Hqu/Fe8+u/9402wJ6b93ML7Y6sPCFnH6F+Uj0YTe4tU+iYcoII810uDVlqWipqK3L/tInMCl57FN2uh5sqFTlm5Z24xQTH9NVqL9RGBR5LXT8Ymn2ZPnbswZANU8Qce76bHFCJ6LgFJqTFj13+AFf86VFtHudSePu++Xi+RnYH12aj6FU50Y2sDLWc5akIQ6D1oIkmhv8t9DXZ9rkbddJM3aWVyPjF+bzsC8IlM3zapT7WQCLT4XJchuKAbCRuMN4jKx7fe6BWLXb9qSAshxhkvYQ5fIqKa5pxBTXjRBXELWVZIIRxYEmk227fFH3hv5wUrvYDSVzv36ZCcSOElBmsjaLhDufiCe/vjg4CVXISArI8z+huLaVBaVr1C0qrL8IeWN+f0sN4zINh5KloPWW6+X0miu/wpomcGGNnR6CkjJxCOY86HV+6Y0TlBf6Ddmvh54x8Ke6l8JGdTcYyTAtc+bI7AIPy9+T6lR3TiLLEpcHB/UEDemaEcfl+K/5Kp0oJRgTx0zSQmg3HmCVSrtaxSy4mVFbBow7lYGDMu4j8MS/AIXcFDF0ZxSX7RTOx0FDJpCciW6+Hd0/2cZoPA9IRi3ph18hQknJhOD6zALr/ZZzHXgvpo9qt/aBkdrGFTjyEOsLS17o5npWjZzfDrxBjhScJGHX9McfbKwwcamdSDFkoLGiTqFWoRJ28FRFmk0rpjQlx7dKU5eJ0kpulX19xo2nbmo0AoV0xy/dT8RbZUGXinBfwepVk/irI5CiZshJMpus/1wyqk8sxYzDqbK+xQ72To3DXqfPErDC0hP1sEdwTaPFxNN7GUKspC2mgf6ATLlW7nqPFVI0AJxYws1DWIojhCjYNPc8JZ+PX9jxM/2HA7og7tc0xv83gMHVAXojuNok7CRRt39YF6k78OaReHIlR7oYCsg+jVgFgdMcWItb0SuoY3qe2vuW7IiQPx0lIdWhO/jTbgGGbABJs1LDgEVFvtCdQk6gI5I5CP10h9accHBUz5IWBipA5o/c5f58FCN5YaP4UY0guEl4G/d1US2IZvgG1ATFHkp15y5xYQ6IhvquBDgzZhXmQFFlqR+RLxAaYAGFLonWwM1gR+TiQV9I/z/Bq3L0ti1d1Youcfh7L2TDOJKeAXq5uNQ68IU0P6qXvkG2R7mGs0OZ0m7AqikebVQM8qCczEIJEAC8eIX7+1g6qtAmErLRcSft8j7PLA3aZU7xGiUW0rhFt92NzzhGLeHh7BAlxPIJ7YNfRRDl/wDP4m1E4GKias2LiQAGhfUphVtBe9PYa3LIUf/WZERGD0lOppYNzmBWtgvgZ/fC2FSX7OCDQC4xiRYDrvh33HM+K3s2SYIKqIFLsCplA7e/MG4sGBSvN+R1sDtYZgO5t9VR4YR43Pgig8TWyf45wIT3sbcEsGbBqKCPLFx722BBJuLe4K8QTqVlC29n4GiPoDh9jg8ujVDK6iTHLtnNyYTkfJkDCJQA0HXqiGZYKpUfmqsI8xz1qDpnMKpKDfOXqzzLZa5Bl4ielQ457q5P3r9gxyVkn6d1eONCBoCZu+ZCxY+9uRJY8JdsjvqVKCnj38oolwqCebpDqD6KbUytJGADRegMKkFdJYH5jzDglkaYYMpFU8DlgquBfbOqESDkrNuGf8R6DTBo+rmkNmDVY1we2+rgynRAnAblybAJxw4kxLaF4/pjE1mPDV37XRI+Gs6U3fjinheZSEa4i+8CInRvxpxIbyso+ldBPJTyY9Je+0flFPB2rRNAxINQyUZ7jgcvvddjC2FxkVVUHo5/YL2L5dDo4W6MKoRpeuTLfTZlImIs3RILB8UktQE6Fb1d8iQ7Axdq/0/rg68yamZ6lximmiUz+pNcnri09tLZ5Z4h+lDSPU6dE1eXqv63ZGPHVJQyD1tUl+K+PzKm+VasCW9OaFAXdqly18d70NK8fsSDDZfbgXOF5+2BIALWxU2DHpXXMrMGe4yZTo9QxS5SYcznFvuG2DbkKVEPFIpIrRSi2f9yIJEkUQ6RwdHI9u+F47pjmaXt6rvD+4wMdFBs46otDKw+7d+Y/KJREFRdhx0dsljKxZOhq6JdhKPsWhWH0KtgW0NXWWOFU44DkO/efUxgrB9vhysG61lF2t1fR+CmKglhhbZJ9KiHjUc9Qe7PZMMCV0mYYgd8BrcH2O5o+i/9npZCHucZdzDElOMvm1jMaDPtx5R8E0qxId8CYut1lq27i49mwMNPWkzUQnJEgTuL3Xg8rN47mYEiwpYecaq4U0ApE4dVkXWVqIUzSUX9EVx7UCosVZ+piR5bPIRDOldWacyzP6GxMF4QKibl7CbjKmOKMtVCM43Ly2+Z6l2BSPaHYe6TU8bA3wTTJc8jd7xGlOn+H3EeV5/CSCC/zaa9w4a+l9H+YYB/o8Z2fEKkSKd2PBHsqI0TAqULc8gZaSDwaIA9RG8KzllR+2Pd8BmPrgRIjObZRR7DQzTKvQfOGrdHRPN0ttSEkoqNljPNCpGtC02ganh8Ek56Ew90iuaO5EnAjH5GNUnwCa5kEs7HU6L0D11+54cia83dHAn0lKNhvSbAK7caFN87iPiZ2L9oW1e1K3aJEQc6u1149NfB4nvdS9u8GRvSwPvk4Jms6eJmgxezXpmcyVkwf3utdKAMG9gg3mcVumbeUkyZ8x5Ku9aVpYsgqDnCHP57WUKM3nMs+qAITnar+gkltSROMj2sG4jcUaVULUevWJC9jqDUUjMjeAEknCKYAh321KyOgX2InnVdJRJXqIutr3YR7SxtrnmV5be95YfSScPEf7zh5vQPmOZPStJsq+NEeG1oSmHQ5iNvgy4TSNIjEJh+GRvFnvVI5OPRJNoiRblt7OTeSolrhNiCr8/Ro4J5HYU/Y2CxhzpaWTzRtGddZx+b8OPfWUwjaYV+9Ru5Kv81H+JbOooZqIKCZ/fT+yIZ/sDC5y9n1zhwz6F4lMNFVcDwt89imSuxBfVLe0uZVc80LZ1Uw+OswPh1hpqQqohv/1T9jZ9Be5uPnka7K+ZYefDQPF/7PzTilKQYL/ZtHQlw3BEQoTEvutP1Nqo/L0OxHb8YhiAcXklFJvqiqwpVzmtTEZd0eS97OnzT+9bMVgFKefdnBjB7mYf1YQmKNhIXDFVb7f/0rFFBUSNnDhf8AsDQrV0TGlGksAqMKFTFqhN58h1hrlDfDxolvrR0Q0fR8JHxMEhDkbpL6htgpFCx6sF/00tmQ12UsvagCcQKg1HH1Ickxmx7jUy06+QvoJFwM18T1mnGjE9FCTTv/MqAJJmFTGE1hYjjVIvaXb1u3j93zbUXZuCvah/vycUL/gG7FWXiCNTIvT5brvVYqIt6u4o494TDnkuZLsym33G8Gx5LLJV1rBnmOzr+JaZEFifm+q+TsWrriYOM8p7Tu+uBUumCOJ56TW52yl384FQafcMw3ZGctGI48Vhk7JeKiACXfYfJVtC4u4o7eEJbCi5WKO1HIImP4nvz6BuqBdxjxBb8B/cSdxuDxsXDyWvcc2GmgeDDOl4YwgYMacM/1Nl0ntaAhVIXG0Xc0+SPaJJfoltbvLD1yFAZnZtCAcfffyjygzJKJvYqw/qC723koOUmtI5Oyi6keoxZ8VhOs5VEUK8+Wwm8WdUowz2GINAl+E3NvEC3iZ1va+TelAEQYrX514MWv5mnlt4rnqVnvBEKAa0OoXV5C8i7eZP5gj/yTMzaO4yMkmWhTLFtz5X4ligfS8UOT4nNCVfdQCtYwrui3CjrvdLbKbXL5tIOIm/oxsDPHZCj4AVcvn6F2GGzg3vlvlt3x1eeZxL65NWeLCtIH5pnm0u3wiwgfSNimqJX8UJglPRcVhZTERdC6pcsVqQRNhtsAy43qYkbO0WgA9ZYltJuvNWEpGv1cWMrln1GD5yX3GjUwxAKg2t+2iB4Yx0OqP6F2em1D2Ptj8fhrsUYYT5G7WLSgtWh+X3CRjOEfpXrU7tNy03DkcaARaalit5VtNFPW2wiN3JZh8quuVSl9o1G3HYTfajQxL0HHIXnsy54V99IQ+Lw9sDa5xYy7UQaoK6LraNUsgNKnvjCSq7i8FuLEKckYELy0b9gQH2A/fTtTFYGO61xxLxGziUbyxYv7CwnaUBQRphB4TaKyV1kSyPQoRPBhl5d2UDD15CFeL2KCkXMMwQPZ6kr8Lh9fYxOUZVyZFqeh+J4iD8hDz0fnbRks/SubKk/SdUK3wZwiiKhE5I8LaXYgvu/H8bZDzR7YfshelSS5dsbkmxAsF8IqvSCKEzQZpe5uRvQXk++y9wdihJpH0zcfrp1vIj087KDJpjymD496FXfYuQCt0mpDEc+uMQS1/bpqofdDOXsjpSHpmLCG/IrLu0GqlaTUI6wziIhdeBrZfiutC8PhVN1n7kTQbWYZ+4bf77Q6H3DgvchtUKCUz0RCfLX3fce2v7EIOrUmX/A3C6O1UO0oUoM3ZSQS2VfgaZ3NPhQfyyWz/Ckl6UfZknejYIP7vNp12vz6dJYKm7o7tNlS6+7rE79Uh//4rQxIK5+ZieI8nJQyff4rUICF9yVbhcWLTERuJmK2eg+w2b/zJcHatM1A8KQgwzuNPrqI9B3WuigwSnCfrNrsoNfCznm0yyR0/X9h2/sPeufrs1ZUfUs9WeIvWomUqI89cUtTVdbvEO8/xzvUrIl3q4FqVv8ltKnvmEo1cZh7oTsEPoE3xDqo+7tJlm3bN9Pxt70F85e5RbqNf+IOQbihd93sR+IoAIsTNVYEIzPkEZLgXKruFT//0xiWsU98JBE021KEeBWqD2+ce6F+fLugHAkGdpSUkfj1RcCGVUu+pXBRaF47A08eaflMD0HSgpxIhmoJ8YsJ6EZjxYyroaV68pM0NJav8atEOwM462dFuKGuOpGe7cmOa3t1iYeiBDHfAo3IPcwlQ8LYdh/alrha57N5X75pcShQj05gfPbv0Km7fNsGGt/xiDtZfx+XaGdyFrNSD20hB0SdnU5Xli6eOzYT5yyfLsOU8tHZbt4x1m1v1pAIkfcj3mwZUzptJJusV2h5xoAgAgQFEwQ9U8/O0uO2hitYtr4PVL/GRxedI8VAvmB7dmXCzN1VQnZohEiaeB5GgOlU5WkC1aaaj9hAMvqM9RP6wvBj3MIcx91jTSWhMKvxTnblpTQWm21/7sNmKNQydO0DAIDfzG8heliv26bbnsSKyEL3J4tQ7AXwhDREBE50ATVNjm4mS++E45H0dGB9dGZZ+V8L82HEPLEoV5IEmLWBdW0TEtcfP1Ftabsy0lN69vI0zyP3si7d0aCl5Wtwta2LWQTOcVB7/iKexPwbETYiXPvceXmF6F8oLaINN7zKP/0aPfSWly3149iVNO0FPorFhFGTwZC8ERUYXxx/Vi6bdrW6647iOkwIz0SFUcuyw1OEZ+Yuooylczwslw19Sv5wFpcx+I2CAnmmvq+h6F6sWkyLw9aff9XCR98PFZK+2OdLZZ+ycZkh0XB052ICERRaQ/Wl7bB7e1VUyHtAYS24gLBjhvVnHLHfcnl5vpb2rSuCunH4X7PZc8nZa1ssjDR6Rp6RffU6NGzieuk2PTeZjWywCIeQmFGr7Ni887Vt+tmBkRewKS6UhiJa8h22dXusrqvahkKdfTiSiRcyXTz1auaifpjxHpGCr85wCSNAH18bU8js3J7wcCqU4KjeKiy/7jBGbdTqSiKFDvAs3nGqQoFJ42q3D6tcIiGlMVi2pNisBS4R2OQrd7mIDEqSLqtJRo9s8i7UYaWmElmcPL51ggdCjJd9JcdT6kyMamsFg12dL5NQPhV08xrDo6VgPQbwjJbH6DX8gP5B/17LgDu8tZbHGCUB/YIUiYJUirqkTHoPMDyUYwPr7hE5njUS+wWKTH6e/T4EqjgNyiNUw7iOKqoly8qq3ypvJzSphICgR1TQIz0p/OqEKo8TBwOWujs/cX0o8C/ghnu/D+uj0AAvElvHzzHieClGxJ+Ess9BEABBK+FMA5eTuLyQhdHqLDh6IfPV4d8NNUjsq3kSP42BmJv5VrhH0AkD5APUQg6V96HloaVTfNpOJd7mSzAu3ElRK5MpKTokvt6Vm9r9vxrquw6/AyBBQCTGVGZqwPr4DMXLsFfUzMpRFDLrWlRUS33afCWD10MlcKbKA7Cx5rMgbvVZjf8CtqFYmHCd4FFIOsKmHHHQefbiGTT0KTtUXBZVs+E2rzL/Hhoi2Xafcurl+wBJhIkqcXcFHVHR0/hnGpCgco/xkbs6oKHUl3Ad7pxVJ8USfbX7TIiQzIWMSLkPEQyaIXXWN0MfBJrM66b9IDs4YKHwdydRjxTP6hFvtDaRR7o10IjysgEGFVSoBkOy/TEMNbbDCfSUojVHYzMpyYbB7HY+pVnOfQB4CgjIsxU0zVuEl/tBW4KAi3lSq8GDEdQkagdW5z78QPuQt9i4G5veSTHrIWulMjqzMtqC+AgtC+VzyXbekqw0/AAZK4tsHBdi30RSjzk7jj4EXeqbL4NYHovVw35eDG3WCaQxSvNCiV5LOqU2D0kBD+n7Ctx4fzE+7cDNO7FFw0b8HgI2+ok4TbHwyxNE5JAwgUvF7X2yEBh/gJKCrZ+sWXjrw/E5H0DN0uQx9kQzotqzqPoVRoTQcozfZ42eiBz4VwfMfjthwk141aXPWiaOu0I8CJ7W+2H02ASwXV9rHaDIm+iHpOpzgrMA7n8P7pw0AaINHPlBA/4HMKxg0cbVVBRAqpCziwwci+OufiBGv7Vd6sHtk2ZORk7HjEBRsaQQCvYuQ5lpE6sDeIt0pNPCUKiMYUKpm3EwIkE0LBV5LIY81CR28kLlKYDaIaHo54lOMO5cOysQEIzfwzeNv3h2NfWU7c0fRnVCg6jQIrJiayWyzcgPAONy7PPgB8/WbsGRhhEFi2WeYF88Ue9c/EN3Uw9yGTGKnhGAsdS+Ln7gyAPl/9XtlAtFXoBcy/erHLrUQ06bULnEJOUJ+EUkqK6D3iHC6tw6ioQ6pIg3wR7IcXvnlN1DoonZ6RnTKvx4lgMa4hwfZSotPmTtB/l3VHIcG6Eh6PPHe8UeVqJase71NODyqjubFohrY0p5Lx8rLBrNITFuKkRPqF9FeVtdpcvfxsETpHS8LC6eB5aTaRVF3dvVVvW6dqgJQy5PTCi2AgbTXVhtNdPAyiPjMJm6p5yBn5aPXhnvCltlEJWWxXAs6q9bxdOYgTL0Stj3uMLBtcOXtW1Ulm5nQSOtTo5y04a8CtoFJcr0nuvUw1itPAXs94kdCz+8HFdo1y51dOdgz6RSDupUoWGZH81LV7BkxcVId3iS8Apx642vtL9sdyJCSeSHCWUJFAGO70fn1kn1rbRhx2QeYfs0DRvzGN6jn82MPD2TC5yRiwN7roDkf3V4fdst10h/Jrz4o73XDeksjbfwTWkTzBDYvn9HQbZTmwA8IDhKJ3xz1wz7r0QUUpR+nR+DQ4pcQlQsVX+P/wBg6mq9Os2q8idcM4ZL+wd4rz8mK4gBsdNUQlCOpplBewBFuWHdjQFdTzz10KelaEPYu0p3ecTdc7EcrhGhCptU9ArQ0N2ooYhi9WGtVlMBTBC/sKEli1qFlpV5qrQZOKhZL7xWgh0DoOWIMdk2/P8e3JnKYWOK7Q81Eq17Nm7b8mL5Y3t7QKOfpp/JXFO/7LYLm0HxIuJ7UtCYPhTafSX4nVMgkJkLKVCEFI8KJHhCanlXyXxljtzNg9YnToidjQzWWCBAShZhg/ZwpMv61J9lGgdU0GzosTy2PcqpbFgxYGuGswyIOMJIxlMCULan3SrktrLyGuOp/0hL+M3RdTgO2RIdCxjaqlz8V/2l6nhq5E806pf56uWdhAdKQBUrE9VEpvb/Lu+i9D1OfrauTx3XP18/eyY//7TovV+ej2Vb+OFYKgU8m1vXgs3S1CdcndB2ohNABpo8DqIIfsu36gl6uvBulcZ6Lz0G2oAiiDQ8HALh5nF4m+sroT+tTD5HaYLRCfJ06xFTEdI71dZdoc/wbkDxhVsPZ+7IXuoZVu3bUBBBgAq+nAgbLetF8GnxHWJk1+lsa2jTWQc+u0wrTfXJUtOJFIPNGEY+A4QTB+wOlWBq5cIlNku8pqrxJrV6FfcQggYt9LdADFceBLeO0E7gyfWbo0ef649xWvLgbDXAMKY5CE1D0RSIetRyf15bzmUt4IEUQgrBF8vperxLVZgQ718ASfkJfdncch95yDRvJ+isbs+7A+RDA6GN2XxslSJq5kNS36oz84SI+QIZe8yYaMR6l0NOgy2acBOMH6EbCmpfaVJPSPeKdo+v4uPDf0xiGldjP3Ov9CDDyZoFbNu1RejcksTnoLuqQAxlk9BCx1o6VAZIl7RWie1lubAJGff4PXryAKtuykV2L/wiKlPI8J2razzc6S971LPzG2S6ROWHhBnIeWHiaij2e6qAnL/CqfrTbmLw0FkKLCXvR3uni89eK6iGUrPt780bM2K3WEcbpt//DuOz8dStb5LGLaWw+27VfXBMkYiYDrQuEa8+J4pHxSvUJWSvgsAkOFxlMNwXYtkcji1elhACjSB7HDSZKno0hggCIT9zuUfn4hlVFXtuUnJeS2F8x48pL6/L4y+PCdtmuYoSLi9vTXMFzdD9Zmpwhi4/S97M6Y2Am0cLNKP0EqzSPO9vvIcLj7eQjeAekkljwCLNQi4STE4QWs6sG/Ex20VBzZfCSsg7F2opv0MYqbXTc5oFxHIRAixRhz2hDH9qfAvLqvaxkt2XwdHEpD+3rVaW/1GM+rzHhlDRQ8t++Zw89KecxPncmkHRP9ribGjLe1qo4wYThOdWb+f2dbiRu+3uZ3RzofDffEAqFuM/1NoNBC4HJ0bigHQbjvFbb0+nG2nWBZOlduaaBj+VVuDkVPftqdxhdtu0BYvYHqJJuuzh4OMPEfbK8/OnSQHYTBP9sjhp8cx9rT0kJM0ztLMxr48k2Vgvm5I+p/U7oTV1vc+SXOhMf4yCg1cDCrb8AZFDe6cC281cTR6/xH5AP6cEmqoWFPe32RLyiAXNbYD3z9mB+YJUYl/n6g7fO3sacA4NJFlFWImlNRi635cv2lLSfLxDu9SLFs7aki4xdKGCqNq5JvUO89UlHaeLNgnqXpz61Ds4o/nfZUkdw+UrBccaQ/05unf3O2m7+pjSjxlG9k66vGKihPAekHqSRoyB46Cdqet/rj4TOleHZL6L59uX47A1gCu2V9JU7thBHz8uTkGUxKqnbrUwCT3tqAMBENT2lofGVJkT6RM1+ODV2H0jsmfRW3VQYCJ15qCkclelXTZJrrNz5iHsQVzFu6sfbgorSA+XgFbbqKm11MoJCgk/ECl1iHACt5QvLZgIFSfpf3NG04Gei7lAJNG9FL6ZJR9XNxHK5L0CyZFXkg0IZ10lk2NYfcV9KO4Plq1ePXhX4rMMk0aqNnalRKDJOZKtOc6ldG1bq0lw7+2vfHTYvi2l2hRzEQfnxVBYbqppqKzEE44t7OMVHWFoqmJv7MlupwkMhGKWmxMgp8I9C9zOrkKSsRvTlQTEq1ebav/gywm7KlG3v5swAgyz5x5kQYCPX1mZa5Z8svaMZeshCWV+8+eGk9CjLFrfQlE+ac+hkDYxa0IhjTPcnolZC/zKMMQyImnMPzT50Cy3+/GcqfBIq6HiQ3c1jsyUzEWaxTRrgAm7n6cUfT5BrbN/V9q6AkiF8nUBK1CDKav/NG0CL/cJqmq6If0A2nT8ZLObYTl1QYL7YMJVGR6Xh0w0vkXXNnPAohjkJljwx/24AdIC90jc9uMZk56Hh5x+oC6letEuDStAp3KsIqCwuxpB/yzUvXj8BkS8PA91HXNZiwZgBDTCP7o9XEvLLPkk5oQnwtHywaySu1yDc626di64iN26Hy2dm2tTWwIF7bzVtiQO6kOi3s7HEaTwm6Xq933RBrwE+thwDFjttWdqtIPMNm2B/6JIODyTVoCedi78VQlND7eLDeC6stP5Qcjg2kLNP0iHrF3VA/YWoZxJZ/gdICRtjRYYNQDmXKyk50rAhPv+uR1VgV96/5XRqes4khwZnWOr4VvxoB428kwLrV5nxAMQA1pnjIwJMfYPdNO+0NAcS/9hqiXk4JsiK0MvSuC/j2lM71lyddQMC/bKq7F+LbPF0GuXLssTqXJg9g3uC7nIDCuGIwq3hrAMoSRL8H9CeOLpuyA8Qlj8XzPd9sjbY3fkwNSuOVtjcOfPviLnnpKopYW5Nf0VvntYP9dCn7HYRlpHjbLBLmBNOCryuTxiNLdCC84E+Iaoon+BB3SyoNlkPbTYKOJQxSLIn4qKfQgypzLGAMdInkt2Qr60ZJ1aS09RSCjlhSlP/moyIfGqv+ZjXqxmpghxeMDBN1G7NLh3TortZqayjg+bNU07rGruPlkwdBpMo+BXb3HnWDjsaDvZJx+5OttHoeAi99/2UjK2qRRFMaD4ys+13HYjN4uFQSZsV4af4PecuWoQCfruUEZi9mGVy1IQN4T71+KtsUIPjC+jqZcm7K4frT6t7CX0dfn2fBhAXMA9kEkIhXOKBFqjRM4cB2nLC1wiAdFnuRE3tyU0wjuklbEVfIia2xvdrGdsZmNniEa13DMSuE82OQNWRwxtdeOrR0i7IUVOSUr1p5ukSu/p6ERGu71zGTSC6JjZw3m8ZAsOC2AqNtnwTP8bIk9vxPyv1UdcY8yY8C5BmPV3OcdLe5AcA7T2mr+YUjzDOXecYvEzbHmUC8cpLzrnPwGydk5A9UIjYf0ZatH1t1Q6ipgdO92Ygi/rEBuhCx/MLbvbFO/iIWSCOE9RMZCsk390U+4+HhQhMd3NCxIbbk4WO+Iv6dqLtwJnV91nmJech3OR/gRSzJqvze4UFIZIDSQYk+6TpVBkR3hq6UFB9jzQtpjWKQEtI7qDSKG7zhwscpOPTTFeuMfVe6YH7y8n5UBslDQdxX1hXhBUC0w+HDdF9YD+VZ0TPNkTIZRW8T5EmoUlrhyS7Z8VP6ADK45ySkjT3ESwL6xRZxs8bRf74k52gDyZFD5TsgvdVL80/A65Hq0mQFaEIGGTza4H4ZA1i0xH00Zr8oMDNjz+k/x+qGzRLtLvHSGB0tgPoaSGE9MX9OzS4gwHDHqV4wEQDYD17PwoD2dRh4jk9bi3G5gq69bB33a/vHz9GCUIsfqsEzlm/1wI3zEHUss/FAL3YnBjDCnnpGK29hHHXq7jACgF4nwdXWgWoHBnk9iBeXNF0LK0n9mObSlKelSMNxMDBvR0Ljmvl8fGyAOfIulWhWB1RuUQ9IGLzc+mFdwYrLo7RbDX6x3NQQkoLPcnwyPqmKWG5XSTZWkQz9bErktmDeZbQDs3Ws6UsKDdUJ0VAYkop3OtryoIWUB/ZS2y9iLz2vZbXXRjH72OqCZV1ij6/+Amb39TspEritC+m46S2HzPn9ICwN/M1V7z9qanf7Fa8J7LrFw2tEzfLBpae5MznKdZ3LXpsFlmSpTNOyKFQAn6ncjShPtvAdCI2WxoG6SKZz+vzKFkiD8j+pSzFvWQoFMwf8OQDPZB9HlV8oQKti43NR7NZVbwHMusNuN1TQ62L3mI6pv9pIXEgpf1ShjuYbV9qiRLAVgurcCpjbkHbxNXWS01Bo9ScSr9/VT7+VlMXtuVegf6d4mg/tkWX2gB/pUF1urkmCNRqSFJOqHjWE9J1wptdN6Jh56i7qqey4/EqvSI6rNEp8vZ5k0bvneuBqwKQ6AcjsnjbN3g2v+hWNCAgPFqn1kgFfW6YwN+66ATJ6ukcHPkGQQfR075Gz474WLehwu0K3ab2WqSH09IvV9QSYhiuZihrnu7PoAwwgxoLNecUyNfuwmeENfUpx/p1aVG++jxrpIRCRRzBuUStBZ6316YH+MjKPYQAJKcd9TUgrY1wjl7SGyMbh9R1ao2rnFbbddFeYdJdhG+dbJq6/too7xNEBdv1hq90iHjB+1gIY1n3V9CAMCOCt3gZYuClbYznU9nIxaU/EBXaX5ce8xJC9Ds4MRT/AY2yrQeCSxGlOAIGYMHTswNMO6YDOsbs3QOFYBiwCSym3DAVil2tqXayGsyPiKjFj91TMhMLtagiT6PME78qysk1l863E0CMXt/3NFB834R1zd6Wgw/kPUHNzhnAZOLePLWL9R/A2YHjSmdDzTnTukMmJBVba8v2YkRTxe9OItMzvnTBDq8JOeg6CUuqxT5ViP7qjAXJB5epBmh7VqIlWpysTH5zPFZyMOwJ7XgF0IXkAooA3rRl8YWDKnYV6RNTaTJMXkIDD8eVLK60cH6NN4wKPsEe7wdlsY9JlVMiF7bOB/4DpHS6WwmmbdIeYOY3PpCg1M1uSi8C32gCEQIeMKcf2ZTYp+dFsD8g6Y6TpuMAZ7J2680GLjhycwj2yWEqXXO2eL++ITWhpKT5ghel+IeC5MvTGnEOtPVLiCkdq8COJPx9lzGh20qDwRn7CiFMsiViv1azoUgkXBJAz65RniVeYpQgzNOT88VI09WyBp9lyW7/mcHvXLJkHNioDWUPO4BpuDAEcoBL83DpGLyjcip3LauQ62/rE+r4kX9+wCHrnv6i5mMkFzE3n7X0gOOOJMV12bKd8/UImuCTTp+yRPOdD1dIkclcrLHUcSgTVFbLD86gwn6mpr/A6utWHc7H42Blq3uNPmHy5EuM3no8nvmYPdTertjPa/ipODRHf5mPezErXOMN5xPDM2Cwtp6nubA6iEOzoHd/x6ah1FqCSbecYqtVvmiXzgToPH7Ibm9xZfY3nQEGmlSdrxok/rkB7jHYMN9g6zTGDtIJynfrm8unIrBQKyR1v7hguhQqbBoFDzVgPbkWKD+B6KWCnzY+S+aXpeysOlRsmpPb3m5td4LkAUjI+qTw0U2cID/tlXJqc6AuCQPjIKFTVyy8/UGAo60ZmUjPPhPn9QE6oIoFTePVl8nyAP/3ZlveenR8SHzRkr1M8+YMIogxsdgDRUIhtKNGQTNWHsJEXItafryqpjnRWi+nCZyIN3i55o6pJdFJTjS+EPeiYBP36zhD7u0KvV1Ca2YPuieI1et4xh+hJzdVYfE6O7plbJzDczMHYV+yBavAwQiQu/OjlKsdoRrIZYrNrRRy+xvtiojcaAsIuQ5+mLYgLpMXePNCunUCUvuBXmVR1sroZhiTfTVMEyU0RMtJmkvzUMKiUBSwCCn8ziqvTOwxLVWDGbv8sZfGeNbUYVw9MwDIXAEuTtWIdZt/g2EcPKNLIxT/re52flSQ5ja/FBoRG5F6UnRzzRdsvd0fF2Z3xltIIFUQ6sPFS/FxE0W5YSAcvbAsoSAdt9u+c9Yv6gwvtbHtUiRu7yNIhH6YHRoy+kxicYQf34i6k+1j1iFft3fRGDVwqVKvTM6RQIa5rse951cD04qv23sQMwmPtf0IQncRXYB1kBvrem+T0EvTa+bxnFV+H6eAd+SqftflBTsYZkHwbeGFOAd3UbKeOAamuh1yLlvlgdtk0ev95kqBf05x6kfeKgcuU4MwTwh7AvYgKB10hY+f0tRnjdoFsJz6h/06xTVE9Lwkn0mq9SD5OywDTkeTa7TwM1SEa8o7/WZXLMHqi9XZ3t0aP+n5SGGIW4kwSo4NcemetXBdqzKFA2eUKQIuvUkvJAgtPnRjGcAmXF7I72qEoV+1mdgCSd8kUARQ/ejkDFzbLpwWckNqgHzvHjc4nZ2w1Jlh+UvWfIdmOwJvFPv1WLt9Kq+2s0LbPSeCMNB5f+2B2Lz3g1Bp9Mlt3YK8t+boEMyucbXxYW6ECFvCzJR/wSILeYKm0x7ShynQk535qOUlYhkatl0DJRyrFUxQ/zi8P3yHzn/6bfk+KJrIvYf7Uo40is+WYjyt0dN9irf+0wSDWcdX2abFXUefZhtPc9b9mb4y0LDllAMwY++3qxfAfMIPxu3ZeRsVjcCJADv6vxorCxeVQL9sReeyO86QP+p83zAaBZf9l6R+ZVTxVlv9FClY/bT/ciKBVPPVObBwka46parf9RG6DRGbYm51DLb4X3WxymCX4EkgJgDTSHiIZuvTChym1M+jcgYp6DamB/2SgQD9GzQD35Kprwmzg7mJZino2lwg4tpE+6x2yjgMRrcmtDmavp+LG2MDjmv83Mmyiep2jljYDPDXEG2Eqq9nUHA+Vh/ezx73dT0OyUkCGoxGPgV0Y15o7k39mX5s+QSPdm6Z5DwzvIlGhgj23Ck0fseTan7XAHMY3ENzFUT62WVUQ71z1TffvYfOR5GpJP1bqjsziXt/PXPtj7Tf/X8MTAd6tvKG0/tE2cE8Dhxn68miCW3v1NrwYHA9URGnkZHDvQ7toWiMFHXSmEdpELORH8X7sWVQsUEFPira5hjEz2RTt5IC74O+lykXa7tR/VDrjSxVdAwV/tJm7B1dtpMDR1y/E2xOKxPFWxsr1gOkhPWVFQA2o6th8dkfGWBtXFic+JdfC+KvEjbotSSsFm8yxHb8Pt+Ll13xvwa3qaDCQLCGzV8hxZi8wNIXWnOfPDAf3Px0LS9b5YVW9B5VfeictqE0DEfxeB/fsdDxZppEFpD5cwcWuSwjyq+b++o9JfhA3puPVekQKHDSyufFmL+tk6CKZcdt+g/wzDVn86LSGb73AXhXoGOuZxVMOhEkjVJMRZvmH72k9zMh2e5+qpknoDBG4H6uV/CvhccjuxxQJDRDVQE4HY7suwj7ZBIL7SvUN5qabJHokhuHE4b8euq/yQoIHXzMaOt5kvyGh4oW63mT+Bv6RmpZUJBwk2L27qnAsgQgGJdYvg4kR1DvN5vUGuvuJkLQUYZTXSmpq+EoieQWuJXlCbpT8WIZ5UBKw4moW7E3kZlJ/qaYKHz0nRyBzY/vLCqLELmuuxQV7bmcxCQKlwBs/SAwCKhs9jZH9W6TwbOrDa1Xk7pfx26/Ln9nFGNr/Zf9Nnra0+daNPFIb/zrElOosDD9xZAmioBBCmkjNzlV6FMJOaAGe3VXH01VfKEznsvo0YcIII5iWdLYX0J9/odVa4BDJZlrVRcmZ4GW+IsLtLezbavNJSMh8hLjjm9RnyrYHZtrKCMaxUvN0Ku1mXnW5LFLLOaWs9Ia4JFy91IFr6HOIC2LpdLynyHaxhwwT5rlBEjvjlYzDRcsT+RXgB3t4IRYBQ2fuy+tiPIi810Jkuw2ipZY8evsmehvb43eZbefiZc9Feq5gY6ECIiSp/xmmhkhage61+izBF4guIYqiJOtrvKTSI1zLKGHqsx6kwJ3UFaLuBzEaoESoB1aphwMf9dlIKC4lWXLtRwDI98ZNP8lxcXGWy+GbevijQb7o3hxFrDC57su8xI5tiE9zfdJXVhUMo/Iarj5p3P1FaENjEGCRhakz/OGkOGMFcimhg54iaEEaFBhnZRtwdCCzKQPCCFpma21NwX9Q1d28a6QALdtYezf371lCuRPoHT7ptmBRafPQe61WQRv5kNmVcRMnFJ80qpS09R1irQrg0dn4kpLxIdQYrjn/VF9xR936vwmZOP3ioNYsYevlph3SVzFhF5zzzqoeCoPP0gKLiUXRHZG9BfKi95lcPBT/vqdXPdRRMhScVTvzhxqECWHqyL1N/y+jwDOXzRCKzynW6mgC4R2qLdtAGgng4zXngkm2ZQZkH9isjK/H3btEjNrXHrdvD7mGB/qtR22dh4F93ljT8LQn+Jj1C3uej9DjRasGYnV7PnKaUGTyVrty5Fl0WfLa+DcPPVNqrBrWjgQuYH1R1vV7nD5sYVh2b6IHXNnj4P3jp/RtjkNBsBHKTBlyX3pvLCaC3scmqo6vx00LJ8QOhDeRgXxKBGslM/Qvgh7wx/r0S+hy5kVU8voTCH2ATg3vt+wsJWfelJrIxs5Nwv4/bzFV2np97ZfV2OtguGQU3h44QUw2gyQj7nSymM0T4T4aik7mBtp4IaAIvkDSBi/TzBD/m5S1P2VxOR5r1ozX7y7Hwmt7vtE9t3H0rR5b0qEkHDxSxT/7RFz3oCZZpXJsCgqYwH8xPPqx/1eAyC7pKdpltM1KAYV2FARAR/K8LYkYQU3FURjIt2hqW2ALp71Oi0C8OJn2lmgfjSVszmszDnQl9BPthnb7eIlgXcWEIVsTKN0YmUCnVqjsDjoHmv86u/2x/LxZVacAOVrLr8mPTo8Qgq+fFvJBexqk39t3IYUPPJNV0RCUX+vPjjoOsgISRUymgwYC/mnNKjlSeCnfwrhHrlHuNTYh6MxATKY8P7yosUfjLP6edsp5MgAPJ9Nnai/D5gp6Z4mlQIIgSw1J7oxn+aFVEikzhlFJTdymr6JSIpektZclBsAd7quxH5xibwyHWbiBQ84YuOo2D9pK2REXQng7Y+2Cx1Z9vgw6E1Wb8UsJhiRjxMvqMKQj6hK8GgPLpEAj90pO9p1rgmlyPG5ceB6sxxC3zCewxorHR+9IlyXi8a+fycN4Nvf4XW8GL5lxrRAststoUreCUe2c2fpAAUaRX3sR0Cg8WXp1Azl27cqC46FBYZ/vefZKVk7sDgDvlILkeIPkgYJMW7TTh9cLXQ6nEgUms09iw70unzKw4oQTBCIJRGGY/94xtemnwyeCZ1B7p3VsdimT0m/irbrtdJuzWED/Klha0h9BgqFPb07yHrBjkcq9QemwvWj2KiCLFKSHpCfPnmnfPlFVv1A+/C3CnIFNb7OnkxbmTsIqjnabxrkL/SWNFfaOXUve63MU5C3hXvkwfmGjJD9ZvKEIasSgdjP0N6Xa0a4pyNQFvLW8Vvl7s5Juk2mL55yzDf3KUDFvO5C5kd+WP4sJjDOQMbBjVVIKNZZH1sjeIRTVmGMCWAD3bm+izu/m0hUDNgD32mDNFMVwSZoT7bPs4FqpQn1fwhECf6vfqGaUMx9FysOISAStE2aYPcHYcDX0EHgil9ploobulHCRxn8g7Cbr//l3um2Wncfs4E9XRziaBFZlgwmHm6UxRof5SO9r7bka/irRz2hS1F9UcyXEfeBQOhoVJEk5WGiQmQr/ggHmVFqHnv9HvKkPmCGYRNdJjRtdZa+mgUEM7f7QnwKMA6DltNKFn7SIS3ZnGEWGnSmcQDOSjv2igX0VnvfTJWWcmiylhoYyTbYWBN/QFxuL+Eo4UqHAsWFjmXGG8emYeZa6AQk1SGgZKXjnZmH7uBXvptXWz8fYTO2ZTpBEJchkX7x98/3qm2jlu/JRU59RUCEz3km6uXaVXc/hc5261mxmQAnpf61qNgsPq47fs/GwAEs/XDNnJq7jS4a2JEXcj/kh8BNvnivUyerRlOLIJiP/cfpX60d9Qb2zKpN8fADuWrsbGpwQhfRFN+D9OWeoBbXirIgicb1IiM7cEBDFb6I7IWxcDH84y1RWFwjwkJ3ya/OcbIYmEyGtfSziu5dI1ReQeSR4DSAAswMbXdtvCpK3KTXTsRr7J5d6kHxUc7rlabH9EHeVj0idiVmzM/tF+t6Vrfe8+miYRkAUsErDkVCAsAYeLTOO08tuPYrui1FLBWAJDJWXlPR1K8Wpi6BiUrqHcQTyn/u0iEKLQc1aYEn5mxP7botSFrhkqZkJh8CA7uGBu9SH44ZYv/grq1CZUavI7YTLgLE4ZxzJcKPvzjk8dG1yct8UjwB7d1/wCFYI+1youEgs6FTdCTT9K2Qnv4rhHZiHes8UXX4duINM6lE0mtP5sg9icK5u5tpyXV7iGSR9SwwZ4zCfYjlrVsOcKhNpnME6al/VmbHb2xiy25boJCtIbjtVZq8nQroR74QK1ZsuoS+9KYZpvUWF73B8w8s+FQvRlEqz0A6zfMqzGeIFw/iKbCDLVwUIIvjlTgP1+QEGDPNmz2j2ttNF4yyfX+4IiihDRtz1EFSXuEDa0OnxaZhrUS+fbIyxeEpCsw97VlsewA01ZTgFcHmx0PTfKN+7qWhGHndCEP6gY18JU+eVkZGZhMqJGYAWzsMsPkwgIXiMawiihn/OXjAU1tAzAC9hVuphytkL1fp4Tav4vAJbB2YQ2tAJzmziKBi5hS8T06M7ZvL+eyw/fcjS8/6C5qODmL/wbdRX9MPI0QsNZF1wPQ6Hyc7dVWfIWnIlOaZMMcuwc8gnZeSs0JsYUcGyElSigfTt1C7RApTH7xWAINnMgI3MtZTEYFROTdWfpKn/7nyfy3iIViORRfaWfTbe+omFag6nhtWTaF6g3RyANRNTec//Yc1iCQq/lP134InHC93e2Re6n4UJGMHeU++QcxQ71DnVQuPPQFEuIZOqqIZYb+lQ7DlszHVCG40Yq0IpSIUenWaTZvIiv04HcEYv13Y6/p+Doqa+cWE/BtZ/m9PHOPKcoZpjf6ziFaZWkFX5CluyijTZUb1FGilaBxZOXZApW55UqHe/Frh1FzNnqIzMK1BNhN4SRBydhfHRQV3JF98xGUqf7rSD0oJdOUh2VVNwnLBjuCzBflt2sMJLp3M3LNDPxp2IWV2Pk0zl+8JuhZtRzsKLLowGIgVWSntJaqmeNOqZdnp6uHB6X/KEm4nKnPro5dbgitpSaf38i8InlSjTduScHPilSMvqkSgLTB8vCUI6ytlYxpPBWetJJM9HWLh9OLalN8bJLrxAG4Ts9V7KfAtTyD+LNtBVxyC/WEXUlOEgub1q7X9j7SWqdfOzbSWOPOVaNWqHHnZMls4J6i6unyzRY9HKFSBo+ef0r8P+SiYiqsYDbVcATbZWhEh8qFjvaUngNjhqGu7/WR6sn8P+9/eby8+N2CQaheRCjZyqhnQe022zqxFFJ8FijDxsCXUsYYGJzaHnjYW24a0XO8osjmTRuFaAy3Uci8iRvEMvyBuSuWRBmePL0l8lNWC9vSl5mBgN/mbIg+3wz/jY+QrbDy5m+xTCbyoepd+r0YBcW1xblTYSovtvSg08bKMrPr2Fo/yDMR1iXTnhS2b0WufdQtBLoPLsCHJ6K5MTy9mT19iWHLGpD/godxKGq+5uJbSnbxq0zjW0Ai1DZgH86HXUWe75RFm4PcZXyAvAZUGI36wPI+dmKkfeUJmCLu2hlRHQ8b7aZ4JqOxBugXFOvmQ50SyzpGx1xO4Y8nUO38vrkaq3tV12OyRykShZ5mw1zcS2KIfAEe72T9CLH0XdkfrqJeAY1w44ZvuFE+Glx7Me/zskOuRGYv3TUVAbGo/HzJUpqewd5beMiZMpMbyd2rhsNN2B9jIX10cMDady450CZgBPwtGw4dKY58Te6YnG8FihVWd72uwy46pfJNstjtwec2vm2TeuotPsbFzHujAXoHy8Vpm/pBb2QKsD8zRVOOuiPNxcx43fiqlr5/4L4Svkj5Oy6QyEPJtwKtlk0SxnTdCgQX6chsJ3xP6/0ZqLqDDfvfB4vNIcvoRHmU+/caX7P73WYhjyeUSK9olqyUYK29W/ljxgKdXEZGo6q6S9CGRA48s8W6fNqLxed38z6sbZNOG9di7PRBobLWcJRHgjd8s7VdowK/dBM5Z/dk2ccqqXmvQOtHpRJplWmwVEObbOiozwnyN+b+JKkaKu9ETLhk+fUl6i38EuJMBGunCdwgYbKqPubVBQyEVW5/02rh0j4RIOcb0VtwhToFIRJAtk1MSw8XMj5PzqwWC00OOhts4NVF09Fk5hYvxzEJRCCRiR8QJw7UQGXJSLILmBhGqeP0OHZHNlDm4x9KIlHW9GXElS99giBux87wO38gRr7z3+MP0ys8wmWXXPyWEBbYjSf7zdcDPhlULGonC/R6WwkeqSv67ZiHGUW18WK5b6wwk7dQnKuDUQ0v/99O36p3ZiU7XoJRXnljn2XVR2wWQ89FiTH/xt563AvJ5/sXmZaKbRam2XcKmt42TU8eP1ou5qx4Sxb6bMozwqno/2EmcDW2RcA1rvUwo/UNzCWwAAVt0j5PLyiwYmCyfs5ZSwwHi4Zr9eIqkiBgQ/BAiz1bmMNhih4g1AZaj7C1d0P1hGV5HaEjujN71f3gzx5irmbusvQb1gpwBpaP6nYcmrR1QCD4XpvYrsRtN5L/gh8P+XH+WnWmb7DzFTHjrMuwju2aLpvyeIbNDRXoUh6uLfxMgJIAW6N3H6FqhDIu6A5RTL1QfMua5aUmuF493lRq2L5XjpzY5RF8Qm27umhDdffxZRWElNvy0XpN+NQevl+RIYLl6qEPOxdBlfnRaEv1M/UOYzxgcuaYn+g78zPldUaZoaUvG8TieghbGdlK0w4jr2b2YZYqC74MNSvbgL9Twyqmr6VUeWrg8nFien3QbpJDJGOGp/pismeLGRIYdFkRvvxIDuQsCSlTUS+0MyZO2BMw1hwkFeHc6399uFB80gmcsnEB2H4Us0ewBSPxctLYJW1n6Bkd79TwOtLhNGTFfvoIoHhZFrLMgmblfOxIlhThWGZH76RxMLK93Q2QCgjAN7hcJN4xyUM0wINZtrp+86ZjEEjCS0Kv8GqmNv6b0LKQs3vSFmqcRNQof9i6QSNSfV/PGAUllsr0mMoqEql+3J+fFlVgBSmBHZLwgnOif7qZy4j48Gu7Zg678NGdAbzZ993SNOl8m6NiEOHaldVs+LpWxKYdGJmSWu0WC34/WvWBS36gtAlnpnth8DdPYYzgyLLE5cKSdnvClf9AigsgVlnzoi430ek41qXqM0/tD20EFPI9I4r9C+DRUmfxQaZrL3rwu0NHnY9/8xfk2OWJRGhuUwIkQSNZyuy/YW9Zn5Q6HPuXJa2j6s/5Qyp4pVKw7yesxe6MHiQGy0X4ODLbbrt66ybMNGWvyJKKGJZbjYIY8H+bJc+by6oxduAhsw/yDWrpfkbi8bd9Ku79RM/cGDtc+xM9cBECCSgqj/D8YLdYkXcjFryLh/aDjtCMmwpdoAuPqBw82RyfBK9UJJrkP/U2sAnkbjxaMi12coUuT3bvooSqLfEXYpKf6ZbqJR0vHil0egBvWQ4kn4MTZ7uuNoNJSSKUXLKFtbuCdsEXZy/DlkAXbQ7Ym5dOScxWpL/8yoyFRqNRFtePgzE3KJvqQhNNB38lRfMptXsieiML9sEMDyFEn+aF5VJq+egkelCl7QOjHRBIQyBm6N0L/nczM26if3Z9Oq6AJHfroBNsG6ed7MLg2dAk/BkLBjBD0bsKvh2refqtqsjGnUQqpnWGmQBaSnFc9H9rIWqiqa6rg9yqrZNem+eRczciTe9Qkp66fzasZbLAUetvwcwa4SgZQsy0BrZGG0qAoCsIEwn3VJvM/4gmfpx+779JzXhYTfbZlyxxTEGjQuAkgeJ7dtlLDa4J4LDFFtHyxXnUm4cPRCJRd7XJf/pgeBWXfxYaJ1GABXnwharPRDeLuWECr2Vw0Nm09Sa0DwjDWrbWovqDtNVckqdo25b5oUgSPTN7oqMAZ5dYitC1ZlvFi0/449Rph9TJ8u3lQg7JqpgvTWw1OuUYqoeH0vt/0L7CiXrl3vp2zG2QmtAGzoGzXqouMwnGr4p5DMrEpJKI1FydI5Sv8byViUAdGvrDKxqwuOPdjxuigdK/3CDR7klGoT7E2sqaROZ1O9+8BjJ5xHs31GvZ7FO36tpwiuuGxpeAy1IQeqBEcNjhTuf0LwLQGwoC7g+PQrIweCXZ2+6MrmGDKs+QiSV+xO+x/bbmi4SR6CobwmsMr3X+udFpBzAgBixneLOn8CyMxj8wSRygx6cDOzBvAFLvhgYuaMIwWALqww+8dn32lwmEnfjICwhak2r65kXs3WO5kvFNwom0/kIk+cU0DzNqn0SysDuRUbooii+I8YsBoR3A8RPBB/PFBYrn6uBajBlpWh4cEBy7XILhdzplNRPdk0M5UTJ6frTUxcZsYuFlxjmLiO+AibvdxAixnLmwgeXS4Wg22elaaqnqV619c4vwvY5GIc+Q4DifRq8QPMu6lLvGxqPWro9nz5kFW8cMc2PQS8h3W1E8t96mM3Ok1ySpZ4v6ql0XL62GGtvtmhH60Smn144Y9R63NlsX2IVL85weTmYEcBmGHhY9YY7aOGnjxROHL7sUKJz84gSqhlkLIB+MTfOXRrY/5tXX6ARMcK4X+3L8UrtE3uCTZwH7cXXaAE75ue0PoiPYulmjSb0rJX4jjyHOfxAjQ1/hogApIYvSlZliqXLfxwVyrBnm5OGtwyFDdYcggAoJYxNpJgialdj9Xn8rS8gq2VoAaln8KoCu9K6qOCpM8E1mwd3D+DM4TVAbWjGU66S9aXh7dvV6RSh1s8GMyfp6t4CTac5hOXQcHsoP8RmPMfZWcjF5l0jjMNX9WMDxozXHpGyCnMkuhGJdZ16BjyxEQx6FU7f+J48/6MgDDy2FoN9IE6y0ZVQktvveB+x27033G39vvR1/zRkB4Qvu5iw4DS3K64ya4SXbLSXwQy+aeyfVSZ/TicXv7uqq1Ng2EEH/S3yD79fvi17iEIK2EQJxM50GV4BSiFIQHtFoMIaZDno0cp4CIU0nc1jlViq3gAKoT9b4Tgxxba/RNWJDBRoOiAtvI+F6mxEifJHt36RrHAG9yAK4B8GIB6yyqJNYXo3+KqndbXUNgUhpi4b6pnk78shDNbi3Y7IF5OnLplogYYDfJ85a6rNO2HHuFyyQNmkZLR5RmEPOEoBFXZNcg0HxekP+cSITJjIdNMzxMOmV+XTZwOWAAuV0bHwNmSvFQi8e0ZRA8vkBSQrXa2tDuh6Ma2pZGbAGu7YYNsTz4aNeyVnJX/2wJruPNIYIAy6kV7t9yXimwXpkBFYRvxV0xi49aq0Oic1oXLpZldGj031FyMWU7xMAWQo/4NRZP3YM3MyBrS0eMehrBK8BFCNWCndreYOUTnsQL9UkSJKNPQnLlRJMs7efUi56yzcZjDfSsQVv9UijdS4oJ4lLKxiT5IMzKaypZCXlSmV+mvLvrJV2rwwgY2cxEVdJDBVb/ZG73FfrUw+hjeuutglr2/2vXLsnVQdnZzuNIHNkScBJGRv0DgA3mAQ/6wab56PyZUEE78b1ZGmY9uCoOhw7TevU55sa5ir6iDPp4jU9weVIzIEep7wwOUE8qTstmZyGqplzO4GR+Yoo0MVNiyxnnQaFv7u3tPOXGRtxNXY9kcuXMGlCnmjhRNllzbgWZyDNfA9pw78EPdZzpfNqt9eHF6JgnatkqEeYMJitwdKaGlHSjDhBw8DEkazsMGhuAU5lAQl9qpQ6qvz9cSNnlts4gjTCsgPb/YfN+TwIAoWxAy3TIRPdHUlduuzzt1pqTuLHjS4bPMiGq0SS4nBbiVW6ZUlew3OHXKt0YIy9XlRCyIQMYBY9M7yC059GjrWFpL1zqCq9i+ZPFRbncuNXEJgp9yxw309PVw1qeMa66YMZPSzmNz4Z3e9r5guHSDl4J8VSjeMKRIHnQmAFd+fI0QMw1eQ/h0/2xZimjaj+098Aur+eVj3UUb80n9dlqYzJytEqbE2wM2YyW6iYwX8KgIHyXa1lQo4MV6La+KjR38c0A8GxwiXISpKXQnyMCVWiYZyOp/9BL/C9j4f9kdEiHAqrfbR6chOGakmx805KiQKwkmMIzY9GDq7s+FdoonBSdqGNnNxinI6pzPCmGMo88OVyKFTszXKKHw2njNeSOnS0gcxaBJulo5hpmlA/d5yp/fBiBy8l/0wM2HW+bi/FDkd6mBsxEZOBoRYmzsQZZqx25bfnZEZwG1bHS/Vg3Tyl8zEX8udxhU9c523QZydNkwE06XD6pPUP0PCU1wMwXvVEdFNkAOExoskknokw3JB6Y946R2RGVKSoy8UXdIyDcSsxefzTZzD/9zg+rIei+pUZmXXqLgKICi1EN+jM0ILsZcQkrHUbS7suvm0FOEtMcTi80vRLe2RtBYgTVGPgPCG53cp0XYoaIB/BYyyb0ba5SDlh5s/e0bwBqnToKr0crv8FNsJuHONlLiyKykrL7swkqYizvlYYMC3CblE6k15BCDlQ1Sq65O7YmPpZ+4dTmKfY4piW0RETYDjAHSVxM3NehGHhcZikkY/bML4YWiqwmbjKCUItRuTjwfxbzJhVzm22AcNY9nbRL/3xkB1u8NmCKBHL/wVyEdoznsTcZKNE9mxB2X6U7HY3Lr+NP2x1vjQFx3p0Yr9iQtlcxhGzkUmCLWKWzBaKRZOConf/wGTbCxS36mex4DJu7yUerfql7Hn1NfPfV5B5fpk4NF8xnafpEO0RkOorwnjFbaCdkFSV40rVszE3etMxyWBAVLqTUjRdP/g/re2DH7R33d1R463MbUnGGLMrMgCWB4v7HbrFXI0f3QupL3wB52QbtCESU3P1EC46HzccEMKl/xPxLm4KXxeUcIVImxh1OqdMzl7Bgtgi91TDHqurPRiKqpHNusOUTGQR0tELxKoLWpry+dSIKqABwlehCpDPy6r72MubadxdtqhP9/NWnPEYBc/e6UDRSr7FbEeZUyLgkAACWcc9huKxTtJEXt0b81ztwUFy+B4GiN+bn+Z4VpGYwva+c+jivAnRNdnondmVuUeKRb58IBgIXkbQPjXzPCllj5GHlJj++paKVwfjdt/JPdlej4a90fQoh8J/+Fgo0qX2JI4VnaXKjWJWudrkf8SWYsTWXl/TJFKeUUDAxXft8lvL6gsq8KdUmfAZavvBXp9s93FvbtVpl1VA2TQL5AKVJ63PWdwShTC+moP54Hw2jboH8sR7lrq8lD/523NbXk9CCShIDmLE2qNYBWHcgHV2sp+wA1dSoSqmZm43o7b70XTPN0fv+2WHCCj2VTIawEgvXTlDaAE0ooknm3uY+VGsXtrJ+rPqLcwa2GaC0Z9hScXIlFJye9b5oGo2K868GcfPjrZrp9muT+RAbSNfGatozrLd30kjA99te7RUy4DcdUrIXFAd84CqgHI0OBDTHYBHZjSF40h+GcXsHg+9DS+ty0VUJ4yrkiR2z8mw4zVL4K9OqEhPsPXaPEl1DiZ+/2dg8ikjc1joNJf86WDxG4wc9VRPP5HPvdqVBRlezCsNUZX46uDrziDJY25vPnkLFl7PnvgqQ5QAJPxbqghjtEmlWcAVkB9hax04TADKvoPpLOBhVkkXN/ghaobqeXMYBxEVotExAb7IR7IvkNzHlh2Y3Dvhmfo5NxMsmuxOtQgP0PC1BWxV17/2MqqS6WtvLRNT1OEKgvuagH65pmLnyH+4Rps2f1AUauYaBllr74lkp9M37NlYK7exeu7219Bcw35SI2l/4HGTKXiNP/WlLC3Ps8E0mqK2gkTosCUK3KqpPqz0XbyHh/haf54jT66ZcLsBYEBalz6xvgPv+z8ORM652eZEIxtotHiKMQLVJodRTMWPseoWhbScRbRKfQ0ubXBRh24ZIalqeUBuQX01HVkZV2+SNhfw1dZI0GZ13zABDUgd3+MWbnBZq+SiklRC/XgcviRUqLU2k0qkkZktfQwKS6/21SZw+9oRbLc6zoULNQhDo9E2wqY07CaPicVZsWN68B+P4tgGCy4AD5O0zGu+SKM4gFCW4dmm6MYqP3bnaGlPiYYy9jtCmodzSxoWoGRrTipM9jC0R0D9p3eomqY3ODV3WMVhzoB5ZHQEU51AB0kizWu4T3Wt7OT1mSq5LrUxb0xqHrkBlXAM7OOoqL5Drow/23RY18xupCHH0zpLMHVWkkPZ3LpciHlLfhJvDSSIf7RXHMxZvZXUKKK3P2cSDcWdxZF4eim3ID8tKXeamTLC1psTTRTS95dx4R3GC//1iCa/Ibvod66zXkXivRQ34fMEuSNGu+Sn6iHpYffsn7CAM04BEX/UToSuriifU/kQtgniMrcsaCPWQuhEFVYfgX1+cKY4RL3R2xcHD0Vej+2ZZY/DYqr+MMkKR5x5CII38goQsCSqCfzkv7waXnyRlZSU5Sg4QyqXg6FLK/UM3K+NBNBFNuF/Y07shs0L7peUjXLKjTk6jTuSViCmt2hKGKhoEznDNOyk0mvx+TRmaQf/rGW7ogINDQVqmLii9ZHIL5zl8mRF9smtg9+4i7UJHcndLmjI3Ozp85yYKN7Bj00D2M1tuDkXkRgFqWffwehskAoiF8MeA9+JNIrfgomTQUharYo//4swvaEvGg0lSgd8raOrSnMNP2CCQ1xE1WWVUZtCS6fI5hm9uA017BkGkcJ8/hJoYSYr1hTqkMISjbl+h5935r7xSpHPQyxEhHR+7e4A+kwvb0uMg6uluI0rSUJJlb3X2kxqCvSpxfbEkMXbtevJRWK5otLaeiYHIWgvqePWWkNFkLyKuMpvWM0FWCOcvoazAC3HgfjvuhSze5oDS0xaWVrtMLbisz/1xtu4gwW33hgCc152nBjkhNVRgS9blcDk/ahVY0Ge1ABTenUuHWxTs0Uz/FCNfWHuHmaft/6sbEmJJWVc80egz8Tu3LeUEej9Ipn/zaqX7o5BKGsnp/Ng9mv4Dxtn+U3q97MA2ty9L6Ny6F82ce1fNFknbYNFB1BM6taTnjj6PJA4+LtunhkNdnnmLRpi/kjalXCXt5uysz7Xl/yb7VRPF6dXgwBWXMiWWxBfBAacj29VQ7MJgBROk+SdIz0TihRH6P/G19xhiNDv5MPogmKLnZ0PL/Aw2O/dy+cxQT26ai5YGGitvlxXQkYjnVhW2C19YQPMW2kiWobf1LqOCjFCSdKI+1oO+vCe+YYcnZK7XldHGasjB4ksZRqnbPU25h2GNaxMGh7pixLuolUvm5lnUaVxUHO08N4r/9Hhmc5mhlG3oVJAfLeR/hU8n/2oa/DhnZgVZwFFOAgWepuDit57H3AWsydCPZmeBtsoWpxLX5StBx+5leUnnZIvwpVtpCusT013xkFIXv1oi9aNj5kNLAhMwdirYTJrcM4oOmhvigtVVsFFyOWlukgr/Rmdykz+adaTwuYaOLnaEJfhF9aWm4uSgnieH01q8qPY25vaVmx+JleK8vTqGZpdtR+zITWfzGeh79UFn6qWV0WpW4bitgxd6ATlUKkzdCbPnlLkwnqWRDgr55reH5k23nl9CKuK6tvBCDDC/Mc+uDML6Of3msMpGBwqyb4V4YO2+eO18mtBB8A1JO2+eSDLjwUmaWXZAZgQBMYZi3fm1TCNrqViH9uLi7/jv4nicGsl2XQdCLPnYeEM8FvQxg/Mi9lxMFZ5yQnZlLxz+tQ6nOWOwPL535KVozeZMk0Q/SktuXGDfn09is2yGDCjWq4opFxiojqDqPsKF/BfbmsdoFs9p/AcQtmcgBLUWks1w9xDHygDAO9WlVSgKjYOrMTWoUlZSdhvm8JdGwe14db4f4WIwNfqcReFso4WvC74HsKUud5x+/HFLcwLCb8zx/z4kjJYlKMAFE6TCWOU+gEMhtXdjbFmN9GRMsL4nWjZBzpSkP0AkSdXFqigWgKSL/HBF3Z7GuJx1/GWDMlGbDkiQNDjyx1vN88s1lI5chsXATCYI9B2+ihj6ZtisPieaIAvnqtaODZYLIA1F8S9yeqpKb09mMBFyuPeovvzEi27qu00oEOrW27UtJgQUWLij9yskuQZ6+s2OWVHjIMrBhY1Xn+cADmtfR4tA5CPz/9qb6B4f4Z+rYVPeCDsAu0mhFeZaVAbDEUBqycgqxxH+5NdlhHVz0NBjr8XCmqKoJ1upYumjvr5llOyOnp3V4fy6COxKG3hKkanblFl32Kr2/x/03l7moz9BM/z35/CLg97JLklvq1L3RT2xXc0kOI3rkoExK0rmcr+V/8Wy0qd/yaJayN7avOEupiSEeJFOzk1CmjSk3tM3qIN8FReErDGLNnwdqlfDoUkNJ0Izl4TjwPWySJEyCicFmnII/pMa8vhV4yeJgpjUWY53sB0q/amrgfpKJRgC3o9rFQpo6JTlHCjCVUESKaoW/QQZTHx3V4FOVTtaVeF8Z4Z7s8zIghw7Sce1Rp1L950VGCtRO9UHTKOtvxZE91Dzzxl+ykRKDohOQjoMu+SjQvcSYv6ekeBMdi8YS5XNjwfuoMDspMd23KE83ZEFrKROd4TNIoEcec4xw6lAN+jTM1jiPg3sE2E4cIFnjT+ae84x5wBz5SbyDpoS+Ql96dqAGUcrcXmrT43fEdIp6cwbMmbI6+aExKDQRKB5uJmvheIhMad4+m7alU9I2rbI454MBskJ9G7eIeVmvw4dTg4oUNaZ8r2VxfIRqyjZZnNy76nakicbh/xgOCy9xYPlc1KLbk55jajH1cTCtChug4UKZlOPeYgXqQiWdcosvt4wUULzx2T8udyHXLhQcnjgdjGkr8oAyRmWCdwAARMDZGmEcUTJoy2oRhZPcuSEHo8LWTLkHXyzW1E3lYj+SrBD1NAHr4RIsSyZI3lCW5uBFYooLlD9ARqa1hILgt7UEJfZBQVwx8fXuTFc+paipQNdOBW8rBX0UOHyi1st8CCRmm7rPP6KkpEeMEZLngr0n3DDqvxJBPVOVrHUM/xkm6LewnKP5LlZBZu+POSY8mh2//sS4xPAhHSshi7fuTsHHkBoFFl//BY1v6OG5cub2xgbG0xMnERNHLfHIEIyPmN2YD58311NTxmCaGL0o3YbDKnfQw4ujHmh4kg3ZMfG3rzhLNL46TIXJu1Yo334rFw8C2kSksrHmMGA4b0VB6ITpszN3DqbbhjPNI09DV2d8jsSi8WytmMTiQ8RSXHemy+ctHK2LOBowEM4febUMZdYMOixkSrhed1bkv3JgmdFeBXuXJogLlRtUBUbUq7RAEw51o7qk0Skvom8kzLJD+d7efy9Or4TbQEeGUtoqYADxFxGn775rpOR/jotnA7G6FtkfBPbPlLGyqgknBTW4LVjqRlBJKn+iOljrW26EUbOnauwDV2UuTaoOXSl5lUwg/R47KeWxpNjKzHfrLNTagiv2criOA9hBYEHFl1yxb8i91EyZvnbMnSY3WCFd6sikeGNQjvmwLIFF01FToHcjQdVLP0qeEQSDMu5vw5xvp3r8Se572K5cr1e99y4TmW1uQdsu/KmTiadNelPeIVM3SeA0FBoYkRL/y/HC5iTRglB6xtDSBfnGWQSyFM+V5qEvhshMLh3m0GFyuVkZ8PM0E1UUpVXTzoeTu0/SEFemgjFxR41il+5yXPwoSCC9pnRb/d6SfP+Cw9l4zVqQCbaXN8hBLUeeZ/wE3VXwGXjr1VwnlPiqWtg+dZV0BkAYl5PukKFxNiXMimTFEG7lKhQmF3k/cPjudMLZ2+/7sVe1KLKy7qteAWyA1NcSGdxLUk+ayzDImgMTCsjQbPggl7BZ+QZTJZB0JRF+qFGKwwa5w2KPlyN0Xn4lmyY4w581q2usdrL2/ZdxhQsnulyQLpE91K5z7+0pyUsZnDGXvQNA9IOs61cZHQWk02rmvVkJyGIhFvGTfQ/QtmBIQqqdlSl5DocDynANB++r0wewYZ2RS6eQRFLWuhEa4006/kZIn1G09AomO34DeiJkfmfWwV59tEko2lmVQbvc0taWIpI6kcbtZM6amS+IBaghF+ASumkgsqhVqUd9PxKIN60Shuu/D7/w+egEPz4ZCAmRSplK4tqyIqcSmzoGj4itATg6/ZXiceM2x1OCMcyewbaGkPTvEANIF86c3ITBbYfrKWyMkJlFXBOyIx70PR4kxLoTYzPar7JLpkTy5FAKq6WC7IW9D7DSx1SluNwTNC2g+L8Yda4lwFopxx7KnRheaMRY8EkRHISgnXsX/DVnss60y1opYzrJrzCCjXLalH9dru1FDSv5PiQLoUo7OOLIZUPXypTP9UsAYQXgBU7Oskmo7cdtjGkzNhexpxAfkbqmi8TTapVuTGw3p4CLoiTZNyBFHiB+O2UKbvPL9woEF6amrdaklKujGG2gdENG0JnWmehD15TJAKr3zZdbtLqj1DJd+31pAobvuz4P2UT0mZPNfBUI6MGcFilPltOLD9UUeAvudHInLjlSAPOA4wtWGyIKD/vBoXok0DdiIq5V1QT8S17uIxLwyM8992hBJRdVK7kCvBmpeeiXM55iV142Zf1aX8/ITIDqgSn4NzNggDax5bTJ63BoCXx9wCm5OC3c+CxSfT7khFNcrlRW8Po0ixJkUEj2bd6Ej4RcVLs3yQIYdXP4yDWE6amDguAXSUoAqddvR/+1UjEYM7RtasQuiy/YtErrwEK4TPZGqLDqnvGV76rmnBhn7TgJmCU7Zg42Lp0reU9iLibFiKtEXoUkKQ39RrHcpZB/194yHNeF7S0OvwW/FWqDFXgpE3TauNfKHsqNq4eMzbPhArYijquytATJHsSPgXvLR55ehdMnZU+PE4vnAUrAJTqM6fBprelpgFOcCSbKrmonTm2Ef4dTJx6SAq7jPoY+ridRxsZdLgrZKrhE4u/E3OSNSl/5t0aNa95p21nMj9+hSzIRg02uSBE1kKTYv3BHzEWBo5VAkxrjg7GNWnqwhQMWdH0zefdZ6L8nIpbd9Mu8srctzAHXb+CgIu7MrdPVjy8H9pzV4aCD5sTbzGPcXONDYG2Cj9HqgLmF4JUB45paVJRKN+BWj2PiYIbXMlv7Ff8GDBTBEAsHyu8gZbfM/clo3BZzhiU45GotVIwbnOFgUMBYZqONbjKzuq00f3JaQDlTsQTRjwOyW5H00294TrknXXVZaINpLyXkkWEd1m2WtkyYFSpCsndHdWbZraG+SeoBvzljluYKy+0p4qBvsSlcfWKXAReiq0FJXJg1AK9BWWuAbRLtZR7Eq8miwfQZfg3tVFgAkG+En+/4oe1VDAUpmGb8WRxbTwjWtRuESaBVh7oLAiXxr3vZx/RQbyea16swAkhWwgMg/u6+lfKBmAewyO9R8VDEsg4UMF3eN5K2GsuImFTDZIj41xOT9WGgLhuzB+dlM61grt111TZ+QGoJhi5utcKuyqHBbqmaXXskFLriEi8fVwypR1nfiPRyoecwsIjYvV4hSYptssaDiVHBfY8BC14ZKF226J/7NMiiSpW7ZP8LKnd0d47IZz4HaDkghVzXW3sqWVUKtxt54EDiwk37qaVIQg9X407L1tBIN4QIWkEje0yAdaduC0x5pmdlqOrTEv8aavxN0o6/hpWjaZhBGn3W/vjANcDOgQmYEgwTEcLoL1wmN+hAURzi8A1FDSzdczUnQ3fa1MoJdx087sVTopwD6bfhA73beic31/K6pMjTmeDb57hUrXMaz4gjvkvK1ycfnQalZfPesNNkVRjG+xnkbQW8lZIF0QoevlIz96jzK34OWaheIEvvdbDYTJh/wuxNUBDGYhmG6s+htXsMX2ZYw9ota4afafo12s64f7ygxDLQXTtadjeQSv/XZXx4gPUfdlml/WzAFVTYCa1aaqbeGg7p6w+4jYNniuT5G88qtQ3269wgQ1uj0idL3cnZCVzD4MPPjJE+qG56fi9zvhQ4FXlU9NrRvHQ82mCwjDR/sdK2PTPTV0mf5VOYd800ogzxsxys1e+QUIBftW5aopoj8PLDVJPIi8VFiraVvPuOQSc7uO3nooCE/fi1uNI7Z7eRVpxSa5sC2q8IUhw5+ulLo0fPrvY5IlNIXGIjwRoxsuODeOpZAA/5Id+i2BhtIrqqtqSXFeewCsJq2OWjLLGCUKroATx0hjziWYxIR0xy7f1ducaR9T34itFkarz9MqD5Oq7PvfnO7fHszI93Vjpf/jqo1TPsKLzIMMPG8wk4p09fcmvJKf+Es5eZlDzDpXVWyp/x0ZWRuOPeN6F/Jl969/NpJrTR1DUDhb22NaLJVR58dX6NNtSjJeGXUXjf2OAvAolCLIHL+I4OBTkLyhZgztxlzppfdEhkYIxDiu4JT4t0T73DEobHJriFKvaEwViIXvSR40Rc/Wjishvi6srdtboKSIvMn/l6oT9oYLoOovbH/bHpcUXGE9gmcJcDMkgp704EdL8xPhas6n3zl2+/oWo1whjhl0wJKv6xA7jpLOV/AQQ39QLMHwXifenK07dkkKMTzKP/eUUE5Y3c8dFtXukxw/bbwSbiHwgjm/YZ7fzbfU7r6t7EmEEqEgdr7/XvMaecFNy5YUBJ/V3TJkA9FQH/xSu90LDJnIzltB/7gM301kEM1DY+G/Lv/rrfspQtWR7P/jA7vpD/TrWgOwT+72clVkYk5LwzY8bPA/yTiUmAx3oWtaNgLsL5+VXxIqWvjNXIscovtg6R3jBJCv+rw5TzIUobBopDg6v+k0tb45mY+eKMARWeCaDo0wYyQjL12OH4Pbvgsfq0d741/vk38KTpgeifSzSDKQz0Gdyy5KLNq7CVFo9poV340D82/9XoljhbdcoQ8OBhdJ+D18wFG9hDwIjIr14clvYHRAIwKn4YJ6rEGdS7ao/17SyRsJAHIMcrDaY/AYOoYAZX3S0M7THhqQSoUepbGEqUq0GAjM+5fz7KbYa9zCMm6P1qpwNxXUpB1zwffzp1Fwla3qLbWYhT/zetFeEtVXbsPoReuoH9fStIL8X9GW2ZLDowimomBh9D02czY6rb026wES0PL/+htiDkwD9qDZfQ9nOQ4r/ZmUcDlKWCXG96xnhCExEE2BwWvsUMqp7D+3Hy6nBFSi2CeD51mQMd5wyEffaovqnTPoAnRcob4mvAk/8uV+QNvvuI5LzdW1tJRHaNDGRYNmeAJ8VvPCbt5b8UNavY66mrnGfGr2dFYgeJ09tMSj9/WwFA2yjOADBG8DZa9p4/5w86ynEBb8SSD0O0FyY2jxTpGa89aauX3utl0VVl9CAD67biZkiVMYWOjUYjoFNYzDvllJPsP8+UANZtWbzlWO69pvSlnxJbOJEBzIGEhxBaBoKvN+w54jwjUfcvRC+k4MOUT6cftRpF5atZflYe+HFE5cdUc87PZZUqMKVK7pJtACCRhLLSkCHqE2vD0g5ZTLw7VfCkXJ3MSvc2/7tp/7x/tZtiGWT0q2MgDKPK/a0uGxiSx5ZJsQFqYs3ag8X9VnB4M5yjcR8AlBVlgEAPBWnFcGpBWcjjMp/VmVhRjDiw54rpwPGroVw6WX3bTJEQc4GD/D8SyWRy+xmqI22sBQfldUNhscaKqGKjFn+6ujpqAN0JBvkuSXmdBIkG68foWreKpWXoTMu9Do6vasew8ran7HoKB+rzsG/uEg6KOYxPjUgQDw6QTlskLw1r1JfZDP7aLGflC4K6XznaElHiKUKEr5K/8reEGySCoH7+RUpyxDvmglPo/K4C2Aa/8zD4dtFCog5w40qC0pxW35uw1QYbJINRsudmkwgpGxsXR+akaO02loMl0sE3do7E16SFKv6Ccw6BoGlOn+LaPtAca7pzmU61VG00S93jGip4gcUaslKlpGaUlLjDNI6+tZFo52vdw7F9/zOvq4ZpBGGVSYp/WDM1B6r0bpt+NgLRlurIPf0Xmn2XZcrJyQRU1Wq4LKh66fbnZbFyIfz2aJA2csYCfbRaTZn5aBSg5W5Xr0z2hcASQrto7Kjpm/9AXWgwupQa6xPxFv4uKIHttaxnbGsjK2tfOONZ1fUzhSnKL7PI8zJfYXIrK6Gb/AoE+TgyVAWaYJVhiWJhEyzj0c9Q6zwDp5ZL+ltHgcSGz7FTMo5ASWMK82CSCZIua8o+n8TLBhBXdA8F15xHZO9ViDQjdSKjbbCcWCi4H8AHsJF562urXeSbC1NfSeWrdK/fIEsGZ1L+d2bvn7M5S8sANyp6XE4n2tT/l+kQX4xmPLhECoR51VwZfQ2SXf7KVqDq5a393gxc6O5FUFwzV2psYWcGb00QDAnEC7j/NHhduFgTF/3slyGapA4ZhM9cOTcn4rxc5BbWAS9+QASfEA8g1GL9sSeXPq714r8sKZkJs4sCRZ/PhiizMZPSEiN/qhPf71kM90zkfjxjN/JIfU+T/cB2zIAeG8zj1KHV+OTVkqYjs3boguHV4pdeYlct3RFAHKGzX+I6x12L261ANkSiSwKoOS+qNQLBo5sOTwYGvdKyfp57rs440S9JyFDTgqCLGxjpm4aWCyVwRNlyYYqrD0sy9+JmiJ+kEtT7qJXSj/OH8LigQqD4pPqBunglyXr0LAnm8NSzGX3onbk/yrJcWw1aaNgCA6qmsRs6qos//RO0VW/XF4vLPDq5e9exHr4rCqsMdj9xsyRRipW/VAodqNRyHb8MzDbEQoNWNGBuEFITUhL7dKI3Hdq7RNKTYRtIYTvjslXJ9OjbZrWKFUvjr3wqlXILrPwLFFo3ezDsZZWNsrZucM2rfksGdI8LNs4Fh3QaAPUhfMk1h3o3IrlWn/roOpbbX60ap16WhY9BArUOiz81KLNBa1teRNVZfEcJY2Ab4xTT9eRkr5DWlY6vAfJIs3QRRQ7+cjQcYYxaX877hXdGFhVGZnbfZvVnx6npQrwX0GcmbbXXAnasz60lDzQbHdqPbEoIKZRqW66kNWfEPuBLCEWHWEslaEISQhwALfMG3ySGSAYYX+8XhvU79+wZ+zn/gs8RFJ0freizb8wsjWVGmnJsF3oPoXuPWJ5348wxyOq2XUQUDeTHFROEhKHBLUZdxYefQDh4977ssGpoEDJY9xIRt23XWed5ytERR5FCPRfiz7Mdmg4b1q2AXavjc8OB3ggn7n5cGPO6IHcJJhIZ2GfNYy0rW8YyHRoV2TM2z4hRYjxFF3VrF3hLrz+n813bCf8j0HfzTqobnfqn1abmDVF5zEHo70FSVJzqMHVkT+K6+E/83yvlp7+UQ2IgBKxif6WsMJCsN+osmoUwuSOv8GAZVCKsxfsrdmhpRbb+Ip04TUqJphAWn35ga63k0TJKe4a0td1dqzzP5GuduAL46nqz3QIRjbhB7bB62CbfXmesol6g/Lel0CLvZAJUj59n45lfjqrgxzsSGFRU8oR14UWwXze2jCmjcy80xi/8nIrZ37jZwHwKh9dpf9hHuj9JOgVjpbVhciIHSTd9s56OWoMqxP7j3YQlQFIGh6IBSTwvvVluPCXMp6u5rBaPsk4eZR8UiFrLM2GpBtwSlxNsx6ga9mkZCGm9usdMvk6hACkQyPU8BKCSv4my9RsDThJqklurOmPkap+lDrHVraDQdg4gyuzXo9p3sGuzPIv6X3VP9wKFsI4XKHjXo6ugSgBe9hkHJqaAxHGnFJ+Zuq1orrQfbGx51ZRS6nCzSkIIporuC3sPKMZx3IEt9P5zSCeed8WWl/xjnxP7+3WzyjNGWS/uKKK7JcP3GC//+NEiLYgJGfrvS0cZUQ5ThP/BuWz3/AJUnwp0h3GFCq3YotjpOEBYSpOCx/AJan48mBNKG3bbhMoj6SD2hUrin9+ic/8/+IaZMQxk/dvN7gRnlbfOTMvP8mm1+lBdwY09wz0DSyh1S+he6uTAHJ0AG9XysdK3Ad74ZE+61e60AAKdUoMv8J58e5P1A42ulUIKzRAQeGkgO64O/xSGTnpDdruUX7wiv5vL/gLnTnLMc/2yAlN3iRE1Jp5fpdWJCOUmjq1F6bWGMXNWQTs6LUKrB0633mlB/GI5YI8gAr0bJ949VSyxdww9CdzbRw4R0W2T/LFnl/VUlbeQ5Ro6Gx8krhTEE1XQbUW9gfqfWm4sScUNjLwBytL2RVDnVx6MldQGa/7ILwjGDWBjAQd5eqj3H/Kd1wZ+bPCD86iH2Y6ZSZsbdL6d9ZV1vBsIhyfGP1G8GOYz0m/+G/IMro+J95rV6s/wVBw4IYSu9A1fkP/I8xEzddD7eTBhVNNoDzBXoZ9mVhAoT5LLdZTSSzU+hckV9iOZhFtm/MQExJiCUMOHI+D6H6VXkNHKDXtGHxjA5zpW1jTd+yBh20RiyLeC07Ch3h/DoeQ9pcW83iwWxXiBVK9o7jRka8Q9/oHAyxleXQg3y4X+GT00K5HjbJTm7ZNvhsBdKIprl8yMjbEjNeRr9G4n36sfGc5gQxX4yQUXPs+jZ1+BLqIe20tyai8vRIcr6oYhJ6FgymB84AWaXCMS1gXiBdhMUZOs7LDvGYeEWFtzPwgKEFG/ltlbCzCd5DNFl98yQe+xY6jQcGEsZFGe5auwpRr19B+VpDGzfXWgcNSMjiMPzROxvfz09ItfUkSRR85VkSP+WngA+mn6X8tvK1a4B4XCP2mursKgyqoiP5NUf/Vp+fI9ma3AjFf5o8JIF/UGDk270NOOMk8FPnp4g1OXPx924stPDW8bNEuc5ah3mdyLR32wn7w6glCbpZlEKx3nSo1Ax4GrPfhCWfw9KADw4GpmV6SlKKiaTrguIlYxqXPCpZqVfd6G61JE9Z2hp5uUs1dlGSKGP6L9j6Z9perpKM1XqCGd8PtGKW2zA4GcHOSOGsIO/2LQAel3joE47pkVllNdUu/7Nj/6v2VcdjmOy52OeUUjyx9NpWk5f29B8wLhnzacVfRV6ID54unS+vwNvrgy/hhth0UXrN3wH3vrJwr7ojmCqUB+PG0ZjP3w9mX0guR67DN13lRAxw+tofVJWkRTwiqmT/BFw+K+KUQ7FYKwNBaudzjjM6jG/yltRKcYABlXtEl2d5dtC7qfZNsdy7s+Lmp5MKCe9xSroVsQRrjl7h/5aHdULRE/8qWUz1p2ZE2pMUaODERtHFjsBBcOLbj3a3nVFnO5tKXSqYhXuJJsMQlVbW8DZdbqRa3UgYVz1vXK4YCuaORLGr39mvd5iDGj/aLh9UKhSJdycqwC/TlVGTVQmcZFqR15np60bn/H4ofweASV968p1GE/+uzp/nN0efpPGn0R5Xe/gQ9lJH4lm2f1drFliJHOksZycEqskuAKpsYkbLG/dNPeiuwmdDmRykO8tyO23XpT/Rtvle7rrVfj/osStBliYiG83B1hLwH6P1qwELT4MZVCt2HyHNroOS+lfhOu9luWc3E846S0KW2hNEGTNuPhnOUJI5Ivgs7g+XB+M+BEBsPs+X57MhN6wxBBZprP0thrX8MEBobX4NiGVJ7gid7m0/dzbnZcPcNt1CuM+KQfYD2VgjFboBLNKWTdsbBRfq4yYJohF+57NCPO+z025Ia2BeFz3E7WR11gUiIswrBhEVV+W8Sdazp6ETXQVzRd4eq5I/wM0c+CUJqaBJ9j1VrW2kHhr07ZutTNZhkPTXa+blvEU+23wXWi/ZRHYXP0661bsmn/LP26etugYO4s9v5Jc7I5PWEismkdTUMb0otLndNYBY1Ybn0H08PZK++SGh2h9+fLvMjttGMijZOF6ucp6TYgOsni4nagqA+g9S0iFJsCJaAPa62T4078ddg7GIzCwwxFrv3D5397h3V+qcfZD6QZolS0fWEkfSKCKtT/h3FLCFDSXTFTQ0gTBC9qu1O9o0musAt5X9eqBDX3ROjmRzZ01TZgLyhajgWXyokYLE8oIze/padyqKy3f4AdEVamhfxTzU7hIu2fdkGbGD8+q/zII+LIkoRJ/aUZNSvdefhZBmEYb/EO95uPH7XZp3T3NO0jWN4EYSOocHi0JJXUKj2qb0+ax99Fpsr6+UuhRTToVpl7drjI75zppp+jhleiNFWDnPcYWw5nRgyQv6YROyv6c1HJRxiPEAF3ay9X4WjMTYzUP4N7w6NyN1rq8pexCrF/tnheiaDsN7K9tV/NM+g0B6aipfFE1INxXBSLMNRVCVvxmLFVSW701ExJZ2hsxDCz/2mXByxVEMUKQgxVKmbjGViDoCv2Dl2Oxeor8YAaUKWA4pkG4Ie1hT9Gm35aKL1E15lfl0BR451vaGIffD0/recdNgv1gGMIwHVojMlLBKNhnkN2NPB/z2niccsPqkSd85/33mA4vOyi1D8zdhbGIXuo4+bVRJG14+lK5fkadY+V2dwfwCzU0ygen/JvBu+oWagiNp6d19mJo+vSp4Arbazdqo6FMMaGlbUsaoscmUYNa9sL6ZreABQI1jBx4QrgsETk9QoB4OhPUp9tBpSO7bhiTjdUWPNGSQ6z7NBoYFr5Ifvcwzblq0OecELS539QXHW2aQieHqHk5DgfSS5PCOq5q82f9RUVOHYxCuydQkPpTYkhYlAPdFyNJnPAawSewRYnXY/x+h2E1MF2xJKhH12cDCJPY8316cKelItR/IybtPf1PX+WnfVSUjRkBM6sb/gtT8KGTvBOKzg6d1/j/4WE63XuEMcoItPPstYmOEintuDrrUD6alJM7tp0xedT43wRIYgiztRqRLHpmm9QvdrWycT82ElRtQNuBzplrUYxEHW4jvYs1ZYkSN+h1NUznuV0OsvuDwx3owXxjd77fbt9wLTHghsjBmWZMXhV2AbDJArKrlITygqk+4dav7natyyGWjx0sguw1ejuuuC3QjCNOeE7q8BbXBMZBBCS4Adw8JK3IpYHhQ0ZVd9OmmUoIHF70VLqZkMESnMkpD3yQOx9uMedax5Mx24g0HSGKcVtumfYBXcMXi4R+FYVytk3fFwFtmksj17a1hzztS8azOM0jt7kGYm+dVyucfkZlZ7k8Enk1btnQsA4DRXeOCgc/b1PFju2qNVfNRpdo7232+pLGRfVxQf4Lk+grAzRVBLckWeHABlaQ7ppnInvK434RSYYWkjxHz5olW2n7lfUa6anZhlTBmxG8ta7Q2qAXx2daNIT4S+vVN7rFTw6rcv4SGMJ2KlnFQG/sathi0VwKpldgmPGDwAA1lBe+9yOWWeTiLZachCyHX+k7mOGHBVZD4Xg0GJxCkOcpUmJjhJ595GUUAm1fmPkTQP/8PIfvrbr2vUPr8E4mYEUUvOHRv/C/ZX1aimriQ0KRPTrvS6OgMtOwm1Fi5XwTpfF+ujgPRtOgbprjQVD3Ab3JCM7pFAb9/NwYcGo+U/F14xt/zELhXTBlkoB/mxhR0Hnx4BaUBVFsD2x/L9VNnqqymTzjCk3Blpx5vxcYMUecODZIGzHE4M58ZjHHPY4uJFMGdBsSO+wdQQ0m/+kG73ECqHqYHVfyBw1yO8fP+k2kZ/wPNnoY3XXBoMy86bKGJ6qQJIktgxyXDfV2UKF8OCKJq0B7aFnR/g7SYWBWr8bNkVZFC7zWcv5Dfs89sNVeFtB8Sl6u0CzfBld79ivy3AmJCjQznE5F1zTTQ4++UZnOffmZJNI1Q6xFmPJGN4NeULLAFxPaGLt4sF8ce1QNmOrP6VmqbEKn0gvzDBOvqVy0s6pNuByH7/AkTdHm2idkcpchLm08U7a/oYCJOkBk1VJw8UTP7lbllvxiSKsryNXxrTgLA2jj0n8J54amjqSBoNv9ZJlxAxOZKvAl/2wHWNzl8nlmX1iPRcO05/9uqYC83PtsPhw30NjpttRWNa044rza5E7NMZPcRSkv6AS9AUazhQhfhpvABBL91gb1ab8E9M6WHhbC/vJnPMGKHltyHZh5xuq8AaWb7JVB0EKq3fRUQET1a4AKaAFiFDQDLjPnxzU43yNGwv7Bq9H6UCryUTOfu0uqhpzkd/wkicRQq78LxhnRdcMAqBcEQaIyTvHiiX9TfwM/BH6ceTs4GuBRf+VMBzTF9uZm6wgj+48BiPp3OuAoY4OOpeTEN/x3ccNk3Vf2zMYbVEbh+FryH39OPmG4urdjIQZ4D+TaRU5aPi/6+TGfbH7Srbj5iV2GdfksYl/h4vjhLJsfvK6HShj2pLLVP8JHhfOSqWKEUhz0S09TcsMk3559LoMt2SRdei2/sQ3Yn8JdYM34OXfaYeExdyXMbG9PgXC05BQtCJGbidem7+M7xfmlRVUmfClzwEBpuHiTg4ogEkme0QAzuRLrHlEjOr9OoTEsfMUhUUpEIwIRsIm6JLf3wdz92Z7lGu0rI+nIlDcsQT+b6M271dgtHIrhzW57GnRV3coSIAdSWiXJDJGvDXwpB/P7bEX6Q/85wRnYNkVnbr8O69/IZRmOL3r03gtYQmghwJMCmJJIf0wuLQput7BpY9Y08cmJEQARupDccPh+0eHFdg9hpvHiM/tME5EAdnZQiZ/GErQVQ6nyri7e5k8YnFkZdG+3Hx6AXTIO6mrEYLAJ0BNYa+rbqhElLrpeSStxJnX6e4yZmIEA0DS6TOeBVlQplHTk2tq5bxoUodp0pCYlsuV/t9WT7HVbQp3AMwxu0qpLhWP83K4uE60tKPkEawu87zxzQfOlTyTR88NSH8/ekvhF2TtUrhl12LnXaPzrhAFT9HVhnI2GrGVVbTkuEOhMKQbhrPO7D8bPPqzgPssSqDTtD7SrBFZX2cGe/fkbBnKf6vhSkRGfNn7RgXUgNwMOsiE/MeXMYYlNKxtS0qwidwt5dhI2oToW28wWjyTv+4MbrrMnoWBVmiYGqS8Js1W7cjEz63ZkJsbSC/DHP63ENY6cuJMnz0K4gKjOINfBgoNZ+BwNse+Wbe7VQhPBSBeZgxMP5GuIKyHqRgTGiBXSiKojKN2m2vg7mqufgb7mC/AEzivdmTWySC4U1Q09b8PmRZGdHDph2avWVP2zMyP8yMA31mtS73amvHaKhNw39EOX6s4hxvAeS96bGSpdjLuEWOg8CzK5qsUkx5ADOWNQMVq6Vbusdc3wfMi0bLoVISdWKETBL6ydnbkG0IjctVnt8gfcFTNU9plv+xjzBUCrp0LQBQIHMExe0ygvA9zEXGUYFsH5Wg4EQJrouxav9uRuADHVMIdUt1uBgw1Fxqu2GTQYyGvw2cX98eI06OJfVgYQXhfR8HSUkgWGMOAldaKRv/9s+WDsgrDzmG+gw7sjNFfGA0p26JEdv9wwTJOX2s5T52k/5ptaOHfxi5mmKHJRvP9kw/dV+gDmqmtmzUByvoraD/lWfpH9E3bHfQOs9ohRzEAWgmwijwFjoXdj9ZblSBwaeTq03aMg3HJA/MRt6oDOYHq9K6MVVmlDYroI7c9G1SxU2OlZzub7OIzgCGl9L736NJsaIs0/rzlZJGfRAYvneq1kvq4sXF/fBcxidkefippOH3aLx2TGg2sIlWRIvV1ril+h/8JEWCTvJyssxLmJjJJt6kxdTI1n2Ycs5UBECEuirJ3wsOGYwd+yl9hJn4MRedMLJuuPYgQjqyPUVvMhWPK/9wF9etKKP6hFl4+Be2IqLIRWRQY38BtqVwERlChB7UIx4Hobx5dNgSwuAdrSdwKPOyrbd54x8mDXdhUCRFs76XFpzW4zwIzPl976vQMbV9AQgdsYTLF9ja3qaujnh2/8Vvkyn3QcYPp1Qjr0h5fMutG/oKLquxOIFsGSIA6+rYq8cUnDCpn++V5fqklDEkm4UShHUIgeu3D6xmPD7wQmi8Z+sgO2Hg4udc0CjVAkNhCHLCmDIrcR/msNGRRqcDQnAOn4rhyNKIiqp00KUD41njOXxZ/cK33PLsJRPy0o2ZHrmW6W1Bqa4C/sa//oGNi6VfbIJe7yDWnN6Snzruab9LGBapVoy1IJuejU40wMRhsGHa5FkSgDql77BuGZ8aVtucuJf2YQlhT8IDufVKQRQMd7o4K2bcQoXZWz1nrFVrSQJMxqqRYZ/k0AKDb4W1tIyWyyKiSK6O2+bIR8dFUZG1ZpIKHYDDoEGjafvzHaNEIhUONWDpKPhd8IG1IYtDibWvFGtMXy4Ds6MSOaMcqgdEPrvHuxp+/lO3WxVdJjU9r3fNwtTncsWJ8YPk0yojlgpTiBE5+FuH0KhjSsgiBjJtbXYS86a1JqyC6P8shoRjEQFTRbqzGnpHsjbRMkWXrmicvCzuNJibRlSjdO7+KljeaNNjvTHJ1kF6U/AfEXzAaL0G+tasHKBqYrVXWuo/vOLeVmC+kAgrFFmfSPYECS0wSVAm4eKPr7dqeg7RjfzVnNcX8cnaos//KjkkrBIaK4erckw+baVERhqaFAGQThzCQ36TCINnsLi5lDR7G5Ij11APX8F8m0HIotjvSyZgUejb1EpeDkdmrnDJ/f5gTdbwALG3MIJFniF29HrKf4Vhsn5/aiADKiOaJqoTTAgpFI0Qyutx6GfbpwmU8/GEDYnGEynm+Y2rKbRHjfFyX8k1TVdy4Sr2HdwIW21u+Jl5FW///zYiQgQiDn9z35JjgLmzvXjDPA5AynhxWl+q3PE6LPyfL1m6aMsjhO2wqSaJo80JWhYj3G6Mf1r98ib8d6yF+XS9bLp0ivBwWgG5fswrD38AFbrEReB+SLVecXO+51DCuaG2P3KoTqXG2BDk8BK4Efglmx0rM3+GsaF6AaV3eu2ejXQGzHA9PpdhrNjnfA/NxEptmB1rrNDkgrsJ91J5L+OXY5Uoe6saihvaEJvSGtRvshGQH3AuGZlHLqzz+VHXVrS3aEHSn/+EFD3o+3O1Gk6BMtY0CmwX6tzI4in+AbUnpqZvJpIthpjD3IfAguGpeI3YnMcucPG1ZYVMcdF+aq4PFJQGH/XBn2GXO5OjjboVhRsbbYKr542+okij9/F9z7YjGjvkCDwkwP74INYECmJfGe6P/YBZExTf3EzWU1VKoQM7JWm0xyPLDpggJoH0xVioItz5jKZLpA2izA7ejvAbPyAWM1ChE2qWL4C4Bo3RYWFtQctPX0wfJfxDs7u1xcmvYtJP2L6IBP/ABAyHvWzqStUcFsXz/x/BHCs42i4C3pmXoSlCh6n9LWBfSbQKPJWL8NSasb1pH3MFYMiJxNjn1RONxeYZGS4rNWpZExql7y6kJtssHV0sTMQt/caNM6smkq8TM0UvqUuBdsIbSl7QTMjMbdcqxrkVrBwDI9Xon5XQJtLeqP7xscnsjPTCmHEiam3cKuISuM6krz83BB8a8up3/t5J1nUNWY8EdAtNL80GMVUi1MGEmIahVgdSjOS4WCcjSbhXwE++HIPSDH2F+9TkJB/vgOeIViNhovuwp7MAA2nvOvWK6vzbmLABhXV7VsqML+FDQSgXwwnM08+b+9Iip6hO6MMoC9thF2K/ERr3ECL2TCYtVoW0IRp/9YL3+uoH9d3gZKlSt/E366pyOS6IwebV2tp46vhaWdrS2EbaHNCKMrIPE3BmRltE8YenHTVU7/MF/tonfuzFrEel07ly7xdlPwBH0cPtqfbwWEUcuBi1uG1UhbRGaLCOge2AxitQHi/zqZWiou10oN7vgEur5fKuiCTACaazeiN72FmXxYsSl0mfzrgnfke2XVQeDxp/4H86UjyKUWJVFT4LkemxEJiS3ZPqdKb17jj64DGcYGQfbfqOchSH+YOKrkoUl54yMAwn5f6dhuC2jAQ4noATlJdm6et8vaU57kxIYzP21HL0U9bua+5J7Fj5FUW6Zumj5C8cO59nvi8gnSGqFsgpt/7i5SLYVq5lUtNUz5fHSjExxYE0iu7V6hFa4vjUw1MxzRnx3ubBZZ/Z4p+yldkmk0qFrhcLB/FrWEWjW0q+8dX6wgKMcKXiJ8KA7JzqkfzTEywJhkqAJnbmruSDSerrWQXRQ071NCyaXmuBCynx6IQi+jsTTHXqPICkT1LzD7CrTTxb01hH9FFk/QFtF/3gT1jrjujtW8PehuE/qQDaawQ1ntGsjVhNYXiJZgrmvhnwtWTjQRkJHfNHtnpq/054EXAJO905CfWyI+XEQI7UDdmwg5f/2Tla3L7pgq0bkf5TINSE1tCg5zmkCSfUcceF7sh452oEwaIpJZriz+yRWC2a8dUpNNW3u6sNXOy4HSjqMQYzz6PTcvbcQ75+yhQ2NOHfcWxBM6uStc20An/cIG8YuAyowusi5SaqBluZuB+OMkSOUe95N5s5H0JFl1BmmJmoffiK1xB1rAvk7VuhHoqHRJJEpXz22+dUyJaAg1P8Sq/ixzEBCBkekk2h7oKVBWuy+lfRRyCqgVJWa3OiitbDqkqbn9V/AEzlvTqhTXM3VqKPPohqCbA+RWYcG7zmoxuOe7SyxBmVoznscsB4UZI9wiIXrOoUsphy9/Yf82gnY/TvKcE5KJ4boW1qL6zSi5K1mSp+ATBli/qe/o/XsYjNM0eGCBDAvLjFazJYC3bds4iHuEMp7SRdlcirdncr51kvJ5jx1P2U/wIaps/vV37+n7gZxpxXjvbUI5lRf7B0pvqKxQ+CV3fzXyyh15Au6nsQRURozql93zMRw/DsiDHMtGW8Gv+6jIr/cRF/GKWXHN/rsUyBRUp/vXQ8a6VT2nxtnAQw+U22P+iiCAKXDrU7CNbB8DsFIlMi8jPEFPbQP//UC3iIz2X6EjvjLHdddivFN1wMWOO2CpLEy31GqhXkkI2dZirXhJBMqoLLJUJP1a7+9Fpo8+m3OzLQ/xzE3l709QoDZKiWkMhYlzjtCarW3UrRaFF049RXFGSj2vRBCftF5rWDeqYTcTVgWNsm8/bA3NS3orhAzj+Pprk0WLrckZ9dGN74RUSyTDFPjo7NbfyZm3xl3PRC0QI9NJAYwcMz6xroN6DzFRc6MLwsRiaJi0tgthCPFhwDls328Z0AGB1C9TzItK4Wl1zcE1HAGy05eyJKuXI4RiGfVVLazXOMXSi9Myaa92Xo1maG393zY528jqbsO1BOvgGSo7r0ejocLBkPyphuGVwkHr1s/VLYpQ/jKiSOHcJzZ8Gq/BrE/hKt5AjHs9pU/jcxvdLm6HA6fBQpX6cWSzufPDMv7X8S6svqwFbGyLxSEAmslwkJtEwE06gMeicZZDc2cyLHfzi/L4Gm5nrR+3HoV43mTHxq2fJZD1S/yL6V4iv2UtG2A4zEw2E0W1xBPOsb6KsuSCOgMuWBAJREXrs1G6jwAbMRyTAdwDdBx/18CvlWA/LDovQY3llouyoR97KhAQKlLmF2S/1rBedbChGoEQt3spcxdqk/mQFV0q96MDD/tTsk0gWbxO9NdTzMfvr6a6vzknnouAV4M6Deqo3TAfcrJZNU1t+DMdiaa85laAt3njxvHdeQSdI8Jt6GOfLPlwqd1SqIZM0GdioAauYDzLrE4jRpoGID6b5ZgJoHDJN7uz1QyQLGPUpyQnWOjJjq7addBAO6QAjR9aJRdYfP8E8vSdzFpbmgH8n/tYnULvMi0I3G2bYc2w2vS6ZI2U/2DCyLtPETn9xUFHtc8w0d2YMthziNwjkkVBLR+sn/qGi1IDsZkTxA9uoePq8AQRetG54axq8hAf9xfEjaQ1FMD1pX7dpKKmfi8SW/x9r8wfz8f4qER2uJ9Q6NDH+2WB/WXnVC9xbmio7c6GYAzfABXS2v8mThtylqupFka0BZbkqIvF7Lq2LeCzaKDLTJdO0GYpa2y4ktkelQxMrivQSX1aJrs+Xxq2mCGAeN3o4ly8xku7WK2/vIeXBXyIuzM0aDnIeZod1l4SJSOO87LCx5kufi76ZhxvpynF7Bjd65F8k928W0sZ4g18wJdVZKCojDBg47l++/PbdV1wCma9WEkmrihZUaaRqGEOMj9Px930vHdCuxnqv+N9OpjcsEFo9d+nosHZBOjYcQsvA4LJPriOqlnPZdsd9OMcpCNNVC3PoPdypfrf9TEngr9NZqkfy/NBOPyvFb+w/+5MeLQoJLCd49q77xjUMAatZs8i/IrAV1A/ntafH+UUz2pEM6CGyleKjA6XGJHnkkqtdKQ06z5lSH5FFYJnnwcmXi8/6O98A9CkIH1L0jH7OvuISs50rrwPPKHaJ6n6o33ZYt97YOctBTbEUd7lMr+0H6qGg1YiQJwewxTCPUcmH3nAv040w/AW6FUA/PD5qrd/NZkYnvIlmqM49a1iT46E6+PLlKiOGVaIUUW30QTNcYVrTrIcQnvsrfPlS/SrXQMPRw3Pt5mXw5sQ14Q7gqE+6oa0HwAjMaUfe1oKUsPO9k6OqHHfXYqQMCLgQRkGh3IuZ23i+C1htJ8FnJvb9aKNmTlIGuocWHvL351KcVMfTbjLixRQpQnP7O6tpBlUH21dzxXgAdBdQtEhkgg0d6QmFpsPeJF178OrmlnVL6ApnmrfjyvvD9gJzPVFX1bsz0yXpWKsSq+xm6h6RrcOZP/mVuJ/WTJWg4UsV+zc9U8ki7ZTvLQ76PkRXMHPH7922f9R7ag6rwg5ai2pOqQ/HRhjDb6Ki7m681oD+uZbyDIXFbiFjySBQtcuCbKxX3L6+fPCaPvLlyC3QbH7D5IDC9LIx0LUnlET/Idfq8HkvT8E4Sx/BgFns65TxV5Jof0QoAhekuWZPub8BWps3lqc5+TZG+3PKx/a6RbxGNvKiBG6QTDr4xoBZVbvBhW6HI5VFmQ3KoY7sz9WSyGLy2jikSk3p7f6b1qQ+LqBU9e11nyRb6RNy+Q8UvVowp+VCw6GDKiG7zo8jgEjTH8J+rEQOHPu0nzjcu/K/DHfmgMfAyoyfg7X9YHxLHC8wXB4YhZNipi9U+AO5wHfDMao4kI+YxcJXkx+z77cNWJIBeWHJg6W7/ev8CwFvfA1dnFFMy5gdpVnA51BIWjZ8YpuiTtETxCAzicr2qKCrlEgopbjAIaX6X3xF7WYqVGEriY3Sx9qYR47RQolCyf49GgZHfs/SCpf4U3EKus7Mjv6It8Pt8+KX5fAg8z6qR90P6GFluk1qNy1BzkwHZpYnlLPJR73JXB2Wit3Jl7Bx78d4oJIfN/tedQvFMzluXRFpqOJlcuHFKcb2zi78WJ22vKcbC5CaFPdp4iVcMWzKLOeGw46zrXzGDlYytumygh6kjEg5RaElyib+CqCvqFUQ2gZl+joUDQPemvstuSwulxWljbXJ+gHNnwDaJWNGrQiaIU0HKZCK7d8HmQmFazJMXcNa7eK+xHUMYR4SFOuRvuoxjnDMngH9SZNbFWnmRROiWHZVsSNGDIpjZQcqqH4NLCXHpbOu5MJVMv1iMyfme0JTpFQ4HzvEHRITJp/UTX1e6+c1V9leZCFv5f0NE9Cuy9vR9Zg+kxm6Fn7E423eqs6YYpIh5PTG4qgCpW/fRYSsEZA9oRe5K37JOwtwyQ7yUrBBkDGdC523BQjZhWC+FxEESvfj54ctNxbHKhyRwmJu/XWno+uaGeWaiXZesEDcN8aZb/aa/ahWZZZts6uBEIH/5B55hFLT6IabtZoM42zLkqYaqjFEd7c/9nMCQ5P1jwWUyhey6bG/+0Gb5ZeSrZdh40MXNL8XsiIATaWlFzo4ot+YoRDfIrdFjLkkIGKZq4/z4og+qVZ7QOFd1V0xgpih9bdpCMD/2k94DFjMoxTLeNVD5niIawQTKPYIpWZEKOt7gqnL+Ce0dr5NiIkTdPdc5Wxwp+UsyBpfzkjKWNIlCo4iAFjXCL6aiB7jPvj4ydiymHCitfndVwLzJ5Iyw+Lkz3ykyssz+joc0Sem4Q4PbcZc/uuPT7ByQ40tJ57jr0dlJM1fhAFFDmIljhA9oKJAmy4giApqXcgVL9MxR46BQGqLsPvuQOEzyca+mPvvr/w8gaCkcpm6KN1oX1uBmDfX48KBSO0bHIMLFchXitUuK+md3d/4P2jk69J7WS3bKdlZwJuXt91h+DHQSM8c+L+WdNYDOZG5+zM/vn6JdhOUDIWg4/E8/AlGsebFPn/820oX5Fc18i5lCo1nbHxagK7WV0pBF/hwIKFO2mpx+PZYbGuTqflAbL4TrbbSLw1QUINbwDBdbsN3EBMi3j2k+F3OggGWZX/xQDPvLZrIgW45hBN6QO2mzrjGvkSFrps/yeDjj6w6CMl7RJa10ifIYY1pCtFfm16oCVAYu8GTvhK/rSe4dNQH6WLNU8E3CHKVzE7DXdSjpHTGIdvFPHis3Zd9JrZYhuP8DdQufd4Dmc60maEj+RTKDmRPLaeiToRM70AvdgWcyj3Oeb4hltPwlBHNXqmkS0MtxaSmZABaw+0aGBzyxC+0X3LRncaKnlfvImrd6BxhMsU6ZQJ1nX9jerbVRweLI5LUV78nOu96mrQGGwdtlq4ZOCjdEdIRX9JBFyP7ODfwgjW9Ha/SlDxuMO96fWRkDWxS2XL2PiXe26nRd1VJMqiNFLHS7we9xO39KC3nly5aYfwm0SKqjB7DC7WZ4K4E7bK/qMyKjwUzdp7OqrWwVwEGFJjHH/OP6gEX7nGq1CB1tbpLY4sKyPR+vd5W57GIhWc4mCXATOcgQYE7h5yx2DkcL0A1ncrbkx2b9H5XHJVuGWvp2gk37latad54uNJfKeW46hm0GQHkmqs3Fg2pGiLeQ2M/RZFZ8BPmCisbmu+CIrYj0mmlZ7p9sS2yyZd1E/HvsKn42BpFRTfeRKbohkLxeaw5LzPTf7tAmfgzB3qYXfUvQL24op1+EoEX7OOtqOlutQM/9g9icgJvOJepOmjX+MnL5RvntiEE82gxCEYS7WrD6WByyU8d7phQ0IZUZABDldaLA7eLqpXT33y3tHFK+SPivL140V/n8Otrg8X6ZRdciifdV3yY8dviPQmBwtveRynm6CnPOh9oMWyjDcM2hiQ6tymL8+NMMhtjCo1sUZGkf2FBtyqmGYTH+NNE14PIbUtdVb43wlnfDTsA3K5VX1r5SHn5tgz1VB2nFGiEATzq2Hug9rqYvuOA4nm13GbHeldU6lkBzJubVFvVhz7nVR8IU/GX9xDZMjEjrPjHXXOWia6Vkk+HWGZCEqrqvE5WDtAVlPqUisxLlTr6q4cvVL4bDR5bZer4lncNSqAv6aJ6FnfwIjwWvsV0kLDXHFsU0WLRF0VgbeBlEatHywl5j0i1pG+ZFxFSwc6bE3EtpXnCnrc3qBIyM5Q3V+NgeraufQIiFPE3Otcxm1ozTXRzS+IDf8M2FOT0S09sKngdx68kNhb1bxNcLy2QA/xPuQFYcXsAJK9eSIKEesV0n4w9CywC1Qcmh/5HkyPmO8eQLqnGgztNEvVwVN7J+fxGQbxV1Ce3xD4lgJV4zJWy/wh04v97V7mT668Xqw6QhWFcXNPujoI6r+cnurIhpi1UuLcESrSw1IjQo0WjUkRx+ISsiLJZmfQTE5KUDaFGUIcKUSl20d+nIsi7ZZ3uakPN8VFMYUNj+qiOhLvWqCUQCwE/L8B0atKWX+LvQuoy3ZeDeZKWw1LsWYeWmrda3vvhxFh48+3KXG9FPor9q5CiwHbIK07D6pgUb8HxFBc66h1z2fw8FGYGOSuSONeUZJYxUJNwPbhKrpXmMB5oFmCjf9B0nz6H8x2Kf+DNwFWHNejolSUCw2WE5ITqJMOnMVYp//Mow4ydBF8eKAwGihr9+SdBgR0UFdIQ8yB9tXlDj195oU1LTzq+H+mLB/vCPQBY+DztuOOAEqI9Xn0D4PLDn2Rwx27Mn0aPfkoB35L5kCTkC4PfCtFNBc8+trOeOlHqHfVLP889ptWkpuAHMV+ijPJ4BpgsvM7vp00TUnimgY9BbwfwIJyFP09aPURuEPwNHdwlg2iqqjr3rStulDHsZ3ymWBe5MfC/+0AnIrFmgNoG6ezPvY3C0h8wmEhZUxet+yhwny9D9MZgyLBMA1MgmmcDQJvHgJ2bI5EIUXOL+sE1VGg1qYp7o4XiqloRc1zML+hhmlUOHa/ZGD/f1QwLwQZmlkQSvF69NTDOjwp0pxpszyNm6EnTtZvcBZHbUOZ6Mbw3rEmzZSrt4OWJOdFe2JfN5MvaTWKb8uEVxs/jCVjCKGjSTc+RO5HDDwxCYJ6J6IltrAzSNmiTAb7v26i3+SNkdu1pGheQLalaijcTADLSomt+swNLPtwNjLnmJFQ6MdyL/AoFfe87FHgJYLDkvVN2dPh2oin68kgLzp9rC83vQAInSw3KW8Y4j1TZKh0v/81Sk2lE9RsLfBEROZI+ehxy+fUpJ1DgURhGfioWZK+8xk1Jayow9vi5E+tkWe8QH4XOBq5hsKKvOqlj1jN1+FuM6i8pVQVw0EoUxv/wgiAoWT7/WWJjQxAHjxgNCo9BVbsOuNYNgcrdMHIg9V+bZFEQSXeyqNL9u4n8ydLPAjtHpVhdpRuJLgFOYyIhJR2P4U/jYBp0IGkmeR+iIA/CjZKmiZDTOG7YASu5MNaYfBTcfYIaRVg+ERANIXyrTK2zrSTduK1szS4yWsESbj8bWA3Pd7d85egmH0WllDLK9Afh/R39s0ip9RZFuN6uFnfY0Uyn16EN1slsfDbgONfMFYvMvQkBUzoUNt3vS9W5Xr7TqQJ4T7sqya9YBdL67odllYwNXidvYG1zRyFWIeOtWfQWWmaQQqD4UpAHPUHdF8n4rC0sUNoARw3vdIUNNvq7VVDDRL46MrzW8S1t0OKmUEdc2xDMV8CKmr8WCq1fromSM6dbxnSthvjxg5cw30tUGtOm/3jpe3UevvycZYn96cus6pOjmorOWHWHIAPAkdYK8xGJymkJck2PKWLEgUefQMz03XKwgdSZUM2VPSpTNpAq0UpKE0F+R0S7zN9LccyIZBC++8aDNTlst611QnuqsiCQ95lWzpg0pAxZaQvCoZ8cGXSI1LxGaPCHrqd399mJmgomp2lqXZ/rDZCeDlQegKx/i4axqGPYqCQ29x4h621LYtiakttiK/untlr2j9PzDNd8X/u+V76+KrwbpfpYKJugj+2oJSZehQ6KUazoaATqHBy5KIgymN+zqTKn0EQU7yNEDMj4e4gABdDH/aUxQtBH1g4zIkneVAhD2uYVOaLa7jy+SKbxNZcO0IyVHcn1TRSRjtS/2q7VgIfTbvkEHjoLvwoBHYK9OSulnhDjLJVhCK5f9o9pjWE6JhHnmvQ4jufreFYW0yE79s93HvVYOv2ScA25dXKuvYQ1agsrcLglUFzZ1G6AL1L5mnJwuw4A7DJfVsrpRXLFXPr2Dhor0XMBICWiLRg6WnldrmtuYvC7KJuOneJMRnqtJmXtl2vtah7kxKIbytO/yvck5DN15xXSqzN9OYpGXNpvWs3PfhPg6dyu86gNVtLDT+TUilXgFWNFFdG8ec3Nfg/PkqR3phx2gNCsZwx7QB3Uj7VcOou6ALtu6u3lWu+dxTWUaPXrbUeBteGz59eH1rKqcEu9PfnZWJ+zUHzzZw97ntT7LG/mdaXDfTGQUC2Tui5wCdr5787BApkm8y9BtUvsJX0mPaddxW9N9LQEHS9ThAume0tHehfMLKVy15+3Agz/yyBz8QdWnaK3Tkfa7LugVaKbGkgTJ4kaYed9z0YHwASxK+WiY48Triosj2Xzh5+nfB8IZTOMy+dWh9QY/8gsVlcg8WvxQ81NGbPEmYpY23FHnAWpBfi/gp+f0hKDLiT1hK8+X3l8Ewzf87cmERuvEg7Xd+OsknDzAd8kItYN3pQe0NRSi+HnAj1WOmBGL5LV/qT+94BGIu5nwz1y9B2emvVSpQSsocf6DZ60DYtsVAzkOvGiBPvB8IKS4SD2yL0aTqEFXfWo4bSdcZL9CXAluOgKk5OoZ/8nryz7G6abgD18v5lDuOq0eLjTuY9uxr4P2oYqaqaHQtLs3pJUFvZ4gAI3drfDvolmMu4OgML5M6H8uLOwHwYtMEoNSm7qE+y4jUz6Yip6SgjtxDT9NhHOWqHi8nIsUGVVEUN8EuKO7+yTDXrpfk84QbGRA1DrTOi5Sioj+PnnGrIOEROih9UBXfH0XuW31nKdSJ7JB+UPU3TC3TfBPMeGuQrmix6h8lBql/L9VwHIkMciZMmbiyYomWmiwEC2t5IhaaZA0Z0EBWy7c46mrSZYakTYoTXqcmMG1udUpM90f2E882452hOMxpX1KIx3+34FxGWXyEKWR/OlVMk9nDqFGHKHXegCwTKabFzMUyIVIyAXqi8fhEdXkn6gPPNTf2Gd/yiwYdJO/kl7clypyxk4DgkiiMVNCn4l3SSOiN03O2BZkTkdrBHKkSFYqwxBZ2HAM7uuovSRW8f76e5hQTA4tYjH4AOZm6gZ0HVduCDhZX/1mstMAnliuK3gXLOa9e6W6gQWbeE4/HxHcHYtbGG+Hqt26Gso9+1+XBUEqrc6wwW9yNKzwJ1atXrwqhJJHk+V1rX9MfIvB4A9x6uFhm2pjOy6H4ljNAJb+XPQ9NhaHT0phqeSzTOieeAysdNGmc59c463B0BsYX2qRMuUuTu0qOcQiRDvvRiO81oMDjztmRRFcomn+7F43Pu8KK1p7UkMXbKr0CQjI7T64h1fcAWFKVRvrxigWEkvYmO9n3x05bm8PzwbHTtWnnithSiTQZiN09m80epOhMKwGA1VgWr2jFyPeAnXK1MmOHIivRUbTi8EvJYNo1nY4fDF/F7oFqHdcyICoF4veX8QqmXchnYSDn5yjikES2dybkp9NN33mYtXxdg+PtzIj0wODHWEEBz3xzbFdzM+9I/GAPma0vmLqF1QswScbx9MRdjlWOF7x1BLfcS8sSJyH/AGxcggWralzuOcfr+ochTTSkAFkwfAeV6cUmm4/pqSdm9q1ngQ20e+apLHpPwLj8ATUc+ioDNlgvRL6Qov4mvGv3uxKftf+Ah4KsOhmOofN0aizFPGa+wqq+DJ6R1Yx4ks8iaovc11bB4HxYsAalu9n90N3tTBNirxyVezTbQxj8gtxQFlindOY0k/idxEiRpXOH+BbJ18b69+WXbPKG2ddaNr5WuRg1t+3acKej3MVEEQvqnMKAlMpdWPTUrP2Q0JHMGzGU3LFuxOLT0e3IAXkOz1iUbx9MJ3/tXjfzG1JfuppCJHZzmeKz3yhbI9a9WHLhB1yt7/tFJSFuH1cG9ISDWVTwZnnSBx+2PW0J/LWRLdjF5coTIgPEQH7m/dxtP6UG13LrqubfDNcGyo5o3wYezFlF5f/y085HviimXlnAGOGY/2SS+PsKuPC0avLYuVJzXE2fQH4Wz1H6dZQcBSLwmD52ygDfFOOE6dCAwW/zh3vC4EoHfjUKWxNNIJcljPH1+JxGCrNJhIgL2PaQFz78XJ/xxtc2BbTJpAr3X8lyyrp40MGcaXdq1h6bgYAZNkymExYY5IPMy4aTDM5x+C1q/PqnHT9xuFWUZ4yRw7FVekqfmgrhdYOQpUfRPBmxJ9c8KKPz63qrYCZcZToNkAko30H5eppbn4T9/Ly2FPlU1V6Sft8NriPm4xK4LKyL+T26zhRaouygsyFDRzch/78s+sewyFFndpLW142/YnmmGfw2kN8gtQVOzOd/Nu11aOJVp4ds+iBpQ9nN7p/vIWS/DO0+UbsofYlnLBzWKBG/FNFPrCUwMPHwAof4+O1Ahn7MAZIwlD5cyh/PwxhvR5cvFb4486UIRnj/t2lVl2zf8FaIBYCUA8LqIo2DJtlnjprHSDWYpnCl898+DduDjlWasXSf3PIQNwTnPOFf4tTDQdPJh6C7/aRbgFQAijExl0r4hem5/jIT5BwJlQFtoNagJtihQOzu5B8LjktO/VRnxq4jtFSOFSMy1pg41ErGK/Ugl3MptrzRY0+dU0M5tIMYlrITrdBL6HoZGhXhsJMCAupk991nzY2AfwSAoiL5gbegVT+TnwaDJJ6si7AQnQ3y88OaYoCYs6H9AY2H2Yz75PSoLQFaKmia8I6TWv7sPZ96I8wM5G3B0hChKYHAfJ7xYXo7wSQtbxl5nT+glis2cZMcFQVOnyGwQCdmLdhiwV9/56ngbtJHXVk2Yqoh2cMCo5rJyxTnO/AjdZWYmGd6JxvnfrXxWDq//zmf8f4VIRFfHQspn8IJ78SgQ8E9fzlZogOn7cDumE/oqbQhwDoXTMqWENoBXzWe4eJpDCvLaIjeydghjrDJVvSRTrjQVaILFX9Pq2WAUNw2QCBHQDs+MgcvKyw5LU+JCiOGRwhGnPhgxG/ZjZ5xDgfeFjYS2jxanekJLkEu2HSyBrP0mxTDen+ImPT9aafAlutHQZrt+M/aMS5P3+gaoPyc2R2PI17iiTceOu+NwD6cLayH0okAS+EN2dEzMo/nZs0skRIrGribLnZzMYVDoYBnvMmfc4+CbpyXZtTZd6RRatLRuXLAxS/ccKG2Zw4R7JtbNODPq82MPt4KcxbYILGUTcvMSPHAs7o7Bs4rrYgmQKzklfiWEetm80PHT+fud0P7CGq/2TxBdbd8pNsw32/XsfXSXfw4FsfYwNm32VxPgqFlte21qgHzSNqMFIfKsJm1zTiYmGC/oF5VUum4QczysoxCivxJQgiAKbe4kzCUdWWEIYzUeQhoCdCo6G7Jfs/efkn7wZoW30lhnCy9aNv5AoydXiXVwAtPgmV6wOTjyKKeW6ESapOfi3wM7YitFGNPuSKBUvQXHRTdk7/qKJsZTVORK72NIp8y15BwMy1ZkLN9RfiR1Hd5O0Qblsaf3PVhdwLGAFesO2IsRZTn2r5xbw5ooL4IwAYDklRUld738Lq0g98j+PBdOtEaXdNe9liZlg1G9W4V+OozJQHtta+xqOcGN9k60agRBh7c9NdyDeJdsizg0NLMNR1ehUYXntBMqJR4+PDNwe5LLRwHiYaxNq7cgS3y/hUuTtmKUi3wXVTWPTKbPU+tlmtP1bQ/VpvFl/FEZr6qR6IQE32XawMeL3dDQt7LGcz2xUV/gewlIXLaVdhmD6cukkQqqqfWQme5zR+ECb8khvtC7YH9jxAA9lBdX+ZsfpJEfFocO2zNhQz0KdtW0O2DLsPAb53dnSNQuUWj1o24Argqc0N34wOl3IGEeJZL1FT/BayVEYsBQRuTZF0+FaTrVcGKDNP91fxmMlIuK+ErKEZshOpiaHaYcFvVw5FxDiWkpE7b/VFJq52MvNncBhfDJMdH+X4n45g/RrKQmYekUjQDd3I3E4dzyNUU24VqewQQLIj2iRBN1iVSlxEvaJEIijJmobb55DMqflLjBjo1yConAXO4gW58HzlJx7oHSndsgEFJrnkFN3lElXmLgECnwgVJaSH7NrR2k7YK0+VTGiwPwlyQ+rnYho4jAHYskjEKfVpeHB4wVQys5NbBZAAmROqnPuOFqkLGoEKdRvhcpH9V/yqFuMZ+25+M6JD8SW276QQWJWdqGfUmFcaFNEbvCBuZz1TC/JdkQ/uu/Mx5j7Bpk1ImCh1wLLLeuyTj/j210+RxM9Wr6zEgLjk4nlOwZzKWDgdaqRPvDbiZ3iZOgzRNhrIHoC/neu7vbK2BZBB7QcLO3IUya6yOSAz+QOQh6RQa5atu0MVTdNDdY+fUnt3Nwr8Q8CIBrw7azVwzDYmIhXsDHenGB+JtD9flZ3+U3ZuCqjdb+X44Bqp8aJ6FcDbwNGMbOuaL2XEGkPO99u6JkkMNLCr7mYQHG+yCNNWdjFIocKco69nzPnwVpdzZ/g6sY4MwB9VQ+Dg/wn4jEONU1IOOtH4wNax7pog+Jcg4CJBBIrHgZESbRL/15kY7nmjnHCg6EKeSYSuRJpODMhDfVc2W64BHbHF8Gs4FMzgVPck+pdhTT9nNudggBgDPfMCJ3xwvmt3JLx9pLFKZk2cHztkwnWoM4GuCjaDg0Mx8GIeImomXzmTjdUs8gVl+DO/Qindcc/APica0na8PzzDVKrn/RSwevyOgqzToiaqLSA53Us8XJ4FiJ/Sr2aF3ecVIe9WQ6s9yEpJ93bfYK4yFhxqxo5uYCwXZxbczQSmCfJ/OTu/N330sprrZKSZxjwzGnl+aqdhnMvG0Iqg4rmoIYSAKAhaeETVg+XmIfX5F0TqI/o9CtWtDJqYC2OnyC/i+ig+FD3GI5bVnXxt0iwIi7O/LEXdVLoAK1gfC65rgO5f2YR28VT9onj6bORP8kSiMuE2Q+eIm3MKUfYg4I229/GywkppCIi54kW617Jb9hcnpp5p4jiLw0M/q5XSpgr/0r6igTvoMFSaic5h3540rKmFvsNJKVr8T7JqK0XLdZ78ot7+1vRqtBnfwW5F/uhg3X6XGAe5e+HkUSZun+UjwaX52ul2JS9Y7fcAaFF0dXBwIJS0Jo24d1rm9TuMHoM5zJJsgKcW8jx97zZ5FckI5HWIP1JrkxqDDhH6IRi1OxNdERer72cCIs6tjBzTIljeDkPk66DUcXFQCAGZ6+hJJ1S5zFmelabYYm7R4zbSJm5os6yexno/HJrfHY7khchbM3Eip1aXwtIhHsFIWHHGW2kFekvPByF6Dh5oPqL2I7mCR7tsapXwbkxuTa6XXWNneZDABTnRc/GeLjw/QQ37Cb3/JoqaZSj2qfJsGj4VOGxrF3T5edk086ejklBtVMpnu7pPNErxd2k5q+1uKhTvq41s/IHe2xG9y8TF7L1nZ56rlaQlwayjq/cBMVYlGilboYDGwjMebXWeNlmhhaNWI8rZW7Fct0Mw1JMCkMpeoF/mKO9OdDenrcx6tXgu87jBYEsinzFiuI6koOm1MfG0MYrv8jyCo8qFaExirDIHPNbGP68EhUluybHvRjTGweV5wJl+2mckL+XuzDSHhRwLG3uN18N8UU5wQi5wSliGpdYpw0IenC98/gdhGHH7oemBJ+nVq4UeCOkXTYhrmQxSvXU0rFDhLQ8BSkBBp+SBG0jCxcjsXR+RUabQEQ1KDbSgSrd5/CxpFPKO4sR/TG7+dk5BXlA2OaK4gj29+ZhqjuXcgfeiAXbht0UQX9GpNQwkd7oLgwZgcgFLn6y7+nsmSUdHw0/Dt2kDAO3QxjBqTiwurv5K8rTgosXYRmHqq3wGs8/ub2Vn8OyqlyK3FfpK09qpv3CZzbeGcdksKNbesK6vGdkTYfeXbMFiM458W1HBFxJwH6MBMrBZ8a/mbjBc0N6rk44rGEmRKwJ/6pdKyWEnTV6xrsUYVAXJOI1U1Klaezu7R7wmZo+uuvikfqGPeoIu963mSsKC9LHsefyUvBVnd/DPyvY+xBzs3mHSTd0h/aE9uGQvWn9PnDiOTFnVF1R2bgHImTsv1IW1DCvX0Sehgu+wa8QJ41XZzRDTqJk5/Te2Dt6aGmUWbgnUklFRVhoOoPiaQg/xuL/pxuB6ZmVp3nz9MY0FJDSrcfhrHc4bupqX7G0b66bk2wTTCuJulZfz0lrsTzr4u7BhBG0nugs+9cts4F5kUIBsxAmrutBXf4wu4vk1z2MI+jaz05Ab9KDFuWS6rpcz58BDljoNZ6/YGwD6X7LuGodpq/hh9ALJmdRtUpToDkcLsmddFPT/oD3hlhN5cgzOw/LTur+87tlIerdbHyps4/wGKvCud8msnsYZvymKwGC9UbQZphlM8jFwh5tZsiNr7+4dToQXQiWXKTDwbLl4aP41bCQZRoVbRts3m6twmUJ00SF+3QypQe8MaOFa205cZU3OnNb0BpUChF+P552VNYPpgkOCthxY1GlduiSe7ubt8E5c7psj51YEnGeOC43WWvimKYAtgBKPmRmkTYFYVO6JTdX0qBL6beT6JWv5RLFOO35yOXVDrmb1BI1hglUYLHCHo1P/3znZqqK6I87AmqX1S5+yeXCxVNFC3MWf4thqHHJf3ZR8m2qLjbv5JK3ypIV2w8E2NzlVNvmId5dGe/mg6+QicUTLlEeUMB8x0ss4gs3xCJMaeSeBja/C03IivYFVl4Z8iiPym5iEZGhSNA9cLcLGdRpgo9XEFhEDfTDr+yPeI+wFqhEZk3IrzvZPDOEmfQFDaaKtiTNS1TTHWfWtjFs9hBafabT/RtwwmrSOlV2migzA1Bro5Wj0ZAgq2X9S7GT2tXLCoYmkmPH3xFIBQJmisw1kBkHuCODVxGf/oz/tTxaAoulrdi5GR/iMTE5re95DdgR5wp7OpU3Z4EUFKSpeYYpHoG5wdGRZmFESfuKwwFqMxnp88Crh4mzD4HJxJp20t5iqTBtPXTImwYhUpp5haZACN79chE7xYg8vnkv9nGSmbuZXCbeAsCCE2bqCh0SJcZft+Lp8NCrLA3+aIryMeQTSltFJeHggUEvBE4QAJkifZP9TC44GSP6PcAV+XaeBAhFbYoGVB+YUE9+OcftGkzl5UPzW/pXJ2mjyf66Qb1ZNyHoX97DenxEerBrbA+CPd3vLHN4MwPITADPNwNkPCOIKE3NzICFICiYB1eKWk0sqzc2HPqXUVXFz8qhQNiWs4SUTnOgp1OjEmTDbDLIzS2i3UJ2nhXg7KYWnEnEEfY0NV5VeKDvVrs3NHCWhEqkv7+bUMCfyFiuqtZz8Qh07CC3NwVlLjSCMqsmYl9Hlhfy4Vs9VbvrPumRGDxVwFAxW/qn/yKlgXWiqUkXXiLJk3VcLAybgceAy2nkUd9cdGkf7I4i3NUB+jpY0hVO6XJlFS4rgTeHf4PCo3+5rX2YDV33fdhvOnh7Fp9ZeRiRm7XkmOYzLDSZlCu743zyLo7lbmYH0nIhZMohmp6AYLG1Oqs5Lq6iTPwUAli6Rg/GAF5PLEGT5+U5wBwMvUoUU+0GRZ0D9OzUzmkG9/Udpm9NyudY7kMO1SB8N7uqz1hN3ufF274pQR1RkAbZ/RC+aQW5eumIlRjq8IVHkIpz0VIQWqVcUc8mgE+flFq5dZG9Bwkr6ABHCbmLR46tlcdpPgd9rYNlzTn3x+MCX8fEheDnKOBNqCUPz0MzAUgmCo7lsVAsB8ArbAbXmelqxsCfSV8sM2qyt1sEo0xNjbaoTLy5VIxy3JIKbswtpuRnEISUtaR2l5W0ZpcFrB1Ws701toqEMSbAuJqAd7xqrZ9FP28DvxfAla4Q2h6yLIjxgrfnWsZeDQK+ZL8nte8xgCe3+CraYYQz7E/AwIUfbAx+yIzf43U/0kYbixX8RUiGmxa7u9h+3hei5Bla2k/KB8r0efSwborV5Eacnh9DpPesVymcYkWskkuyP4ucBAjTS5mL+J0rbqjw97pXtTAZkfY7Elgy8D/JAFZZ1Nn9ONHBU7WuG2+pGojjWVZNmVvcMQRBQ0tvmnfKZAxdtU1iEEITrvZADSZz5qTg5H/Qy2yYTWjO2jGxVpofbnWxgZRVzpodcZ8bu+BkcKMS3PFtA6rQBpQqVM/kdKBt3EREcaSxe2L69pAwUQB6zAeISEfpy7i0sA7DxrHKlBPtbRLhkR/uGkDMVQMyoqlerM74/0WMZmcMhsSHyRtHVGY+5i0r3nXiD0JFdRPgx2VjhklcfPQk9jHkJlPXID80KTwoTik6A2wR1CvKlO18J0SGmOkU9RFn5BTOaFEFqY/+1Ozf/NKO9isaGoBbpTNquhvMNbCN1SqrUVwMWVOhvdXJPz+3gtFvDxPS4RnQD64IEeNdbZpsf9AKCRFiZFJ3600CWWKDE9A2TmvYVbP7tp0r01hQ1IRZgCOygwXRFWzga3qznrVwkaHdGjQcNbg0z9PTBWt1tCgdBNXn+tXUhjRiWT4p+m8Tg/lBh//hQVoC8273hBUI+9fCub3lkKh5XGfT9Y8HZhA61mFgUf8dMr3NiQvM387ZPS3K2gj+AlsE/hTEyI6G+vexCGfP176BwpmrVUs6Y2yDbG44sqGDf24wDbdk5C2ymzKLQF+zftLaOmZCrmL9FeWwQ7yxBH7+aCNn6BN2gq5Dh3EpaAra6Yq5q0ixnEDFByKfz0P1D9QueBjDJ6NRSm6PMdF5X8bxnMbHTtS1jE9/jALj/vAjK4ppNuo1ATibPhL3TjiBph5cCPVzg6vsrlXizh7wPb2s2r5DxbZ5azLBVNr25ps/3IAVfNpj0vHHuueX8HfzFYbHExtN+g94Qv5p5Aney/I35vIFBbrZK/SzdSH8aB0nOkgWh0bXV0OFn6DyRGNC8iWA1YMDh7b2R9euuB5gi06apGZbeojL4PBWNydHjW1dcAMjJi3W96X3nCQOr8huY0TGbzetLoNkGhtGjHimILb1ZjAfCO2IHf7U7RL4lAUQZOsJGFvNGo5Y39S6/GBKw1R3Fk/mhaVTs0Zx/79PTx2ENruWJcrH1CjQ39BUYMH8TLMr+pXYX5bI3zwms/y1XeOqaWMqfQCutW3c0Wst9sZ5XKGVhZGbYYmE3FPma+wehP+fTWQ+PIBK7mjaIJak534iqLl+TNaKyg5iIHgu4/Lk4ha1rjmzZURdggjhbQA6mW1vWVgAXO/K1RUU+6xGc6wwq3IgPzv331eo0DYQyeShh2Nr6DlIflKEYi5rH16BgrxdYkLmFgwVYaH0bHqxiviGV0TB3ZoE/ce/E63FJeQ4umfPC+G31P/eaETUBpZmH3WOCksl8ImbWS9gWclQyCG/iBgnU9LPd9/jEB3NUwTLxu0zRmDVcx6LKrEAJQJlH0CiVHV29i1QTSOEquUotENFhXDTRwgIihrYNiYBGvhC7vH4tGIhoSWT5igV5gcfe+7QUw0BFeNoR/VxEFXrkK7mPMLNuDV4YNjroTABbSirUHip4K6MQK0eaeA3kYQDoMdMP23SdjrCU0Y31ertbWl0Z7UkxZ1HZrNmZoAQmYWi4LFiHAjcCQOgWYH1oyh0eBDfwJ+nO0Vi+nR927tw2pKD5M7sc4DLAvkIHCDuM8S4PfPgROYMoPd96kqeyvolt+ys3sspcyEuUcOJucdvxhQdkX9narsAc4348YthYsGG56tDoo5tUUDFGNdODabGpmGS9EMg99f1EOoidkWuq/WSmRwzxaGn0FJ/3Nmi8hNzlL4xy5Rj89VTUfjWCFrsHwLezmU6UbeKoSH4VNRFcfgOroR5jmdikb9vW5kIllYY/bhcMiMf8QIhPsHsix/iIeHhmQFqS08BbaGT9sVQC8uiqL8B0w4/T/Lgx3Pn4BHYYgeawYubKaysOIFRRPWu2mFqdmXc5YAOtEi5pGuE1CtO3G+l3JfqMK+AVJNvnig+jQgvs5HBZcJ7hiAnuZas0nEWwRPv/rRn7gKTkB79pfvrWC/+uWYhr7nQxD8u3RwB/WXoAmaXAeZufAdon5SFmmLhd91Wr9TvOizNMOuJ1rgieytc2Jz715u4PDgPKwj/DBG9NqrQ7pwRbvTAntsCb5ewUjxUM1PgURB33CuaRwGhtCzTLQCW05EDa5+QYei5oBTSVmbo3QkTyixPve43nYcaewgFx8yGpvqDD5QtBcOV+3Wf3b2zXZeKsp/qznDObOa6jvJ3S5d3viGq7R+Ild5k9It5UOidKV+3xQ+fbg+QrNawEJyrezsd1WThdYfHTQV+7/0xAMCqW8MftWN8ir5YmQiqfwCfz3cRD3g6RQGAIjXNQnTEIEgI2ViXOK9HLZaX11TaYaz/fPiC+ktUfXQkr+G/17Y+2eJfVcCbvuA+RzSnnpYmD7+d+5qeBDJFx5KE1XZt6YlHhyn13CavlMiDzZqHXU0qFMUxZiSV8kXRUPPs+cHfzNFPf8B4E2xkK9kusyQzM32AQx9EJYQZkvMJrx2x5juCCw/jlciHtyuahOo33xyngiqY5iurxHUoEDBVGky+NHaSV+LdZ0sIb5oxsScSpJXIPib9vGq1eML6BnHsyMaDR++PxwxE1MsTreVlhNGTL7Dhyxzh/36DikDk4pD1Mj4ViLwPovVC5GTWL4H2XHLjRXXFxYbK22HBcDhhIBlCoERA/f4Fgu20kQNatk9jZYKVzWM1ms1Kxy7K47gRszzvQDYRc97qgJXFXwKFdzDlsvzIySnO9moOPfPyNr56UWm12KtzQPfolcPOcESscp8ObOqJfep5GcVfNrq0fq/r+bQrAlLTNm5Xg6dv0asWbigQfIpnuqrfH8r48i4zqI4hJJfVR7T1jQgdhJ9E9b1GpDqRGrTb5o8LS/kHNq/iSD4DaxDmlLgb1fEMxRkOgGAvVUxzZYWdyrA0SzAczwfFnZZw6kZQBppqEl+G6PE0pe2iuZJQrZM1z4l+WokWuTAs4bQEpDvf/Tnj0xoi7nek8eEwotK3+MALTfBzAvzsEADhrfjh2SFZIUkagHJk9L4E3VRT4nMVVuEc7U3YMNqkWa9oHsigECju81PLAIm5pJuewF7mHeIC+dmyq+GYtPtwy+C8mocE9ay5YvPR6x6XVVgwY7rVC+WssFvnCUNhtW8CZ6Fn1JCeUSLGbTu66hnqGLu6E4MahK2cmdI+TDdCD47HHOVMHh1na/7/l2EVDQ4PrmTI6BTxzHyuV6+OTZ5HvlG5BJmzBYw894sTZGvodPLVIuV187AY4gG/1l2hfAmdNC0NrObggavc4HxLc4JjHgTS5txrQmkauAs/HYd9mrOZsOobqxVh4jbjyANPdXVqp+w/1S+0cJp4hHGAd5fegOGa3nqfFFskN6WcF8QcwcJNDz4KSMiEfN/IV0PjptotqF50LL/taw3Z3fNJ3afTec8lkk/ma56cFK0i/I9Wa+IGdLR7lALpUwitbiaMTdY4KbIP2u5tF3hxFs9OQFywDi2MX3WaFgkN51BKfagMoPOIbGuNp3A9BiTl4TDok+pBn+skywHFbzTdZbtCOzA7Vzz1AORc8YyKrd/cXeGQ02QGaSPeLTtD8aceq6LnEoUK7wam49LEPdqEzDiHwiJvJkpJ8TQ+l8dryYPPTiw0e7qRTju+7gxw7qPBTiv6tTvLwVqqLcsJlXEBq1PnxIBcsCMdLXW/0S2e7Bzpvn74gZlORMWip347Mufq7EPTBHxpuQV67DmsCE1svHJDjOgCEhbYNj4Nvy4ftqAfnia4gETVCWHVZsvHLJkqd7BesocjCBNanxMRS7Qff8n0OOMcY+g2qXWKuik5+7gfkcJVcPj3SgR/503eiANheaNEDE47Xx1stcIpXbEn8GjHQ/rFRLTJ39KHk5qHXAIpEnmkNqmU/AERj1VBnLdoI6RC8gBGM3zbasRtx/PLwbFxcEJSkckKectpNGNM5ox25FEDaAqHqi2OJYD98Fr+ycnuq+eMxYV2YlPJzA9UCenweEsdRoTmwNJPT6C/A4Mph4vjkmLz9RxKEkyy3l6eWDt5Gm6n3vTWnnAuFEWuyt8xOvYtQgmjJZ+8vTc7+tEryRfvqEcjnAif0nRkiU2GWCUwcETzOu58VJU/zrPorIq18XzkvCrnnXv8kYhIOSRx5h8OWmOspDblPLGHv7XlBzVHCmywPkPgZBVZnPvf7nYCl/v032fr6deCwinvqdlpF1GXvFRV0HZDTpWlgtsK7aM/Dd27SQtce5EEtTRk3yAfzKcOHVrVcRfkbhVSspAEWUD+ojEP/DSD2s2q/AzyK/mpDWoBb16SnH4AFoNgoy6NIU5eBM4rwDuXz8H3xxslj5CWg2h6fIca/dVA2kudv5qZyuXsMahOHmCFbrSLozWSFVaE7wzTNO2MSgWGMeCcUpHEzhEWlNya2Y4JUzGPqr9zhDJjrMiPoOzjcmVwhMDhS5P6ZI3225veoUEnTgQeKFHCgFF15bu4SgwDhSfzUcOUERHRmgdZI1erDjEAQMnsWtRzBj/WMFKPuBhz2pJE5897DGXAF00OHNbKPGR9ZCuNrJMZt55LZMUbvX9CeQgTVMkOHCKdZqajuFpAju9v4OpWZzRACtkHvAUE12KqDIn8Rzz9AXPjRNOWsz/lMunQ2UB1jCawom6wAalbZFemcNcDRQ9De/9B3+30sFcNPBRCO67RpwTIg7z9K4dn7+8cuoybYgeaKiXT6JIpBGFhOdnmvfNzkmmS47lIyIXI8xTO/RxkWF7Q56m8Js/HGdc1ge9/U6EUE1iZP7L0ldfi3wpLyJ62/71Ycrudy48jA53CkdmGOHExWBdV+nPNPfoAmYigP/RbUEYRN7aCaCCbpogzAkVYX9LBbs0qoANO0ZWfX1lu5G8u7Md3otcUZbm02ZGl1du1fIRYBsOSmJPQBJynVJqVRezb4ZK/70XJJueQDyMUchdnArai0+7ZI6MWPwkHkZnoNm2eeBOUhGSsX0PmCoFMGD3M5R8UwWG29SZGcHAOa6+pVJgWdfZa0f+5X/HWeiYdoYztPLLq9+33FctvmYqv8GB4CtPJIFJqM1Uaun2kBr5no4Iwfo9PTXHzJC5CeR8lAwZkx1hSCsBsOQfAWUraNmMAaF+fLZDbPT6+3R5/Bp6DDPuFBtzs+iWvfJSCAw4AXXAjVgLHWyeVJjAqZNlvPVktRWvDs4kBkSCa3FBPKLEGpi8NO5jOKRHiVjOnH+cRWWfsGqzMmJYg+MBcGIwbgrtW0O4yBZCVBFWcWYss2T7BJNi0mSks4u0t8SqJ37JlZZ9R6T0HWYNBNxtrlGehOa6GUfdClnIV4iVGoJnSRgkZq0J3MXHDE+kdpGQy9VsHgmqWuRWvEKgtDPhndvDbZMJ1MRQ+glFpycLK0tAb/U/MMBB0jwjV9NHEu/Cy75bEuISD6hX/uspQHH6YwDbKvfq1hkiThSyJwfLVDDOyP2F7QQMomKXDRkOp+vMzi4n8vRBe4EumTd1kLC8st51WwoLlTK5yWgqv84iFA4mPlKEqnEcsXRZ8VjsLWEo96786nDUlYhP0p/C9x9c1IqoM/wtUdGkU0sxfocu5Dp/hN2Ntf6Tzd6OrIuAnTCI6r5hIY/tVh/9joBOMRYf1nqhXFxfwHOj4rNtxAxm0Db/Sff2OVOU9YpgSestXp02sHo4TSgaT726OKGYteSuF3I6Vxp5xqqXjNTjXArd44Sqf9I/HwCPRJwrUpq6u3zC9dVauJslS9Nm9FZIUmgo/AgSQy3scVVW6/v3xWw/2WUb4VyB+AiTeKiGovzQP4W91XI8dLnyQvWty29xF9GxoukKC3nG8CjjsWOhycSzgKdsDQI7m2KMZa1Wd1XkpB87Riji3tW86DD//tmuWiE4VxPUmxxU9wPfDDZPjYSYegXHC16RFB4/vpHBP0V4g3i6DN68FoZZHzcGThZKgBA02uYxb87ZCQNUSpnz3NEPAp36iIZxaMr39lwFmq+sI0M8ut0VZhTp9AOXrlSeXuV2SZHDrcbUFM/rO7ogw2271lzYDDVoEubcbbw3p3Ld1JWZa2RRl2j5uAike5/jcI//B1Y0MQzidyxvOEHXz9+Ey3Y35ugB6Q3ZTfpZiXEgejhNXIp/k/q1fBYBhtfDd9o6Qx4NZeCAzusmVw+txKuCXAB6BJp6Dn9EPhoOcdqEpbdRjQY4LeLTcVaqK+zBwqLGNq7FlnjjtO+GC+EV7Mpus4/6ccg7OpBmGdxKgpVU91hHSKfvWWqqkj8MU+VU09hclQwj7Oo5RhbWYzOzLxAVKL0D/AKO3aRloe5Uzg6ykUIy5MfEcZeZkysIt90mfoynhk4F1kIKHktw8Q22oxNM+EzMXmZmb/J39wIai4WjyJU9hDo1+++SG9UubILCjhA2Nyr5ZuNSYTi6g0iasR9xEuJjVLJlTq1dDGo75Lvu3vQyAa+nFfVyaga0nrD3CzpeOcLOgh5o7SjVOctcAbQ5FwpjmChFcgi8xtktcMgqw3n7/xsPZYKAmxBoWVYc2zUvGLVLM3B97koLgP7mt76+PHcj7DbEfMPrdyJw89tlRamzA49R2QirifEmX4E6HZpG6ipoILoN0jR1qo1ymEr3bFSExLEuAncRj02qkiQSFkGl0a6nGKuxcpU1v8wfs3xwm6pJ9/bqb8z7MsZBVsEUJOpSnpRaHdmFFqGXW3/S4Tt6pV+KKOAM2B5xKzX4FNZUoZ4jqqJkf5r+oeZyswKdsE/Nm4rXhGmzMLN/j1xEvb9P5OjaZrw9JQUCSD8EoosBKtCIn6OG8f+Ncx9EFtqaHpIuxBMXaML0AHLJcubRk8grIX63paZU94pLAUFp2ZRA4hxM7wm8rtUOH+HYnSn7fGuoBVbvI6rVSEy9fpDudcbYLcPbPUicoCpguXLOfvaHq6eNu1gQ8J5stDRcaxjhRIUeSOTtkJ+3ZDUIJAuC46GExF8ong7A4XVZ0MESB3MhjFH7D0RQK1ufTdAkUXmjh+ocmHOWxXQUZNgTc4/HLrLlvMKDNibAlVYmp9mTqcCdk2iJvAtXpyiU6utkVhVubHRZ6Y5AamEzUGZNExgeLSnhtwIIrV9uGXNCmwXeJMO3AQaJeMIk04Doz06+g78qLScTVd8pXcRUEXO/KYa8AY0ifbhRv9QapZuuVvGrGaz7aeq0KiGDi7pdnrPQxC6dtU+qZE02UhTFlBUdJD8RPmQwEYkTBOt8YDnphOlU3ho+mFY8jEgiGu+roVpQRkgf9isGgLrsmlVPFFvjBLOnqLjuSThiMRShyHxb4lJyHFNeFBYe+KuGG4Bfe0nFzAhfmad+K0yg4TP5du2+0zZsqc5E6nXxauLJMfK5hdJUeLAvlb6ZLQOOKPVMbWMcjF2UPMDSkcSQNW5/BvYO6ZwNpp6Ru/QVZduGsyJ/2LQ0kv93e60Asy83ddQlSNAWXn+u7rL3sEruGTr6p7qqrVdkBgi3Mxtmjwy250uyqDjjnwhH+QnZprqS72NIbe2S8W9+tBWvKiJZPcMIcNu544iy966ppGLOx745bRcbpmM0r+PHNMZ73P6AJfkGI8U4QvR9W7oer1L2CpLMmlhSHirLpNcwwI4+1tuHb0KxUJu5YDpZcHGFqvyPt2M5GT+B4brfkh9W3ws+Vk3Ru5ahJYp8tAERj3/C8+7jJzdm4J39DUex9P3gCcwt57Xjy0k8tIX5y0e4U4djDinUJnfskjFYV+/NJu3Wknoz8pOVERBhvZMNWk757BLJ0WRwqPJXjqJT5vEg2HdO2c6eDlVYv4LwHWrzrSq+f01B0lZO/AlFTKbmrNAkudvTGz8wW+71D21kV/kTGlfjo6ZC8glNJhawbfR9cE8O6Ia2ZPrJc56BNi/5ohSLZJKEi0bBlHdH1EL7Vg0uG24c4fb5xq9Dhni0Hy7O7troCJAIFlGHHGBzY205oEW83BDf9dsR+uYqyPADBZlEp61JyJ3yj0WnTesfHI7qdAS07IKKX2HLr2e/f7tQOjqYA87CSEJwqKQ1cpdKH15vc5bdZKE2HgiScPrN3Cxd4Qo9lU9uY32epMSHpef1RueWx9+xel8YvZvNsSoWRnBh0jJ6qqR6vuXbhjHnF7L7A3q5FtvS4IaaWE4RoFh/TFe0q1Mb9oJcoeoEc5cp6jNUm1VReX0yqws5GPq/A0/4OruElG5EqORQr+Xec38M9x18QF34FPsZmeLqDJrRcQ9OX377G8qDf4cbCcGCOmUcFFSNGQr09cTjrvYnrPWaGSgRs/+n3uLF94k7NTvxQorfhPqydBvXqnHothIcLftsFsMrGRIdrKyoV9NASr3ijpX0ZK+1ymB1moULpZPKoxUhaPDhvaV7CakqWFNltJK3eOpKY5aznoruBPhiHoipEKBjPOEeX/iQJmprroS7lOQjJWkHxWuQ4kUhoBzqjtBnG7XoV6ElYcQ16tLxgBIdKWFsf0hdychELaxydueVz5eatHZcjYk+HIE0uceqTQr6Z1kA/3wGdfPNJXqW6Le4odVZbHVenNfhmL4OQzruMpQrMYEFcFkud7Tc5FUXH34aqUzCckMdpo/RV8Bh59Q8xdO04NK/m5p2aBr6GsH4XgyN5FgauNlp3l7rY1R7D1s5ru1487TEIfGhmCSbDxaUsKKJ+j+jjWNyoI1J3W8TmRMtUBSRYesBeRy4cpzdmwhBIARAIGIIBmMgtdgt6v097wlBjudNQf4g9eTeEasK2FLAF43ZJ3Ue+U+TerGGe6AqgeXia3bV/inPsMz82Ni+HxpAy4qbpVtoy8bm1uST6N+ZQLMRXC88vdz27DHfKGSJR4Av0PLlAlG/2V4f+poIN7iiGGd6728gRJEMyq2YSQ8llc6iGTo314tiN2ZZefkVKGERKT31n0Nrx98GE0BqgGn1bDaVrbqmrXFPNfp1X1hdsoIEvz+NzwaEUGWWVzopoDZpiwbR2q144DFO/T+wfLARwNTftOEwj23NKQBOhnZA1eknh+zbhbjhHeaOOXp65itSLbRm4dPznLhkzFgKt+iKAxMtbfa9gBbIuyL3Om8d22GOQsKzLJn0qg8R7K5vcg/6oIM1HoMibPtXLdCOqSq6Mmcu66faqFpo4ckofkFDjVfLszPr4jD+wmn0qWdhpto7eSMRcYm9pQhlMQlGVIxYx6PW23YKnVLILHj6nyvx7nHVBWcvo3RDX0I+8YidinGp0lFpBfXvFfFqt0xy4Cjrcl7jfbB3rY3cFXAGS1tolNLmM1iLsQcVeiVyKRQnlY0678LoGGV5+gvQb7Q3FW+LwIv2xRqiaVtrellTBwLVm+NrVLrtPV2giWypPy13SXgemB6bhpvd/Vqrxt9dePGo6Vpn63DsametrnDCaAQkRbyBDKdMbQ4H+vdYmqzBw97tsvbDcLi98692b0CPu7jJIjnI+W9NEyoA+/IZsHudca2qV1fJtx7RlqRSoImPYLWr6tr4j2SgSTYbyyz2R48xPOGd1ELjYIZ46adgd14sK/tNxkIeZpmpFK72/omTrZnz7PXg37C0dbm96T4bl27/pY07mKj77Lx7or6He7VVNAHTY4zYWZiYAE5c+YGF++4Oh5uRqC4htKyh+oUBYQdUivoRHzZ3lvT9uRFFPnl9W2h1Psmo93HA8ADgkjM8Kt3ghBG7oSrgXjuSMAs28/VhXVleN7evMFjt7VzYjou1wvtVCLgYZI+n+RknrVKCopXWLPdD+nWlRr8NB+tqxRi8VJmxGSz+LXLDpeVUDW9u4CFsKg7jzv0J3tKdwi9zCcyVE2gRPjv9XYw7GZJdv+w3YG9TXrKOwXv0pfl2uUQpFj4tX8tzbBOdzYd4EvpGD7QqooDcqHd6VX2GExVAHxKG3SGsXwEsVREG+xXEfcBZ+Gysfeo76BqDhj7UpuOMIFT5Q4Z7xPCz4rpUZnmO5v5AbwPO0twgxjpRH5CkT7DU1oMdmMrXhYZ6rigMBNOJ9qqhK/CNr9lVs8+tttt4xpaSZOtoQfzRKrgHI5MM0nbmyqsALqhqOA+P+Zw6W5QNXP160EpMA12PGq7m6ppm2SJqhAmA7+vO0wsxCKAu7nNGtGxjlDYZLekRRdFtgLbtcx3BYAucTxt+zWjP0RaLTKqrjYourgqKvwCGsTgGpFUTwEIFOcI3U/CnL3BYhaSIIk48B+n+nfcYJwD5/CMWyVXCxdDCtCOES8OEEVtzXf7Ax6A02zkB30FgSU8BsuOJNxNwuaAjScp0ugIHUXez99zNB9g8/YxDzPGpY3Yxdi9aipQX1qSP+M1e/I247qH13pzEP8mm1ZuIgGTCwb7tnxOAnyhPTFOGFzYFOSPmjz34yUK6yHImSZD+2g/eniL2d4+AzgjhhsxmBwW4ogvUem+cr/jBGFxwDcLqpvzHt6qfKBl37NpzPP17inEAJabvsYOYMJMwQLIuseMghA/xXStzG5YZSyi0icJ9hqnQdi+KLzj+LNFFhL9UyHYRciJavzBbUYqF3baWB6ckutg8Jbn4EB4wdhJN9GjGD64jvd7UI/gTwm3xibV9gqVQ5btSD/J4SRJXDETgsU75B73D+sPfHZvdfrCdtOMge4WbwNpbDZ7GT0/p39yJdOI5bDPKfXNECZZWQ9sBhF8wgb2HvplHpAFmN9EOBlaDZmt7gEI7U96iWIwRK0mZ6d4T2DH8KO4lTnihzV+PGMXEXEOJPJBEh4dnoTq93VByQqQWarWvQ27EtKVVT4qLw9f4ngdPzgp6bYrQVc7lHpse0qcsObZ1g+SuCkucZ+ysYdZzK4XACNOicUAt+uph6bvdK8UDbd2X0kVNsOMfWcMr5Ei27ZsMVLV8iCPPuWXoggvEhmElAhM4odnuWCtFvcfiZmnW2T2FL9sT+I96DpwxOHzguesNWVP4c/K7h4MEGECVb6pmtW/rNQKmagiDln6NiiVPanRGwGweO+jOTD0SRb43qyQau2bCs2pdzxyczOAH3IG0N7qKsBMr1K/X+xGlCzqwTLGe2+MjdwXJDXzn9XJl3qTyZv/CaO6ZO8ceXY3ptbVKn2Y9kj4TgvYMmcawapeiZBRcoC9V5/4BvjoYWJjJE0akxedF5jPtCeMocNtPjxFF2CO5+Qui1F6XTSmDNtOZm+YTFUU2g6TLIssGrHIzV+eTslri1gJG9RRjXMnfV5FqjW/LB+kpVNNPXNo62T/j85UBmWCEWvTMH6deWNE4/82X6azKw1aqUJnmo78KiZ7DBrdKLYCK96PcB6uUHPPAfzZ4g+6dg3f+mFcdFBzGayE0xJKL1yCakQScT6uDR6YlRM62/2We9dRBATy5nJxQDPEiULUaROddu7IzEcm/JAAHWSl42VP7YNo6OfJs/rzv1MU7rLEVAlholHG0dqVlk/+hjmypCqNciaCK1QC6YBQAUGeLOBKqk0Y121C+z5bh5nEDVQKwyu9/9qGEE1F6xjericCMVj2wkk0hSwqddXZ6BiPzFtYqagKljvvqkmFlxE+Wq+zSq5f/oSxKlpDeodVtEHiON1UEhvn/Y0rCXToK4PIxvT2Yu9ym//EU6/B/EKhPvjcrYSxuILKAI2nPqDosPkVk3dyX+7GyhT4xufeC5KpclQp+34WK/yC2PM2yVouHD9Hsn3kpsjbiYIf4oINhR9PD73HLnhgohookbvR4COFSJrjjxl8mkmV/Lh3NNXLF/U4qHn9g2jC3XzGhgmtszHHqvQIosn5OD826nJwWfPmJAigU3FWFskO/+q1w77SZNTp/JqXA9Q1WkLBJxSu4iVb24kCgT6QCQ4XGUByEg7OXRdXzbDr4F7SDxFW7aRltfZPXjF8dvqZwoLzPtFTqjHZyCETgHi7NYYNo3B5pNKWLjvUsL/A2nvXBgoSHvmuK3PHUzVcJih0osUAlD6X1+k5qVwG/7MzcLPVPDMTQ9Mlmkg5ONojosvlJPvbwlHAOGndE9OT2S4jz3gGPD2dou2rke/oibBpZFVR4fVKnu4DUmx6ilLaUrq3voWaeR78vweizFpUeoXPOpTO7HBFTChCK2WG9eJCSj6dUcbsR6dAi1JkUlRsQ3VrsoRLJBdEtQc9zA7L6u22C+ZFa4w0nY5ZZKWBO1wW85OnJoaa2SKbawSnMCxArIqbnSHFO/VO9MeecHetV+R6BxUIyQbNgm4GOWOE6qdL24yVTIwQTyRIzpCj325MXcCtnKc262vevWM90z3/sPW4Rde2xWQN/MOlN0uIK4mEa9PfWEm+ZyPT6axzKkL4yXE67l3/cxFUeXMXv7WYhIpXK3Eo2nzW19X+IG84TUzMfc3kyrRzaBrNK9M6q50n7DV1ml6N48MlIvgd86ldJHuyoFbnpQPxBewKHQcRjyYzJt8buI7ib9XgmCy5nvDPqg6uNcu0Ij9qp4hFTPca/BikToZMe1Xp9DsDAh5DJWuWytqf6QFOALa4toBK4fhr9AGLGadOjAAFmVTH3LTe1rDfMzJz1064LGIBQYM8G0C9YVUCFhqJAaFZmiU6WL1lVdmg4IGK9Jja3lSeUxA1mXfQH1XA7460BtaNlT9luIOvkZqo70/K4JKrcclvuOVBnQbhDVuzfTRIfd8DjeFg+sbk4Q4XAnzH/OLdTcRNqXkxqXPhlTVr2fgSOZsihXtiALwRqiBtu4Np4FTJeeuNgN6D8/YsuJ7DPDmzQoYfvupuIzpuP5GLEDAqczkRCm6sulNO/2a9Z20CbWZ66GJxGNooJzhBXtdnA5hjfaSw88EtrQueqsewsYVz5soY5gl7SRUQrbB3IMniHKRLGaHT3djeE3F7ESShgo9oYDbe34ozmXP7RXkn0VXYL9C8BmDbFOcrwWeUuivk1FnMR1FfeJQh+3jU3THhQQbxrpB1uxBXdLyc/Pwlw90mFafnzWxvP4aYp0flvmAW872EZ4yzF4GLr+NRgPJ2QhAAqHushnmFdtIMrC4+oBjBayu44xiEw+2ut9JZFGo6FMWT3lOeGiS0TrHlqbixk90NxXMdyMoFdppaKKfVX0HxcSnv8lyitBhe88XEeZgIDKosE/a/KM36kJuwgmUaBsp5Lreid7NDJHM/O5qX3HDKXlzAXxeWvqNjZl2OrGrKcRc7OgdxIgDPeFhC/UZ+utfCzZnxvevYmB5hudl1PqJQWFRdxUEqwuhZoqkrYDcgyOt+K8SBI13V1HKGwaqSfuBxySyK+tyKNm5/cTiZKbByGS9c+Ryh0mBPGx2zXcUZ3bZ5WxbQ0VWBHrzBj74LevQkbYauxy6PRkIYXk+XvJusJZWENIGqLIFRTq7p5PaXBy5Of1PUiT6MRc54RCV4i/fxL7KuA9HWWCOd7a3yCjL453pBO6MBDpnVA2YYcerDhIUc8y7zX5PWY7l1NKccKdGRZGlAaPq+UiEaVH7hiruUczstpZR8kIXq3+pqZ2x/Eu12ChQ7hSVnRxsFVDmx1Nc/XBFAJaVc3jyweFqhAOPS+ShfOpDriftZc9IRfCP1hvwCrqhj/ITbjBhyNIlJGldsEulqMKFbGCVJzwpw9mI/sVndrxiCuP2tDG5m8rRMN7ZgZhFaoHPvXYsGff9AFvZOn7IsTh+tw94KiEAnruCUJy5WkLmWs4o0mImsG046NuGfh5Pe6ZIqzKOf5K1dc1OAKYVm7cKW12ent1mLhVEn/hngBaMxsbOF1zM0C1fLngzoDX2eQCcLpECRObC80inMAbFgONYBzn4g/ipVs2LMda2FTeDk0dzsJiLlLwfTBN64kJCCuMdZTZyeoimVQV+hE6PxEn4BNICb/fR9uDDCHz1YzGwLZCm0OCxfNWZtB7eqJLbJpD+bcxqLpciuXLaPp0i0PtlfHz5EJXDBQ7/BVEw830K+U+Ptyv2IcnehmD5MESImOkGB5x0oYm8DqHbDDAOqvbUVPuGi8FiTg+VSvkZXT4k9C9oAOUiTwm8kD2+JaEPJqnhw1n3MWjYkfHSHlYWSoujspa5CXmMZLkrFUXE5ibJ69Uv/4N4WaWYDo75OCQ8vnB8lvQwdCzyZkk6xH5OnWw1r0mqFWsRboRVAS31cLH7c8c4RPw11xrSpQk9GY9dW6dE4rML1PwPsuveD1mnIelOiEX820FCX2C7r1EmCzezudWx3lS/xvyTXzjpHdcNG4cxuTPQOcwAG1yTZ4cpHukgl5nx+uWleBd561PdW41KF0Poh54b29VMhN6RTi3l16vO3Qrv4ls1WFgCFCTeqgaUOH8zeO8ZvMfiHvFP7s5aUgl0KjoHiPeT8EAclGh05FLH+XEJH6JQYoe8qbQ1Fb1z/Zj9LLFeF+2ZtqpG8/7KPoHCLzfEHa2ZL7uKwoALrzh2ezOskO9vw1epjuK5oJutKQASRS9BySKSFnuQH6MOnrgWikBTydtOBFGyYrgWBr3m/rou/QIC60UdMbBdx56wbau9cN9IP+amms0VvzJXGiYggZ0nfuNip8UOpkPvzOHlaHGocbjnUg0atv1j3fAafVPL41JOqsg8KJ0qlvpudSY4UIGyYv8WqTG8Vif8yJxTphnWsqjG2KzQhXAZu+6ALn+ieDXeO7efZwHAkKzxakcUulRRwImFKLiNE3RyQ9dQaXOD4cKgWXQoCiT7Q91CnUdFppIVLIiZ7ee1awKhkdzUaE0yP9T2FWIoFsU7nv/1zZt1sTvBt7OujRpzw/P+6YX/9rTpZqjuRG4RTBBsj7KsRnPrJtfHRcwK9jx7KblToDdCrb7xSC9tbYPADM4Ahbp4mMpZRLzehjjSy1uQbST/cSiDN0yrjANUYRj2JGM3QRC0az/x1rqtOLxb38VJ1oGKup3cjZi/r3IBjcY1xwoV1y3t8zJRZw1sGAlKPw8HidooQPIcR7MJj4ph5eY9M2cowvM9ELwW+DjvVmaSMJhn4ud+/dsinfynCF70l3CB3zQ5OoxET4L5Oitw8kIopFXbEAAkBCQHBmtSWWfiozHqVK+RCPS51LScXkIVRtt2BZ+PZ0y05x5R9TRz6+qouxi0JxsrrQ8N63cbvyGzHENt5F6KxirX/w2hZVc5oLpayfwPwsY9ZOuJF7T10yzPUR7d6hGp6c/99/xyVTSokoCTJIS1dV+Yrv7O7gHNwANZgfmt6NzqV+4gnnu1YvigL3xNNuMBduXeIj/nWAfQqOs2gkHjo3TklYbkW7I7/W/+ZuARycRbStMgmlvHtPq5quwoBwRWmutePfGh9L/MtqAcZNj1Y/oE8/kG4n+f1tyYn8+BtfkvL9GH1RuFhIxEmJJGPg7kuP8AevOFtsbbS+2qWfa359ZtUlPHbTt+JqPToXdwiTcGjZkrLuRuZwmOjDcNDymxxq5RSEtb4HRvgZPufiTNMUxEGvvnbnHAwfGTOwSsEji6hQvhsfqB8h3Bc3eSDMbq4R/iQQdzIRpDEPZuCn2aaOoYpT8DDplWhSV6OYsTJewhlm6EzRLHcmOhTiKKmkzDDAvErL8f1c78IeTzvvO2emEXfEqFzdd/m01fa6CvrdFBopSR9zlq2zw3AELQuDBt3Gspp9SPXn9iJ+tgmGkTdXnyEZBQ5c81FKbsy6gdEh2jqrw5iKSaSDZybtcXHITZrFrnBMbpTd9GsE5/L49pFK1yWg7WQZAmoNSvhrACkLCC+Ym4tJx3K03ivKfc5zuAbybDd/Wee/fe3MjsfG9PwHg1CZ0ljgbn8370+kcafP1B3xB/sxCLA0EJGAStxmAc4krZs8OBSoJgep7q9yLKFtz/+0aWIInFAWj65qwQ76oJid/Bc1hHVS3NyBn2/qU9YxudL5m6DXbPsduy3GQb3OY6ofrDHiZ07fDH51cGhxGMi6gOWXkADOszBRKR8zAYdWo98WD3lLXpIcwnJU7QjTp3+PHQIFkE+5HDYfDMYZO45v6OsEqexdZWhqMH5nd52uN3ndFfhiRiew0lTN/E3NP1sxNg7qoDMfoWPVX1kGuI/Y67kIEPvjuRCGANtsaG/aRM5ExZmqZ9KXKuUSMfBNKb4wOZlWxqn5k0vpkGoi9EzbVe+Y6kFz330auLfNVvQ/3sPCtYZeg807Jxm0OkndZDQQtSqXbzFntjxknE3923tljoVXFyHim2ohD4MjMFr7S4idlZkFdx5OdCB0DTB9jtxTFlIjuaCxbZ1o1zHX9K1XHye0DFA4DhHpd2q5PpJhb24K+uKADIY9+bb9fUY0/QjJO/mrPOK1Q/yeaZEkJQlWskQQN5PzVuhIuho6f2rg47PdI984Bvcy5rsxxeMVAQNCdBvNRiFmEKHvRBMjBgLe1H4LOM8irDvryEobFdqV6e9ODABz96pSNfU44b6fh+4A4rU8dwueobBG6cGeeDNrNPrdWnlTWR44kAUo/Oz2qCG1QS11vSHus0NgMw7lvB373Y5emaEbtU5+2TMtvYzyqCaXvuVKwfHelaiwqpfjl/ssyn1B0nTsY9m/BgvBYchy/Fk6MDBUrx/kOBD3Gpr+aL8h1tIU5lUn6UIfELanTvaUGeLw3I6u/PB3/U0SFi5cwbyV/1uyZKmmzsqjZsA3PW6MHJwihwvSuWGiymEtJeqsSvNPncCwhCunu7npSIT0xgzr7zO7elnuhT22zT/ueLtBlYxdjR1vdRnUXBKj/+w07+iUYZVbfkCXgKL32E5bXlYN8lYUl5033hTGdqjKipFVvn99sFh3DH0+7NtCY83Awz20ZrH85fOoIhrkP6AQXEG5X2xbDu3lEjH1BDPMjJIUqbLanN8fWRiHs9HZGcAfJfkSXjId+l99E0jZlHhoiNGk3LQGyKP8CgELu8UIgF2wrakXYdyrMjSQdA9lTnQ/Ktm5QdAJQ/rmhYxZoVYfVpnAHzQ6CTo5fD7ZoIbV7nIqekHhgA7ikKTlJd6flLkWYz6ninfyKD8DNH2UK9NL/ajpIKxjztQ1d0VRVAaltGx33PR2JD4oujDYQ1yK5+znoXjZi+zPKMKiYn+FddpELFfpakeNmmWu9HZXblEYgGMlMyVCtx2EpHt6HT8jDovEKv36QadmRxQrjojkUSs9ZfJ8uEWwDWSfgYVbuZb7waAfg78wBFqBK+akYW6XjaQRhxWVA+Ia/gyr5d69joB5YhQDCo3Ne6b0MxObbJlXJqYmk/CqWc/8waHNcuAn9UZTsxoiY9EXAZVVBExDlsgNu6nHkbQiKWa/w7NB04PCdNheGnD3uHi6Hn5LeTZRIE1RWmYUSOS/Qvslq4/858XvaVabaIQAPO5diFSO41Vmil7w1OiG6hpuFq5sNr3FtBTqA5Vea65u2Ycx6ku3wryZDITvFdfg6akCCUx3v3mkCIpCI5F7rtToCsvtQ9RaQUB2al57KRhV1lfDOKTieX0xjQMxXKHRt9iGkhSO6JM2h7cg2JPFUukMI0Y+hpY0/lISSrpBI8P1CtrziC1+MM5kGonXwOqI5jkom1RBBMuUg96mYC4O9LHhkxQXH5SlIPJZ7NSA4lMo1sHyPTh2vQ9N9UNkpIXnl9Q31TIfzZ1q4a3sEDd7zGw8mJv1O3R/unMLF87rW5RYhuwIIN0uyK7GJzAeBAE6/+GuUtldmSTQYRUIW0IoTtMAeyayA9FM1v6/cVqVM4dBN3VOmnJUNPugR4Yy/PPlX4UnWON6rLqaLkQNywtlrTUeXGtHp1bSt/CaGDB9syNmIEicsOtZ8GQz2fHBY0ZrZzjbWJst83gZFRYwDL8Cdr1ayfwLG8g6ye+2KofYLxgYoUc6P5mzOqTfcHGyGOPE1Srh/YK9I/K+LG+QTNseEFOSVL3K3XOd0loS55Q5VUADyzy63nThNJj/hv7zRwh4Cv/mOs+nUWlEqVFppOO4XO9zjpZ6AclKcAEk/ead7rgz9o0eIQw0WZ68/Yuezm02lDs2FP9CdXZGmRF3hSKojQysDCXFrMgRHNlfb9JabkQrx9WWFXTL1uUgF/XF32O6ayIpNmBJxwuE+uHsVjXmfS7Fjs5kdV9IVYrGayV+QJv3LhqySeEY6TxfIrgN/Bn8/nayYr3hJw31mBQReVAd2UpmXqnTx17iamEdJ3dk8/ADLl9Y0yC+FVl0p1zS2+Ix3ZLRR+7DEmRjk5EhAtrifZCv3NLKMg0K0jwYZygE61YVtATEhZVIKkj678nU2H2TfLjHGRfM81li/iVAJjJ0GGsRANmX3fg/FMkvUIk7umNqo+dRB7FNhq408yfw9Heinpbig7WHD6ROucoyJIFwQMHC9KtqiHbBBGpr8BpARMiXYO+F2pvPnLcXQ1+UYUKSjJgTpmBYDpMZta+LAwziFLZ2bZz1G9dTMb88pumiys7Ydb//8rvRiFTEmJVicZkp1gsTJxWsCzGihmesFEYhFYLhttpn/EgYm6Dr6hP51qOnQdO6bK7s5FAuBGtEerRuh0aSGrB8bx38BW9gnj3xS/bD/05bfx26GqnSJPefEQDK4/Y2Dd+9V7zhhqc47dWBIyQBVPCdWEbstyabdoQqFtfw1qMrQgpve26tX3z2lI4VGD7WuMNiMaxZfYa+BTT7OD3CmVsx+XXyexbGV1PbWKGvPpGrhAnQYBzkDU6F31Osxd9pV+OMhvL5meamJhngnLPYxor9V/2JwMBYk8qRp/lQC9DljuHOoBOGD5H+9l+hBxLZNxfjwGnj625a2dm8nj0Nvv0jWFMZrME5K/ufPYfmoJB8nCbGC+22+Csum4s2vbJWyao4FkgvnulDpo31rzqeiuxJOBB7OdNcxoC6oW/xPmYIdeQYZCorpOcURH1DCt/z2lM69OX6CmWVYhOCobOGr7eMGHuZOOZggydnoYF4z1Y/61Ph+5JFrGuouYpxaijTakWQIt8JL1NQpgh//6Ro/MjJo+NX+9Yu9z5b2fMdqznCrGUK9o9jSZatSUqVAM5MXHEDxrDd/RQggMYsnmfKwPCVgGbklYipxlC7wbXxZRElTnyEy4gyvEgV+//lC0FUISdl7U98+LcbAOR1DTuvAxA8npRqM6Dn+y+RIfYdc5ej/9amoIs3x3XrI0R4+yXGIRC9YJrW6MWGzwBkuF7i8LujoZw+oRCw7fJkQ9ukbej5+LA5dv84XiFdGt3RFRuPPmiw1+xG/f9NxeNO7ggASTZOR0daIA7iGIfbGiX41PcHLXHRd2Kn9wFbXKP/xJKfs2UI1JVwJRgxAcSo1QtN/tWQYqag+QT5s1arYxbHyjRiy9R9WPmwxhnW089vK5O+HYSw+x1I5cFrqn+P7Wp0DZYe2lUxO5S/uU9GB3DREG5NDdlB/cHJNrEQPe9MBSSkpYabuIMbvH+K8NrraSNoavKS3ZqnCOxbnq4IbdVfwt0VzLUH0Jr2+jjlTLERD3mqjUbELO/T/5AxA1O5hbn+XhNdJRiSnw9XwfUWwuqeMo1st+bvyLR+qy0gfePU5kjuVVsHR+zesvfNIiuZtHpT33XItzYOVKW/BriPfIWhG0gah3A21X3in824rsWt3sxElSwf4Xc2YUB7JPQx8crrP2w+IBbB3D/eHc6SExjHaI8+8JwW1AcnPkyK+kniNw6zfvJJRqb6Ei93vqiUj12QokrjtfOd3aWZtROTf4uWSl8UhObhvp6J/aLTA5xShAgeglPWAtzKfGrtA4r/D7NBEeh9tNEgn5pm13bM4YVxHlyC+r8YgNVfiWvhaE9t0UWrIRrde1gGA+pbiANx370TcXoGtdhKk/e5avOskA28Y4OyINTwL5YPqQlJtWaXmv55DxCm2TDrGHvEAnF77RXsrBW9j03bgN7TkXzcjriybzC1b8HV49QvRZrRMUYVvx0DCgTTFXp5jWB7UHuFwOGTXXL/99v/w5StnbWpgRwgZGBP0M6+/9YbiYj+FohzcS2LIEksmIWumxJGsBWHuRMKLM6kl55bVyPgcqK5MNpo6xs+cVXjBE1+KLR2Ob61JFlZYf5JJrV3HOR8HNPA+FxY2v0Don0sBy9lsy2jpu04fUHHsEfDkePCHHBjX4sdLkf+Xmgbs0RMzgHN43dZ3O0gIsDUv7YcMdX1aMkM5/iIaEWzHrlB6fpFOnELJJhaMv2c8EefQWpN73gpu60BDmscAKwZvrmTN1iUvD9LdEnPCPXvBlGHeQCNngUTWXgNffzWHf2UkVptNq2lGbxTLkANVxsi6DRuiQleOyti3okwP5xoZ6NYSPNyVy0wHR7rGFeI1wQ+vMR5lLfHtO4fBclcO/kJLGOUbQCTTO+Pd+UfOaacqucWY/cAsmypZALZRReGoUPyNU5viFCIlZL4UezZXSaK1U2rtQ8CQZH0YFNybSGCrXI99VWQHtxMrlsSF694ym1HK4cvK6qxq5A+FisZEYPMF72TXaMkXiR38cztvjtieBsFrjl9HBpK0hmRsqrJB8kVC1OUtiOi0vdDFg2nYhy/NzO23qcVYwVViTKlzynrDXssTNoUd/cCLv1JySjKyIjI4TfknxXjCUkHhhIghw2JIz8wE3YK+y8EiysHc8/VFsivb1g1y+MUF8xZpoVQt7mnzt8k37PiydlXwd6XnUcFKWv8rRLx5k+GMLJtzIDKMjMnSMu4yfFozvf5tjKWJOATvcoLC6Ucsq915kvPqdfYHSXvWWzLemChoHd8eupEGyN0P0Tx3a56aQ+GfTF8TsLKYzgnrviI8aUMBr7rETmxePuEtLxmIRUnb2npnvRkTl0PvkJdnJXjMxifgdxT/5ZVAFNJfDK1GoGdcNsYE0CPb1OThGlpbhVarG8rU8TZUEk2JzL/a6VTqQsMon/1tUCsYrc0/r2yYmMkIbJzzYHRgGqMfquzb8J2yoP2mFesWYhFyFy8oashB+VtCsbVoilH8J+T6L4oTggXX5KzOeASAKriRMWa9TuTqBaM/bXaTZUMr4m11Lg4q22/tJme7iErbd1FtVLEfuy0WG9AmGeU7h9cMwO9xFY8A+6ybPb8pVMRVBbBeyoKBGrPaB0JW535vBpQL6TjAQt5irhr13iyxMEhdm2X4FhMC60BYvCB4DblXYLRJnMM5XTOMJiPHbUOlCElWdYbrriC7M4SSCC3gY6Bnpk+8Dmo9UqteRRJ4/t2rbhwbMlpT2qs7q9AUAHQxYRX4LrSHUTZ0ZclCXeriASqcHakczE+83Rwn/pPcpzDVDH/PznOEXy6UzVO0lrCRFPzJPm5QVR95lgfG4dzDaPdVCPONlHxsFGWIviF7lgiwS8qBFKvKtpnfkxmvT+VxEt6gZLYdQycwBjF/AKnKr8PNm7qZJ0sRUUn9q5BlTXKoMjynGiZ4+w++0hNRkqEMmvT6PiR4lqcqWHiAttZjR/Etsz+uUOvVOLfEZOEx7IqbEB3H5Hwt8ytRaenAWsDQWvfic8ahafMncz9nvOvMvG8kzPm/AFJu46CeOGnhVQETDR6naRe3zz9rD0fp32l2dpWO9OpBT0acOjIYRmPn4hldec+GOPl2T70vV36lcrTN8IaCOQPXs2VKnLl27uSZI4ZRwVVTocQAuVH22lN0bEJS4YKX9LF/4n6MCLjHJDix62S/3xuBbBnKOkGgIHCzLr3/BWgZMS6P41gAafDYvLxc5BfMz1KxDBnKHv+GPe9eSb5/NQvpa4ZNk2hqqeJfuY4jXfRGyyQacCfN8jgw5+GMeR7/LIsV5OUDbAT8HjqAIsNqz/qsviom2MT0ou2nmukhMLbCCd4KhFTC573S1kLCdxdUhmk7bzymGCrjrqX259z+p2UbAIsRYECf97HDRbOT3AaoYh7kXBULpd+fBd1STAPy74HoYdYvV+av7iB9TQt2UOJ5VGs9iSVXViz4u41z9aILpt7m4Em5EKRV9sNgwOLxQMB8XjmPEICw0XhzKZ0lV7C9X/2kCdHv2ZF8McuMMdBOqibvaH7/DRXs7N/TNQmC125ax93t6AKSmyFvdbko9Zu4fD07hnqBx3oIzkl0ghierkuBZEJPb6pYZmnyWwlVrulKTWQfKNJQJLIoxMaIRYLcC07z8I8xxPrm84ZiFtH9LzlP0YcE+H490ivmaBS6I6z3rt68w//KhhSS6UVOAc36x5R/MkPtr30LevI/f9lDGF4WzvjMN/1UhiTd4qlwT6uevL9dpwqxoiL2axUf8FXYUJughcrvNdHpRIOEFyqUP5RwGZWkAqfGT0f3LMhByhMJ+wY38fwLimZFvTZcqbgYHmYeaUAhFV6ilkmeCw9FnXpii6IORYjQP4aKlNhV8yegz/tGTWweIvvikTp0t/C0WzcZkm5LlXk6yJ4CcNZKiez7v164p0ykfzWviBabfDM/sOqgh6vq6LyKETcTD1sDTg66MeORWvLHBVeiZFrtYCfYveaFZZdfOSdYNp3CfqOWWFKDDPNukQIPGJBsDM+VOY28258RadspJEj8JMY4sJGzy/LHBUqKlOMJW17vl1TA0mJluHKYbNdvBPP5190oJa1TWHHXB8paHXvAKaKuXrt0aixSXcUE+LEIDTKgjWeUxii0BbbNti3HPszmpyPLqUB4JpPCljjd5wTCwJKPEsGfDfnZ4rkJK0P2gEZSJL4qSzf5mUIAyKTq7fWTqSvzmjAS7lJ7k9d21JLEWc3A3kDdJHVKgANBbqhhG6vv9ZGft1Z4AxHsDy1eaqcRrtgWQLXpo/8n45zS4hd17bPT1tLHysfuSxANg8EaxTzD1nDST2dxEPOzChhwFF3WgYz937kPNuE6I1mavx4YPsvi66sZnf+qhUoch3dFn2vBRZmh21FJxTKRHPmEGmZZALNGY2fEI+8+BxGRlwVqNeizMjNJHET4nixSDPT6T2w/4LQ6gmy/RY2y/9v6UB4NghNLKtlN0isvMgDY19mxIQL3KIGnely4Op/ZeJfoJVTk0aOvbPFYUJXT6tQO+ASWLrrCAKc732/Y3eJNwUmWvXQA4GchcudLxYeV4pmpFFG0LxS+sYoQu2+dqBmx96fSN5Vpc3XEFP8FgVRDEnNc/s8Z1p0OQPOLPfuangR0WaM4G1e49mzR+vI7f4UvFAylcvimakhqEgeOnKtgO6zWC+eHlolYAGDBPUIwRysrY3cP6I8CkSfHg46nVIHwcB7eLApVZIqkadRVg3H/wPfC/eFaOsrEELZhUdgBShdRFThMbY2l+jgIIPnm9R+Y+EWaDyCEbTIThQt1yq7YdrvtmcE9+yYhPDii/8XDOaMsWCIiyrkeDWkg1EyzRbZ35wBrlb1buhKJjitE9VtR4NRUpMWV1iM/Bj90fxRKYOvnvGVkC4JmFp9bpFSwcwaJ00fo3IxX38NcA2jIppdo7M1Re0+uhJE/zd1f2BLb8/ftmyHF+o20h86rQrdQGpo/wGRKcZ9geY/UxOQtbrCWMOCjSCAfFG9ITD0OEvnTiPtN49z5vr85B0vklLzubtyHupliVfLtGmDpwUAejCHBTESOIwyVGBu3CT95fETDO+FVBedyuXQqCiZmq9xNb1eGMwhTGThHWkYPNSfgEaf/t7Zv88vwOHfK/UehAtWh2yghQ4bHk3I7v62usVnpvKpwD+/+lw8mlNZqOtMMQIB4tmaOOkLJDuN4A8fvW2LRIomzhOZZ3dhPUKBpVwEA34eBeTTUJn+yBz4g7ldoIH1t7NFWELTIXn4fiylIKFz636Ad44jvIz+PqTOhufUY+dq0ExQ6xWSInz67SKxkqEVxDEVQ1XI1McdzZENYdWVZmIbnvEYw3nDvaMuPmbup9udQTf8sVr54N0UEHIOHbY+/RyI5VI0aaQ1Nlb+JYHAfdBcKyAStw1WdkVVU9/ndz9O1xMqrMwnER2QZRWc3waeHeaAgD9s6G3brJWpcwQ56FKP7TYkpIk04ssRnP9PmeckE3b2iSeALmw4drUO/y0aTe2FD5dojdZA5sEvnwXqTYMVsdIoinIDCE8yQ7p5d0fiMoYwy5QEdxe8jXP/Oo/n7botkUhezLV7xNUTEIXfAEa2dSgzZuM96xrAyEbg0GuuP8vzMwOOukIx4ePtKMr8Dbqu94cPMbCgTcQfBoAFJAoReckCbNwfjoFtez4g+CXvwmmqeJzhOPUTmPaIlXICnQOEEfYrKRtBBDIBJrsMIB+frEmvwmAKdqhrxgT/bXYEkrvUBmmj3pgMO/ovG+KtRk91OxgBKZHiKceAHXBNppMxLxdpdbeOTYBo2Q1SFsFrZ5FHC+eFVq5CxJdRUO1D4qNfqBVZuQFzmWKw4qjx+d4Y6wV0DTK/g36pGVMKoTBlDhRHz9PBlfxYv1g/dFDLeOr3dTdfRj41ouY++3NazJDxOR4G2QhSVbGvZInjcRabgwBsXOlMZ8jfTG+Y6ElD4yhoV6GTb5BplEYd7xVidkI5Dh3jJ0PYTJy57+HX4fUebLXrRNAnJImn50wTZceAPgU3I5wAQRHILU7ITYtRVmZyJVuS3hUIjN52oUFzlt7Yw0fqwxu+895FFO7i2JIKAra0BygkOBn5jioGeBC5G5jA2hKBBI2tjwpawbpO/rezs5YLqzaZEwN7BcpwF/XsNazbm3UM+Pt4E2NM+c4/TrB2C/FiWHrs6kvwNzM1EYzBqK6A32E36Dim2p/YQJBRtcVn6zB7EnzmKR6pBhTmXiImSSjCCWu8Cw+Em7U7fQQSaeTaUKB3tsnDv1NmY0sbPBCh4CIqc31yVT2Dm36BQgCaXPQ7h782r36Crf2RMHi37rw/S7E7B2ZTEE4+/b7fBt0eI9cZ0yikTc7r7Y+1qJNe26cbJ8o1b17H/N8ebvwMnrU8m2oYs64d2vEBfrrzhazOa6erGAbhIJWAf2eUGnvvH9WU1pd5NsZak8vvMurRU4o4XauVB57+C58cCDrXSnpfOBDwJ8Xb55zluNPIpiEZlQ2Gz8FOTI5Tl1KadnAo/xkGenysljodNOa2HQazFAsU6q4+XqhDPuwyQjm6XvR0/lwOhhmL9T8XDrcROLlJCywlKYVJk8er8POaHjgqOuyYKwZZAtvUhfaG+5jFM+QUzM+9oE+WUk9SJTk/sCPTjq317KxGmCZGYYCQN4/RyV2/yd45hHtFHyskpLxKq6w4XZ1rvAUM0YqKQeKOF02cXURwQ7e666yedBz828diP0Tz2y/548KcNxV5BZyIt8YmzyCu3XVJaxTulYflm9ugJ1upSAcOo6zXgMp3WUHrb459AWCs5jSGA1BW+KclH1omK5d4I4mclMAHOihptFMGPkWUIQnrcKMdBMaz8wGsAi5eSZRv11dVfg8FhbCbypG85IoyXXDZZPAYHwjNJ72oKjfuAZctttWzJwuZa5rmvQQC+1Q2apwfBt5wv6/hS3Ma0XvsAjkQGDku9/no83cTlRY9nR4PLdnb4mrmu6zrdhzwNreR2GkRrSjy0CQiszSvgao/Q/uVvAcFAjeiwyVzqBaE0G03EIhHd66LBAlQQcRuWHqePDqeCG9/0hJkhFPECW7ED3rPnmANfE2aXM7wiiBjAWHu9gy+Lgm7Uhls3F+mtA+C9GhatZQcRu9zB3d4UDTPAgGYyBygQsT/ukHpjDEHeztWQrW8aQlxGvHNEW4VpwaIa220RyV2gTqHgzzcxmu5LG3/KPC7QU1bBdBznJ4Wy4cTwBeWEQFd81Ayfw9JkXh+XV3V1euZjgl/ZGLFSg3g54iJACj7tDpgsQGFDbSwdrXCIqWlkrG/k0qHfVHHlXdb8X2w1q6RQrO8l7AggfrptIX2MM08qiSwZQYXffCBOFLfaeF9364nFcniuS1skU18EpuX6VK0cuouaQjr0O7kr9zVnqCZLNZ/DKSLfI9mmXoiqPB6ChUXxEO1EvHTDo0OozpHK2xLK8QdZ2+zPAtm17z1s56nSBcGV799fWObU/zr/LQ6+OJd0qPDPd+INxYPqOdM3NP/4pIcKocmvDzMLswfH8zLdbqDNJrKFHzOhWZ0cOfTkzj1sXKBLYC1RY9JrPHKEOQsm6NJ4QxUmVOOOF0YQ8y+y0XTaWm5RkzadVnDWYzhUBYPOEH2O8dgTm4XRudleWhmnu5xgGL9Y23mtkH74xcB4KI6CiOQqJskQtAKY8ER8IDW1rTO1QA77ZskA6UOWcONBEW4BiM+TTA7utZRIqJhssGMlcTDDChOOugUhVfSAKwhqOiA/dPcfGTDOxwDKfKMfgmrEYxYs5On/WhbTvS341BpDjunRP/0zsuWSp20jLKMXRkLrv6V9vsiIJ/XlAaP1LYxKrnW6XLhCknWA+/Gu6svCkJMTvEfLGf6TEUhEXg4hebzFQLnL3lPMIwKRdunulGlxenpXmI/b+RfPCsUe02nHeB5pFB0fK4hyJqBgEBl+ozUBGzoz9rLjfWnbbM+FtgQyC+i1rk9rD8BgxeIMphqUGsVZ/TIgzyzYUMIc6FA9CJcFz4Az1SFwcd8QZRa4G/7k6U1ZJoXHlwmanTqVWa/kfFVEenbsVUWQ/L3oZLm85uKtj8ObfPnknYgwXVMtvRxf7UIAXjkC3LW51X2cX4d1sulWdUqAb0PRRAQG43i0sMo4uh+4f13UJepuyB/z99GLaI3zWzwWmbK1zhlF+8QawLG9J4uZnWmTOx6CvzN/VrKj0tA5xFcGQ4IOUREKTMY6V57jAy+HI043CND9zSgfLXwwnMVMS+4XJhfXtzt5h4sI+n34dkURV/HtQJYPeJCfVMV3r+SolivqZijWtsG8KE2Sjki5CtkQOLS+QRi2YC4xaGHzS2W3hpBb/VZOFdyaRqbRFDUck7Mv9T5JH9viir8ilzqvvr+bA7XFte7dXup3Inh2NNDR2OJq0poy1Qct2uNEW4TBXAUZXevL+F/pF52UWnRi0khpn3imMdoQLgpvK7v9ZQO5ZtGRDxI7c8KyveHpEIaPR2JM76gtK/9Ii+zNVhtjL0SUJPrjktYi0Vs77/0DMZKAfPEVnJIyUaXTRNuN3dAU5Nrr3KTZYl7bu3R24QuzBmaXJnrvbYTxrnTbHjcIMRSlAYKa5EmkqrRbqcPDjibGNcGW6yRP/PD6yE0w5R++tTwBqhbIvvv2uvvnchYtXp1UKtpcqgGlHwk2cbAx5vYEwwQLyz86D5/mzksyZadW/NMM/afTYv2i/dPH2UlmSBzpgB3LI1wXbC0+jwSYRPxjF3DaclJKccFa2B6e3DQBAFL2rak3/DnKKMpPYfq27D+S+8hNZEwb0EcVZ58t3gBD5iIHdrrk3DWeYTObtBCEWuYyGcqLQFAjYwsrUZ7ee2dlLQrruJn18ALG+YaR/mDqLpWphFegfAYB0H/+Zh3LRfktCgNAvRz4YOV//isMmRDBBfUGaMxHyiwCVTUWgHxt32r9k6xm9BF2vEFbI25WAlf4K2j2wckOGndjqSGqas79KfEc3zkiTDXbdnwqggcBI9lA/mUHBpmzrMZ+0EFd9CZqEN04etK+vGgqG+kQRY9i74l43B7alTVj8D3ZKzs/r6mWFIoxkFhugfQT2QIZ714OgK/v4yNoKxeOx5mmNALVXCILTuwLpi92FqlUCc5A66LHfDKvQeZCpJn9Ii8sHRLWnUtgsusbUbE/Sy9utJz6drNKIwHa1jaZTSu+MFT7+PCWQy2Up9eDtp5Y4dRkiCsA02Km8k7Z2U2HWMR5mf132D+XCRXo+fc5gqf2BABeGlPS3Mt5LGgU5bra/MiKnQft8gi2ayfbb1vqUoJw8Ij0B4a6GbT005BNrVJcvkavr1zhmGg6LtYmYTl4dAYbkNUGeoIN+aw+5szkxNEe1Hxeue0Aq17xjeKSbGsfaVu8oQZEb/RO3FAxoAWeuyStFMcpoWhsLegZo8vI79Fd+aqhaS6Q5TqzjZyOwowOq0Lumrog38Q4EyqAxsAjpvh5W+o7LZAJcfKp4mLdv/xnqcXUs5hXdc56DPffqPDuD0ImMBcT0swW4ltds2CS8AWaT5/Jk5cVj4TrHTmYfolvP9O3ZFtgiVr9YDrkjjYouOEARx70rBFMN6wQh88tgrwocT0MEArsCSWb20JGKa2JkBl+hEfXHmT7TVY3ud3pIzbr7nyszMLd9jBcxkg2Op2icU/Z8D53HOfFFdgpfDqEJOn1t2yvM0DPxuAcleY2vQsSmDvdyjVJ9P4A9pen2K4t5S2NkPVJq8oHy6NoXyRz320wYrzB3mjDBptxL0MGF4d2DlExwjhIuNBxgx4PZVRTij9L1+LxjbMBlj9cAHO6OsBuaQbFANluf0biAF9qx9+DB/CR55+QCbkLpHsUtPOYCr+wti2qgVUoXGK+bTFNThj6gh2k/QBeHAfVbNRAaPobBLmPg96VmV1GiPf2zHymV4euuQ5N7scLaf97NsYL/YIRLDRy2M0MGpAExywKi7lk3KpPAz+6Qh3gJHfwLZzsXFAZbydKiOpO2AIY/ryN70AWoDtU3I361ztTu3mAmwo+3mZACWeJNt5KJP6QgsblYWjMwja2VxS5TGHH4TfaYTwVPteBWEqPCiiJdRaD7WhfqNfB4TZkr8cy504lDb0/d8u0N5x6E1Snp4uf3o2lLk51HlbIYicDFY62bBTpIELbLwphIvmorykgV+Is0F0aqr4Abm1IuMaBNKr3EEf24hIuyoVI6HzbKBW9VfjBO5pi92NREfcdrS55YdcSOH73S6BydqBW3GAcnu9BAOUhn4cvKN3slfmRPJ8Fe5DEpk28ST+OOU7GgIVrky7ngC86daIWYrT85EiVVNQanEZU+15xMzG6FN4zVuH27Cd3+lKIkr2EwmpDid4CIgTaBE9ehroiBhYvWfEg1/wt1Y4COQTYRJLjUPpY4j1bnaHIqaiqmpXzghQ/l0Z+K1RGKkug/wNH6TTJCDN4qYcks2i7oLD5LZD/SsABaQrLvr9gosjBZ7XAkKyK3Hwsb9yU2FQ0pcHPItTsuc1kbOq1ro9Ri2RX65NNrsGj61NliqoxlWwyDuONSx99wQMbzJyB5E5Dn/YWWAtw+SV5205UEEhZg3RlEcaVYxKFcp3e5Q/zQjeRyt0zKPb+gG8/g7W17PDTomdVCVEftCim6y9dUY8b3HVymHXuQewxLacXHl97VRY72tlSnsWTRF8poGhrjSZ0b2GfVsWBjPwMc66dGuZFsHoyu8rZ0GjAXIaeFYoT0Yde+lOucoWOGyLZwvNwNRy8ZhMJn+w20OHu3hCG46lF08dzYXLqm6u7lJG0ZYREo0r7pepeQuVriCEDrZkqIY7DDglzRrwD7AgPYo9e7NEyJCiqUEPEMA9PMljz3z81Oz+wptrOtZlmh/jF9qUeYXPV7dfd75s9qdgfgsdDPvlLuKNwi9LTSxaMXW8cmF4c2TT+TWZaIKtanPybmmaf6XCQTmTh3eDxRYvxPQL5c8kmABX3LRkv9rmGYfy3rrYfnf8aZeHz+0psdRxYF35LE6mNMBTc5vJ6AGbgzf3YRGoVMz/P8sItJfY9732mgQVNFzPiOvpjPlecYO4kewgxikZyxPjd9/der2YHfi9GWichgtpjGP7dGLoZ2T/Pijj+edNOUw8N05DYgaY4qyfRTocGZEspufZIWuleGQraZl1ZjboAXsWb50EUq0y6alyGtZf6BhN2Z8R8adDTfkElwOWAUWIjN7cusPDmfw5eHSSzAkQ7c3t/bEv4jn5GlN6oTky33n/EO7o4Zs1lU/crRf0CrNPMqBz91QTE7m8g4qua13xYhFZvvTrCkx0GhJM+GFNwiJ4ea3QP50ZQqZVsDQc9MDc8dPilwR1vHpFGYs+tuiMp6yL4yjL1CnEcy3G2R2swDPENph/dElRz6rHtk4hPTX7/84V3nUc1BVlx1N+TAIEg2I2xhl/eBXIPcSL6v90qzrtbMu7zLdz8CPFWWxIfwlmiR6GMNotgtuuf456S4BkKkCX+o6RP17gwV9ph6D549qRsZ3yd5hu6dNnSwoOt56WW9nQJXxXg3Wk11Thqzjm8Tgs8yc0LDnUGikqLqku4Q0mZ0UAcas+tsUzIdRETjNpVxeMPO2jD2L0ympSwLMjahFDxUH7AHJUgfomACxFFs5sIebotk016+F35MkRQEgoZQbYnHC/ELqepFWmJwtzkhXMo6SLeG0OAJ9N/c0TRwAyeP48SEQIEeN+vKCuGWK21VNPeGz9Dm+NJSNW/+QjEqZZt66wZH9Fc6P3p0a9H6I06R/3euZaE5v7xuyLhkUYgM6WbZth1NvkaILSpKpgUMGftBDL8Ie5GmEFu+6LCiTAKbWxuv2gtJjuzV0uOIjzjieHmxLOx6tvpp5+R6HK4cNDi9NV7sCaMj0PAIVukYvoTB96L1HjGpEbE3v4XamW1hs9j2qUHHdrifM+eDSyx6LszKC6Lz2McZgGWSOLWxCvQf74RpNNFjRMGO/zUnmrIZS+AB3gYbjERkpcc4sXuG52AbB/AgqkPL2SCnqTppRou/mQmdW+P810g2RsWRvEbRfuqbB/EcaQuWTY3WbU5qUIenAzCSq1/zUgQIMkB7vrbHLZZjkD7faL1WM1+JojMxgZxNDqSyfoftf+ULOrHK9cmxAH7tRz9h1u8iOb+oCidbPMJ/YgeD87rVEN3xqtTLXKORivmcY+Mj+0Gtyrzn30ykiDcHc2C93/yxBOjaRP+G1fufEdNl4QGCZLb47ZVvsh3xU+TjrvvQFwb7ZR68WuX/HdRUYS2sXeVqR8vdwh/yHFdafjrZ3FnbuSa6jwXEWQdzHCN6Wj6EjK3vWrPGgygaxZqcwJn+kbGpotGZK8q5PAgGS2YInNgdL/WRsjrTAeFOXHsc71AkpOklhjfjoV5PT4mHMa5K5u44oFR5lMim42bMWCwrxiBXV2oW3EtNMPi56CErYj5rTw0LaCs6BnWSJbXjH27rJOoqEyYeL4w+woouKQmJP71C1wyMCZFccLS0d5pr64NV/eV/lA/yIIsUCYUh0F1WPeYQUK77caQc1GKBWR05ZhYPW4V9gSdm+KmxjBGJ8sS8ZntANyGtZxnH34WV2Ojtp+TSpvh+tSJQPz7K4jo9xWeqN65oGAd6ruCmZJvx4bpZl0M27dIKRU51k7ZW5z7DQVGtjIzcY1RycsRP2W6boQ680HWelWHGSFTiHFgz51sy4et0tXv5mYF0X3qOuE7D/RNc6AzxZGz2nQZRoD25bMF5nFsbeQKalcaoqWvxSQ+mWuikLuHYSGqc6YyXkB84dpXsUZ0kOavfM3euJQEpOlLH3ERiSTuLQjjR4HDpY0dbF0lnVjKQeuSiEFalxIu8B8660VgAhj0HY1BFyJehqp8+535kP5AU6uq3zHZ9ZDRRsqpcFXosDnrt7TYxZRPMtBsX/Bb8m2dyLduu9AwNipQQFDz1m1J3iss3SpeomQ2WUdGn5UnE+ekCd+8YVe4DJSrBXinrq4wgCYywr3o8QeJ2Sh7v3JMo/slkG9kgEcftbErJs4PbT2qd7pQYmttKGbVuycwUytHK2y9AXQdUxh+/XHiqcWzD5Tbx2UB7ouDGh2of8nMRTozei7PQf+DOApiG41jqAG6RW2LbdT8vAm6lKoInV8z7QTY/kkR14NmAKzXBVTuVrjBKbehIooky9SFhalTWxtToJRGDBDJJ5iyNxq6CbxOXzLORR4w26g8y6LPoxuaUVSo1nBAi4EapZm2d0ZBz9rfJiPORkVvTKq4H53XF95ws5jNskbZqa/8405NAGZ6m/tTfLX3hjcpCFUGMu14YfsJR8idCoZT2ZZQKOEFZ88VfH0/+aTAHhzwzhBXCc+j0Y0lHMDWaiIPrw2EJ33rqdFmgeLVEmQ96Rozz4buDwsIV6e6Zqb2QmuF3ZFjM8sYGts8r7KscAdtVryIMp9xX8hzZh9XLDUkcgfrFbSr717843iz/fb9Q+rKAwxT6pHad4+jKND1DJ4TszazcWOXsqey3yFZmdSf4iWmXH+vynpu3XrwGAho04DoTbpYwPNN7YUxAG1zspVvAEd3xLs4Kq0sorFGg1Z92LGV8mc+HtYGYwQZp0l1JmcwVp8ldjyC1hty5ZPIy+EguKYaxGmG5O++nxbkqDt5yEkdsRcMkoLZrEK0oOUgkUsVxkF8KzyXXrva1a64rgIzk4E+wzNvAnRnZLpUHYy+JVH2hr4QAwmFcnSlyAqVgWFsvySsNTWyaluD0RT6oZwXklRNFrzivJNgVUYmeOYINrifS2mfs/EWOHvucpBEpLyZ4sHoWV3f8vG3fTj2OWxufIxSWcZCPYwSOd0rF07cku4F6y8kScdkZTrHUwfcu7nKsi0WCbBiKeoI2YciPAa4qTDwrtaaR7qpAOWenJOpRf34hzu4gc6KJ8FRw3eT5HpPKbLq9wFEBQ96O8lfJl+0DWJLVircpcIR6WAU2gz7vgXstwwsZgWLkQVrBzclatYRxLROmv9eZuRIakilyZweCzfHmaCVo3S9AJ4eLaZDtdIxBUjdcZxrrfidEWhcw6SQgBw8POgJC1+IE3NvQWfpjts7txtBsiDeKvkKqkGKRxvxSPn8sYKHv+iC4nTUq6ya2LL2EPDtSJLcS+QvQPCSx3mQx28ZMaDaxHHdzAS3RedCXvak3HfZkA/nrd8lpfL0kjdz8zJHw9oF6q6jVA8An/TTuUmDVg+BM/ojn7yYzXxzk79fURr/KiEBwxc8lALCCcPttaKQGDRiiUzhdQYgFf71Ac78tBkamH8ERaW779dGl1WgJS85FdkwPSIFAUlcYkt7f6Dv3VJN2yt+0mZxdrOsOe5GLu3XAeccCLS/3dNwcGU73qe8K0fsMuzDiwJXbQtq0zfK5Nz2ibiMiEbpUe0bvarBhr462a33NROBPKusBjWeqU3d5epvEGLfNrAXsuiCRa0rNBdDVXIjpBc9Gg0W+haZtduPCsIiDQ/cK5llCo9uZymVWF2pTaykTlu70JelpLU8fcuwyA8S6yol/cXbzLzJkOAFre6qeC4x9eK7eolGdRAGaDzzL/0IMhwA8nqFfIcpLwAHMmkGjOoVQ3pMKTUPT63cNtu8fdx7MTeUWJIJQ2YPX7MSoUERCjGCPcDGpiQax7hJyHHSXka1F71IwlYEB3+bmtOTR4ackSAiyL2t3+LDrEjq3vDWQ2x1qCW4+9BGa6KTt+nuwQtlRC6k9Ai3MgRgoWrQkyvWGAXP98JWRK+w+zmj8eSUtYtzNz6QsylS54TyxbuO07W0dDvRIbW8oSgmlC8epiigPB//Wjet3tI+9GpJA4HXIWw7p9lKvhlyzSENkLSVW+fLwqwRNegmqwmKNb6RbBeF8dPMKz8Pfn2sO4wYaBNOvMYU5eqWorJgI0sFsauOlehfgZxth5pmHjMpXvu/Xhmc4FQ9UvBxB7iCNwfJo+/WGKesN/iyfJQu7pMP28v4MA4oC5AJ9TowRcu4w38y0xRTd8oy8ofTmVj94dS++cqpZEwASHcgg23RiNe9c1cegXUGi7FZ8u+dbInN6S/JATPy4ghMwG7mL4gZqL1EPWijkP3Oko2UoaW1Ngy4vjyTejL6JcpX4+dWkg2Ig1OttdNnHbCrM1eL66/pVQIX2m2G6hd9aY5fRM4VACDSbd/1DOhwKv8qEBBqNK+VAHA+2sa6kffoTQHygDV7T2/7eu4poCvjHStsgxiKvUuDUeLd+ORMY5GDm+vdoXrb/jkG7KMlF/twpSluRsK0O0qrAhIwA8bIPrmUmunJC/S7+7PnuNrzclv9r2ijZ5yJdZm5v7N8sCleCvVBiQo+QfeOiLY5h960LFCgdkcQm/dmjjQCoNQIloz8fw2n+wMw7ff3J3gbOTZ9bUtALRWVPAPAj80KKTZKoX5+yMcacKQzMmeu2kCQWyK8sGSNORUyyAZOtuF4+XcMPGcmA3cpL3tZOAOUoljTv/X+SwhKb6uCXG/cz/+48LCQoDG51QoPiWCM2hhKERyIOE1GFHl+x9ccsIXvje5/rp7N8pGFAPFuVe80YTR+wKmNA3roAzi56M15vu31iAiqmjfIlgHmEd/kEK9C50l6u74aMVce9+vZc/1ya1HpI3RN4nadvvriUv8aCTfN1NJO07e3Rl8E/Lb+aCpsk7PDRpDvwBj6oZhNjGrg2+FBXeBp424qXDrq1ajlzuTk6/UXjxYH1XXMeOLaOvJNNYBY0el2YboOFrajzPDgJ2LsbN1IVUuZ2Bz26U2RQoGT/WrX4d1+jzR0jcErRat1360B2Gy+hGUKdhvheEoh3QBuCapppUHTgcdJtq4GJByld1flAyDppUO+zIn3R9+HvdsMxJMWkloz1oV3lfWROZhpI0P1NgdFsKctcRvmx83eFaR9IrpokaqXtQREF30odxWgpGfIldc1gpwXi4HWvJ8lqw9VgvrkUijXUTsJLKXjdXi4/k+q14L5pNXmJdEq3bVX2S0F+buaHFHQu1a7VFQFloXX+RA/aI5kijOxzFtR6g3ulHs/JomEvCh8aj87FnkOKmWRjazLnTh4u5A/gqUyNRO0yFd/0yKUGOxNRGQzENaY6DkD72ku6UF32e2QMJPdWYqEhdi2ysnrLZ++HzlEByjd3sEjtwbSEXExTJ5FgdUra50/Nnp7yzZu0/dSGjouAgyjcwlh0ucsbm1h2cFAikl4Q3Fhe3EjHlbB+51fmCOZ1Cq0TZKMxLjQ9EdauroolYx5nl5O3OrpqTOYM+WNwfcvaBszHsYrA3KjD7a4RHdmgGEXEiWmGzQ/JhlAMH4m10Ve1Qr+265mSj6fHgj7iuWGuGx8XRP5l7peZskcAjLsV0LsW7M7kHVWkQkxHHov2Sfccb35gPdLz1ldnM0afZUcl1CNrGNb0YKnN50b44HXLjA3BKBOIbr/TGJqpiIik9/BjLhwagATeIPpLZlRpNfl4Hc1bKt78ukyoCpY8AxgJDZ3T8WDdXB3Foxwp2WROTbtz7n1A+zf/2gnS5UvyLDH6ieXp7C7ILEN2ksWcAMjAOlxW1RQXHLHErST7pv+m8urwRHI97uOHxTNjue8RKzzEDXZ2SSkJ79somhkxNIkc0XEs6WEmZ7e0M5BHEuzqmdvpwJYJEAbnG+fSpl2rhFYuehANmuQLcUkZrVtZjF9e91v6ypxy2Pu8kfN8uWdgZ+tH9kOqs2kOptfKrbzw38qux8CK/rZUPXGhyn9FcHXwe6l4XwfbJGKJzNLXSMyZihhuiwigSlhFzyq/Ryia1WLnnFrYSMAvwaob6mn9x3/m2kx306EAm57AtYsHHNMJpQEdWX6A/0lyyMsNrn2e+5oTbYkhhvvrFy0kTQvkg4zQOfce4y+1zCzr0m8/+giVYcVSuiygy8q5ShG+NvTlhx+gcyJ3Ke4dl0pi25Y1qYDVYbXu6yjNs3SiPGAcPUug3CYHuhLJpHMZ2tt6IOEzE/3YhcwG1gDoPioXm71x8/egGABRs9DqIAhiBo2aA9Axm6nIG0vbY73X0DkOlYSof6IJwyYWV8GrUBIC/YqNmmvBDAlhCojp077q0jZdtvGYYBySb41V+11KHnFipWXhQ7DrNx8C4e4LE8kl/6nvyhMooMA6lhStMcZ9dL1J6BCuOkgTra8kHlXXUauIIZk17KgrroY01bxjwW2To7AMT5Aexv4thI5rL9Q58TfWFAFT9nVnJhAGqKxswvP7zmiTuOcB8GhYHhPOS0rLn1kXWBClMKgzemt0NWToaytklIfbudwKb1aurfVTExT4CeQD/oqWv/1Mpb/buxeK9jfvVLLg2RbTLPyGKwq8d3vNa7sGiifjUzY+zQBeNFAx0R1+iaSmpLOgoKFerU0T5gRZiJtWK1Y9zjejFQmHS6ZwYfFtmJ06ZhRQYcyoL2IXEF7vRQusJlnijUDz1LXnJvLIqfOxVkgDVaVDZjDGF/bT275MaiKK3p6IfZioNbDEvFgzEwiZAjhXO5yjiBF/2h1oMUS/yGr0eNBfhWzET1tFmpFZKjgx/q69tXRAePiCNoXQonpfoBta3TLDp7jtpfIZn5XpTD9fiAzTjy8XLmTPdErRI3zTTlXE0I1q6QG5SXgJVYZXdbAg//qaqjgDoq30/nPCbXm5vbv621J/t11V+S7pj+2/RAlAI9UzeqP8gNBJhXipBjtwGuuK9w+GUDZTLvicSWZHMMArrSkay6iaHLB+XdUSXNgbTGxrmeDRl55ie6g1/WLXmN6QB/4yEs32y4nJAafSz3WEjlq2nfD0QY+GusVfN55h8W3/maDP8H7afcxM6bKW67YipD+GIRGH+plCyEvsntUyXlEvMnKa7pin+ZaOnFmMbBGmeGZY+E+xtzRPQ/Udk7PkfEYrk9/cz31WDxXGjE2Q/CZjp/mP3d9nPokCRbykSL2KvW9AKFDbIiE8qXTezDCRECK/e6uOa5cKjV7uQ2usEHLsjFWnmayWo3T1jrt7MUAy6K/pQmBsxTAtecjtYno0FF6h4xMsjEzAPVnw6+9Kh/CT3tvbkbHREh6DlfvrsS/TouAUoeTmZPvGX5PRn+vIhJGJC6kqQ29qHWxFVit69Wl0Js/OH10G9AbKvqxo5QlcGC8lIVSSZpE61ACibmZxxyJihDTQ8h5xsOu0KtrGJZfMoiw6CwTHHsOkwaDmH9jCX/TOy4NiXFWt43i2b7QgyMlvZngFjdj6XUWAiF5Gfh2FHGO+wOnj19sikCbYz5zKLGyGliKRiPZNMeUdCz8MIiA4NCYeKKTileb6+OMRMhHd9h7cnLYR12cPQJdzd1yuUYhC3SKR8dWBiKGbeliqlIK/N7Rn2eVU5q46amdNax5Fg1+q9nYTbnSbVQZfeAooCHtTlVxscSFFc9AYbqHLgNqREfQUoKC0TvyVeoFDsjbQGMh7yd9baSpJ7EENfi5X78dJGRz9cyMiI+6o7I7p5OQogH/LXCj5XNyTauxqpEKFE60nlq1Q8R/KzYOyT50OI7iD30fWRfKJOZd186xRx9xnEbLUPl9vQa2mSfdv0MZytjgzklg1HGDn/6v9OTpzJ8zI6+0nwXnLpPNKZQM0AeMexQB/drRcSrP3Vk36mfaJzutz4IDy+VNs2IHzk200QwmXpwLHlrKfYOB2QwDNOXLc1OiMdkinypn9mkN6VV6aTtCc243CoGKHsGr5IrVZwbHxLMFeexCjw+H9IEwE1LjawXat+lrEJjfxgQ+LiuyjQ1bNuCHhfh7H6gDQB8xgf50GfzdViqQr7wMZG4u3hkgQdGaG68B5Sw74afipHfGjfMDCA+xuD0zPoNYO+2m3D1r/BEJK8hlzkYIap3Z0dWwDcUVmFNjjJC4Ki2VkwyxJvjAVnipUF06OuCW3nnm7mpTcmQCd9B2tOPw1JwBQUb9O038tGSUDthpChVN9FBktdDi7b2581Sp0Xd0DZSuOpTGxbfiqPetLQ67ngg+Kse1QJ6hA7oE1FkDCTBZg4yPk7s5eQD+aBXD52Yjmk76U9NKKmUGUqjucIor5ZfP1LwDKNtKhJ3ZSBTfbKD9H4ckr1RWjoFZ0FthQ1KA4KyRFGcMLFnNhVE9HvheCq9je6IexmgkI0mmwHswC8OKhPNFWmCSMRUlsu+tHmlqC34wFIuLaL2lOyTkQJxgwb9EKRbQomVw57fSSZxXs7PcN8xpwo3VrZZn7urUWSJqFVYkFrKZ4eSiNLHvlNKI9y9z9rmBiQKeQG4DOSmF10+6XE/HRAiRC76HO9kp6KNwTwsnd3+o6ui7gP7pwCBZD+v7NH4O3vIH+oR+EIwq/FADke/mrGyvtwaWde7WOXBpFLIIIvVvpadRg0I0kYWfyH24O7F+mlETTU4V0VKFgXYFXVkxaFdKM26zGgWL8aB7arwcwNlsKGh9FrXbw50PuK6D+zvsNZxYi3zWAcgDj7zfcAhdonHEb7JfJVQ6LX2q3RlvKe97X3GF2wbAlWDDxhV7WIMdPve2lX98jDpstdXLAxjGMvYVGu3TSaivws8eAuHuIgyQap5V9C+jh5f2kVqfvxYL1TSMKsWoQfFvcyMD4LbBfxFn6FG63cXQJbDkxw2ZZjevbbxgJVbMF/X+Zsf8wND1O38A4hgSn7cakip1OjbuAfg9Uf6pQOCBvlrghlKNVL5VYXm9doEmI/pnuKjv1BmZDZWHAlERpBgXB/9hRs3XnTI2/xVvimjYbyYQwiLZyAc241cosVeI9fCd4nlyeUgaZxHg5OYABbLaK+2+k3dCkxb6Z+n5n05BJLxhjETZYHny1OzIrNULOMWh2y0uzXQEXvxGBiGGBGr86sY9kCwIQwVsBAF6VY1jVJOsAgAmtZ04A6OafWtqh/GKDbWgOB65qUUYo0X6CJe6iNAwW4mLyzG1H6loCAcoE/lH54CnNPHI+BwwKIJHOAfjZuDkXhu9xr/uAZ7hFVGW5hlWSoJswsmQgG4zhf/jNx6SxqBQ93rt+1so3JE5QfjCfxo5Pkdnij0HruFrYfLF8LukGRJk/3xDXLnyPBBjJaaWhHrC0C/05QnW45SZ1QLg0dLJxot4DWoCra5jd3N2NTU3xUgYKMRd/Y8L5bc9IBHXyP9ukcTHDYyqSSQxWhhcoa9yZDQC/4ENpxgX8ppU53Bv9yQ7og2HwOS+7pB4fDtPbpjL+vDXrVeDob8BtLfK3CVOlOFw0sJjMPDAvtYjNAu/U71cC6cNtBH7CBDslGCOBYhtojExrIJNQzj2KNlXgK63vGGzODi1mEshAr06N0IoOwOUhm494+idlR/08sEMSG4E1rPk6qfJ40DZH5kRnGkraHejF/K7h4f3pu9yNpBrloJCaX5K28uJ8mIq9IPQ4zadFA4cfEaA6bbzwPcJWAwO4xxqpYvREVytsyJCndJ1bM6CS04Nt1p0vX/6LJErm817zoXErBPONwnDYBDKUdeiivwHagJRMuks3gzOx/odB2t34YZOyl8HSRUZ3VM/PfDvc1AXVIJ15Bj89nX2c8MLdNy7GtbK3wEfBP9lvmVTrKtBQcmNKfoSIky8Cclk1Q5kLhztLd3rejo25a/wsLupvfAV7BjsJ+OXXPQgoMdtUZkoxi/Yf3Yj/n817zPKiXZvfTy8WtVCuj2FaSi2trx4H514SaUetoymSHBVQCoZgOnCne73cGeznTGrga0EEOW+gGLQzll2aNTyqrsNgytW/WXAWluRs6oItRM+x/GBEiORWOxwHfIWJDGNS4oGwAa9KO9QjkOq3doXEsMc3UlxsQGu/ufCknPnjJ6CXj85SAsEodnTfEwRt6IODMBiqgsQMy/958DljBcYmsibeCgzblJ85YqhMKA9CAacLWT88knMzGGi+KbImVsLo3nWDRjm3UAaSS3P/TycZytyAXJZo/Ebz0BctqeTdhQjS5CuVf0PCQbEu/vG6usQ2ZtIYHld231oxZd9RoVsC7GOE4AMK5sTC+7eF4i1cg/5scBlEL9N6MiSAd9AwUAqE95/XdkulmMr2nwWH1GNRovS72W/StbMA5MGcUL+UPhtTVZQ+bkcNcu6U+tgu5tVj0k0jIwCm68PpnEf3EE0VGWYLnu6rYuU7eAFIqYpj5NX/iBfC4uZivUnmxXBTcOkcQyV+KUWf1Oaf8r4u20eZ8N2jeMwCBMwPNDxEvTmEWuwqRBoVITowCdRxaoXLH0IbTD5+p6SIfCYws9dugjrGv7UoMsKK7ZPsz76Vvj/Ofr575YUTU8bszf8wtTtkVs3HnCx2+tlI58Y3Ljb9+Mv4Y7K8C2n9gwb4gaOe9aI75SM47fsq+/LFkNI8rqKEq+HjctrpUxpp8PtqKpV/B9WpacZ4jD6toE48UGu2hm1OCNxkF6TLpZ5Ve97zCsKJHSslueLKSVBorjkRzfV99AWJwzPcY6NpQ+rUTe105X221CiuXDvD7ys2uZZC7QzkcRtQuuGfOq97LnKgyBuBSyiTRv4b2Rq7ZDECxqGgMi6ZESLf9iTENuahcu2gbmh5hdxzSeoPnWsIGb7Dd12u/5Llb4VtnB4DFzObVo5231+fIeEDPE30L01AZ1rk2jeRYAfulKUvE1NnjGVAlDFX5PSoMlfjB7CUhPbdz7A16ib+SNzCQdjnh7pZjhcHgdTTYRMZtL7y2YKVJPJi6OVrpYrKax5jlasowsE5U/YlDDKwb8zNU+j0tjIpNh2c+Y0/DAE23tcbR6m7+w/D7aLJCpt4KAGTbH0e6w3DS+Lfml4GxtBPfXVMS6xub1etlbPOsnsOkntrxsodloWY1ofSvD6CO7FNMJGp/ZEidcUhbtWEKPuaq23P4Q2UocfGw5DI1sljaboHr+zmEYMQFtyLevE6pFWHVHz1/6hzt3a/mVUE3EwRZ8PCzh49k6OJj14YVBunTfmpQHIWDvjbCk7SGPEsvNs/dNj9PssBRQe6jkZuUJNTekYrEBqSAwnzNrJJ2UujfcePUzgwLz4kYvsnjKMI/5rZuWWmwQoU62CtQlm/zLJMLAcDrTCv3x/v595DIxRUP23JAgFbUr6jbEd3aBR8D3O1M0unNCeHhazGBS8dxiBTLMlycD3bW6hG6We9/aVxL+rJF4rUhJlIrhCBVzx/r9T7akZGBUPwL8rMfBkEqYlWa+22M0COQ52Pb/RuhonjJFOTvc7b83ErLqtDaIfwY0RD5DHr89T/iXT7HP0ETLGzIokaG3tH76NDFzAW0mwRg0MO8iOKtMAGaiV/13q/cGTWzXeID2YLISZIv7fp/X8GQBr52vY0ZiMYZa69hKbd6cUNeEukVeqwxxB2jhgPgjOHK81iYv/vrqH+mfbfLbHlvyao/HcEOJbhHdvjnGzbHIK4Q/qqW7XWiGJl9lNSk3lT8DCCjL1Jm8X0+rZG8zQZ272JxNfwStmAsj4f4LiQeKrIDija8Jw/1Gi1j2XVwnhBS1XSsaqF5IBj1et6hrcJP5iIRBLaRWaz70gXI2bKzyX9SyTa86z9xgeHTc+6udCkux8eB7RyaGV8NmBy1zI0fPFW/aT7PIG+RdQG4mTRZ8NWI9+vzifANGtO6Ct11/ppqki2301KFODpEj+fM+0MBt76pKn+ZZpR3eCjIYjD7u5BGSfqZK+H4vJ+3D+4I8NZcXr7U+DrPOb/35LlAv7Z5T9soRkDM6NzbhFf/CqOcHM56CZxwip0QqmdfoB0DdqL5xiiSiyG8SKdboeRXKg59SGNRxvWJNV6gXOfXsdBIpbSN+yNIiqiUxpACSGRdni/16ygN+Xp+cvZyjK2ZmeG+wUT+y9vcjrLManrsEyuCN5nnp9HcP+xocyIAeC1730UQcAhW2YCWeVnLBTkYcBQmFKqDLH+u7emK79h8EHvnA2AOfV30Hkmt/PHsPjpNALibY5y2O1BnXamFwmQM9YEawyiRuosmivnihfzwkt5VLkCFdFaQwqv6rdI75vR+5aHuT2WIHC1QLNVM5GyPYU0IN8QKZQW73bjbCf/MMq0q9S6zksnTVUE9rWUFcFVL59EWUFoRwPLZ+b6YoYS3waAY/zqIj0YT6AHXwiYZN+r/SLtzFo/+XDluNOkEffDr2/mQlE2F/2X3OdSOPyi+6fourn/oEGu2HtNUSS3EYtsYHkgM+HlNylGlWdvcXjsFs4X6hGrBms1l7xTaMGXo68ugZB9JDZIAZP5dXL2AiQhuOOLRoppVpLCAG5jvIPquyIjo+2U/AusnAGkPSfatoUsgqzYb1fyRBF4G8kckjdUJjt/Si2P0cyfJAU37pnzOt8IRM5zB9+xgwxyuJ+fpsfg/lTYG9XeK9b+1cZ2JUQ4QbHRrL0eCFQbyLQEFB2efQgnadSovpOH8y4p8iaHDoKDNEALfTORv/cfrOen4R7hXtN32kodRECql2JV1wyuKkc3nHBGlliYHxWTLS3R3eEMpFqscsOzLz8y5bZod58jvo1Sk+8WK2bF5FTLtmMl1Riw2jb+cwd449zfTEldDw5wELRGLtLBlC/uV0NTiRPTHOedzmy/BWdF6QTy3xsXxGcCW+5c/gDv/Syj+/BK0EVcuRnv2PueXkAEv9Kn9zJnHKkbCNMRO9aI5/PWp15YzundlJ50IJjuZ9xjqFXkPT6zAvqvY+jV3SHXcNjiXtzaLjTNVBB2Tv9mtuD3Nkvi86dBxoA5ExgUr+RQmSe8ulosb8bI/iDprjHI1fCoxmdCYZELo52YweKsgZeGxpIQ43t3AkfBL7nOSSRRqyukexe1O43lYs7GRd16JrWKSK4FGQGw/KCCEbYQuGTDuipLlNIQR+TRV7E6jVbQdGUgYCEaqaWrEx6VGwgsl33UCvubggS1F7t2MoKnypMBTqPQ/DNuOE4+eHzs8HjKElE5NUV2u9uuvym7woDqj7XnaXLgQbVIHhi/oa4itbOB2cIRXJZsCAjL2pdiiEcV06GWotNKVpRP3Qk96hn3/kUCgsygwdmnCqB+xmN26tL+ufnMSDp+y1WKa7OtyZRmIniJ1EO3Hhb7BnpSP5BvoCDhEI1pezm9aKWc8bobbhd+LKwdeCUJvpUDexdKxGyOm+HFO8os9dNZ6k2/I3eJ3FXONo4PNZxY1e4mkySxLdXzBFbcwp4rJcoEYuRpJ09x+5T4jAjdaagdhCybnueBc4xN7QBc39NANBYBU4FRdlGZLnL5571CFVBLAhoMCUz9HYSbamzK52lF78FYFFak3LsSqgIw1BNJ21NCe/ujyCjNBp2ip5Vn/U1BMswkWJj0NN63hlz0KaYNwaTlJKNcZXbYhqfai/JzIHl4MKXTHcB9Ujk/mRy8inW1AXtQhR1FXlb7OiJobAbbqI2QwUf34v/yjqyqBw1p3ffQI4sqYhiZwLgzAknelGanNXupxHCaGLPMm99WmUiItrACfr1U1/6/7bU6Kxqm9F/VnLoVHSF2QJDwPV754mI9ce9W4cSLyngm8yUiRH1x09GhVOCY6g/Il9AQZj35TMrThbCj02Bfmd79kA4GA95kwL7dOnZOoKZ8aT83MMwOpK+scwP99zYUwRjpphq4d8DFq5asvGOvqV/riWhlUzN1+PxWsfAsMk2P0EwJEpt1BI1GtWSnGIdGN+fO6uylpMpgmtrs+KJiW6pCKvrulDyxsQGyjUD0FoFl80aBrvU7DYFvaQmVhselHZVqTHLkAXG4fSkfci7lMtsvQn5j5zlyOPLU7oTJc3OWWe2EYcq/5Po+nk2qWpDjxJRCVNRAnTRsExHTCf0Mp4+IQ/4JDOLvX5v1Bvj+5x9xXp6TZEEFx6KphtvVMUE2StN4VDUBDS7VYzZ4JdJGdIfCfUwA46FXFGWlnvRuCovpexTM3zs0LC2ADtZ++9XeP2R/ZD6SfMGziXIAmlXb7HXONLYLi+Anoj54abJ7OtCi0HLa4O/Z32oWFteZs6NYFrpTFZ3eG0QYvpJSdXA112Vw2LV3QOndx5syPhK97RMcs7OQrPvIXrUwOZTSeoQdRFqmAjzdfV5hlrz32nnh6qx8YdcWlPYBiL59KQp9K48vD6L7+KyeZNqDBVR8ha+7HwA13llqLdiSBfq5m/8q7sxXvOlny1UOkxRkZRk/X8u6SZ87ph/s+8w2cPwa1LF5JQbCTi37QKNiJMjuIJcYx4lUcMazi5Rc/6/5fzvv1XMFMnj1phyPq/synNbGgafZlPEGwhsUUS++mxD15Jc83qdaG+8RjnyIdzihDcWws+IEwovDjjCn94Qi446jyH+87ygf5/Z9rVLE6MCiW3hZOuWt5mjmdMFTp+n0Lvhm6n/R1ZDUqxt65b6n/XZ3By41x6aMT099DmzpNULcBBnLHkT4pQ11QPdWB9RyYJOr/+P3etW7DSj2KUgx0KcHPskLE3k4Gmxc8ze5vTJ0TGTz2Vc1aV0WFdJ4Znnz0CVxqoSNJtCMGFoYbXmJWwRaBO1undlrNkpazds+tclLAcb8Oa1ifY2t+Z5i1x3YsFblusKSPb+r6fmGhEqfTYIv9UaNVtMa7t7fupZHRE8SYWKSuMF6wcuz7zZmBJa5S6XjQMx7Ksq22r4XXyHanlEXVuyjuR2EjmnhD9NyssIkih5QqFm8RS6FtYL/JMpMY7KD2bvWpVHouRt6pfScLWmEbmDS1gWJrhPQdg/ZgTDwpIPb3MMP5d8Fa7xZbDCZXqOnGofS5hMQXuqTkTq5xTgCswuYFMidzcDErPdPfqXlwfQcL5AC78VfERdPMcfIeFRJGa/ChDuh4PJSX/k5Rfa7df1dc/YEo+PpTmjQnPmYGWW3eIXzW6cIzStRFI6ODb9uD/W6rJLnE8qQsA82QFkIfWtzEaF1yUO6FXYJXSCuF5U03pkOEOF1KUxzQErHDYpCBaqpQ+65R8r8QZCMyRQJH8LDo/sDtYyjZd8Ux8WLzEYz+ges7jSsrGrBib9tDu2aOunZ4AZwwIwOFMDr9O/DcnOpPwqYbCvvmST1DiJI4pQcGpl74+rdDe7b6NXFdHcl3j3mEQCyT41DSRnucrnnwEFB8A/ljVh90NtarfgOc7W7YG3qtXj9qHBkpWThNgT9Yi6KbNxM8LqqcmdcQO1wyT3aSpkg4iMIcMrI/5Or7+bxPLFo5rI86YfuCotyKyvMJdtAYO2kXL4XHRXBA1pRT73gDsEmoTiOl5CDwqtY3lZP8HoIF0Lps/VuCXYL0p0PXwxcyA00Puao9ZxhPogDP3gV3wcgXgakBp2phze83xiN7R3sUFf5tQmrrMsPIs1aAXtuC9sUf30VGpBTHoQEZKL5/U9yO5QE9IbSlN3fcR9d/zwOMsyGvM94khWrdJsu7tnvz7kBSrD3i34Dbww1kRDIWw9SlAqoyIUqQgLgAZevTxTCZ7EDE5jgZ24eExRDYo0T3Wy8H44a5fsHyildANgDp4wo1KhgZW2xHDne/xQuOJ1Mg5S8z2wugGIfBWO34YoZxlMIL6cEwbPQRz3cHvPnJfbiLLe1XO2ZnAZBd0lVwuiBeR7IjFZm8CzImLHBJR7UmluNeI0PkfpxWCM/IujBI4/qhDO9Q7lk6+BDtxCHT8dK18dwPizllPMR0fS+qqEjoF43FziUM6P4TNNpdNQtlcFFqO62OGgw5RwtQnrHDbnEGcHnqnvw/leQCTZmHCy8mxggmn7rCLjul7lYL97D24bj5d/Vq+y+z02ynxi2TqyHGl7u+u5P+aVduzfVT6kgPWHUnjJqcfD5Yu0PjskpDBqoD0KtrAkBVTV7p04JgEy6qdB8wb0ttb4IBOyCxK7Iw39BYeLchHCBO8/ZD+8jT1fQhr2xfsCCJ7TL+TImagmC/Ga4DUjIoe0yVD5zC4fsCx/koylls9lMiOEnHkYah+hX5YuZPKs75qj2zmrmMDwG2o9kqS4N7TlxkCQmLAFv6WAmJQ9AcwVYDBUX+zRF+0FiKn91e9e77gA4ISUrbfKDTUPKuSM9RFXnNvAr4ajRwUS50N2HQEYJW0XHf3eG8YLR8vJwvInDgHDNLf+xSkdrmIJ8Pe2fh1DZW4U6YbdJQso08BWIQqAqksVp8wTxnvha/oILOebH6/ZG5K95hOyz4UcdfBTgnJj3txKz+obozT2JH5tYfznPbXwShXDCOIBAepdWQUaPv3u+f2V0hgbHVUF+dE9RUbTnCr2z775eJNp9Mt4J2l/s+YVy7+OAFiTYmT9HRpaeANIzM2fBQCUH7eMCqL7NxfEypnEbQUBlVuQEnOw90/2bMdWV21HLWTYPnWOIUl9kDrTdYosxbXVbSFtEt5yfKCXUQCcfBonWpG2maNPjrL8xhBsgsF57InFfGkL8bWbbc9dPUidH63YD7Gm+veaDh593Ihy99RZv3r2ZGCOxlBCAwAaN05pgjR5nz70Ddz5f04CXpAQKjxMTYD6UwPdz//NuuYfXndr1UwA1NA+ape+0d7VCXl07BXr/KYBK9GoYiq3J7sGIWEGnGZ8lkMARmTXK+y7253YJN3heF9fXldmgDVurm99vmgstA66yjeVWpGfWHxowYcPJRgTEQvos15qngYMnnjLcAWfV9WDCQF0jYWYYK8c8AJWQmU5t6j/V9/qGEjDgFUxIyGigUTAWVXTq8HcSVHCXxCIYzAqyLXCECZAZ7qlGzl3dkz9A/ZnXGuV7aWe//n/YACxQlNEbLUPhAg0PjjIlOebWD5O3aholodh6Qddl6pUrzf0rAFmPdDRB/sXzYI3XkSyeW0XckVOJW80NVXIJseJE58ymgaPQb7tTH2bnfF0ejnbZLJIdQxyq8fCIi3oSSFgGw3OzlEHh8zqLhSCLxJ+okkS1zkCVDGtJ2lmdO7K4mioQltP/lSrJXEQs2GFBUNPLZrO/YhCsBmPgtupL4wu5AwhseZODb1FKlyYoOtfRs3VP34ehLKsJAcHEJafglXcoAYEZMpc6Fl5PJgEiwznLf86qf/fwe9LpgKWZgZYbdezZH0zS2Rokd+8Rb2b16FQ35Ew7R5BwNaNnMV3RipL0jJZZKPvFJ+jNz2FB7QCG/QtR/Fw9bNUHak4nnuIXAUz9DmA1kStSFSr8/FV09xJtvozjfbtVDtuS9BsASgFbgeEnqQUk8p+9U5E6NaD7H+dvjsp7OcPy3rJ/LFnfAh87gEb2O/DrNW7l+QkB6WMoTiunRClJXqDxisz590hTcZI4Xrwnxl59zadw/QMrD1DJRTcW0Jn0dDrqbXovBMW4604rNDKNZumvGGIGyIEjKT5WclxTNR7AiKylKkjT+I9g5CLxxTHUnzoqZXeLcwST7/eCYdQZhdI/DJh1KhX/tvx70wm2SU1A6q2Trz8fjlhYKLkL2hTFkwsmfdWq27FqOTn0QAxlQHu72NvYphJQvL54mTrxqfX5lHzWFa0xjagcV5qMKNzN5BEd7HJEFJ15tWUl1B+V9mS4mfZ5yzw8tKJp8873v8VoROyDZNIZNb80NZ7qxCjATQj8govPpuhpjeTnkKCcr+D5/+hTYml/WG0ANF01PJuHZanxOdFRtkiLGs6pC+vPu1lRNaLosoyprcexDRbjylpBDUZ2v7kFViIzCpBisxkqwYQTr8LJ3Jo3SHxvxQcH99ltJRaydkPCI1ySrjbNbh+nJXE4R8rOUqVBqbTWHQFO75DNb3Nz7RCRnD6DvTYGUDf3TcJ97E+RF3P4Wnr2sCuw2P8pDqtSRR0NnlrrvxqCwWBxkltMAb1N03Hv6k90ezSxlFYj2K+L3lxaG8frOnzss6zP97g9kXbkLtzs/RgluzlwRiQS/rIMOtkb2zCdDIGkKAuYmOwd9P1Y/BQ7tMI1sxR29jb+2ebpVLn98ODrk121iDRSBuh/v/4IYSwdXh5K6I/NqwRyTOWG41JZXsa9zO+/BokrNA71Hz74toEeys/PB0JBTI7nVw50s9OvCVa89XrrQXpXns3GnuIWmMDntjzswk+57uJUl22VXV0o7IgfoQX2xmCtHfiT4+2pD6NY4WMeUnldC9/RlQ7yId0ijJ804MT7DfnlIi0Yx7WmSpZdPz4PsE1HhA8f3vOH7HJnkPGZEWHd3Fg2/rKGeNu0tsotPjCCo86iYgUJfIujSSwiZEoRXWQvB4TIn5BbCG5t9xx0VMEbhC87Wn04/7b3vk5Tcgtt8FpAj9KLEuUABnMajr+d+nTbp+BUi9RJ06iX9Fi2u7PnYrvsnLy/a/pJGlpx0lJeGo3VPDD1IcQ0xcsaiahFS0gKeB9iKipEq1yzy5zsvvH7s7cWoIol3OOBtiR0PMhMnf50I2G+qfdkTjqFFCHIPFz33kGkK+7HI/zLDKyEy3WhUyp9e6J//uBkzjdoBveSfASWILmffs2tmuA9UspMs0uQWU+87yQ/lyjClPCzEsD8n7Wh+BQmPkhz1Oba37FJmt+3lQXSorDP3rzIFFVIYSL2LAmRyokuWZptxvRscWdLefIYfCtFevnJlvtDQy0rkWvXLK8dU0pc3OiDf6X4OfpzyK89H9R/gNGdib4wRh2Bv+/jEeYyOCcSuXRwmKw/jMyZRCTudxYul26AW2izcHzLOFh2DzitEVPIsZ/M/Dou0UDoUrmNfz0FEsDo2E/xrLUpQpnwD8O0WI36Aqx0R84nEEAD79sU3yJaz1Au4kKbXSmH2ktUtONV1Iv85r3ucoN1hYYJjIk+GkcfjWHETIZQ9RGVp+QlDDBFK6Y78TLbruIU6ZhduBlYftt4OhvcJC3B2QBU2BZgAc9Ebnv9CQ//s2cyt6RRu/ahOckDPHtcgJC+ckUKFE/Ptw4XG5QMKUfL6ODncPK/JfcXwaz2Bgv2I5WoG5OpSfvTzhmuheNzCoo9g/R4vLuQgRsNXy1iTaGoc2hnZhfGKhXG4rjyTJwISl9YPyaTrJXTjBuEhjaVx33OMiK528AH+XUYuE7w+PIOD7MPMKCY8gVrEWCH1okKiFESQrFh6fechmVzjWpr0RDAvMS8tlhkokLOII8d1QSSkbhniuxn0b2ORon4EEw8Cdkf9L4QoETrEQejc3LFAKjXkimRXwS0Av+i/WDb1b5Dh7qdbXKiKRbOjujfjDGaekoFnU/Xm5LFdxbuSBmwNV84orTBikQ8iRRQSEOChPNHPQ58PWp7mfhKhg+wndkPrkYao3xYvOo6Ikwy2BbjSP7hZZFJLSEHouLwL88GFm1YtordWqZj9qeTWJEGZtqu5XvZqbimLwslsi2Vu7czxdhimt6u0wB6wjlMULAmqUQxFILlIjWO0wakYJ9E9NUkD6js/hHuztA6wXWN7zJbhIQhETLit+G6orAvPZeO97Yz2+RsbYUIkyRs4xEsKi6xMfC6cQ7RS7OV6a6DAotlvU6DwfucIE3KxK8sVyzKkNyGRG1ex6p9qv8TeK5wkSFq8sDvobrKVgkcOjjkCWS0H+47X2sKwMx3oYuIgLbL005ikgPWiWkwBLOvaPnHWFhg1A4M2uVmhwWnfgBvLnPR3SKohbfI9Libk/ZLeXZw54jVGRUbS6kxMH6lMgUbvQZ7MWaNsVo3yojDXAVJ1WMVwLSgqHWdJ0n/r3HJxBE9cniSyrThG37Vlcij/VAmg4XEFegxW5l9XnzrE/miu6u6n/NLrWDf+nXboH318EHJI1Fj84h45E9OIw+wJKMmWMfdB95H6W9lxP4wVURid5yxBefDufKFRW+QBSjZFwGBeEdEe+P+77ElPXiozl7LepfyaClKn5LC82Tl1KKZu8XZ0CLslrJTbhztZkAAvIiBLGMSrSDfjfZiEnDV5rvUQLL7lPGQEYvR6RBTqh+KivzlDdH+eV9SDoNg65lLAAKa05dKtLLIcm7fzPzSHrDNMYIIhjm3dLDvJVpGwY2aljWD9VKOoIAqEkJz7zw68NvtKDXpIqmUdZzmtdQzslrQ86GfggKCraUQ+a6Jy9YexKJKs+liLsxuMfL1Jo8S3o4+rsJXxC6pcxDB7470S+k9R5s6owCOVz7ltQSD+jT5gN+OhF0ro0Fwli/E9F3tSZpoLwAn+sC0K1LYx3Yx7ERRwwsL4SnsAT/Qm36Hg0GtKUVdqrrOpeelLQTRcGZx48cYPQzrF4eZ85toSQNi5yrwWIHxidmIsps9erscEdttRslQexndCaGLwUBpexl7jOY/VfOVf5Icbpi+GeCZoolMMEwkF4OPLsATqKjfq2f5fct3rxL+kwEosCR5XIG7Ktgfm8IKYlI/DTSasCs6tGvoZAIqYTuVD8UijoDLcxeU3yCbrE1GZtkgLWji9vu9u1PjpdCAAbeCbdlGddO2zChqFQ1MAs6Hc49SO9BvDRh5htsVzD4n6ArDp+zXWLJe0D148ru6/OKvsYM/uyj2G+WURDTUaaGLTN1yzYlxpTCQFLTGmtbMA18kIlcNaYkRXU6vOCv0py/S2D9PpvvQvc6lnA/i2dlkf/sK9Mb2FwGDMvRUTxME8YMDKk2U23KiTjNu28OLWHixk2ZX7UT15gYBfUCMMKD06Nd+JoIJ1sAsPA5G8Yz0xQwSrtgZuY8JK0kx2twWjj0wYpi9ZTeGvjIh9Hjm3aSNow4iP8JVCGIgnrw9IOEEZKEmjCnMUSAUUgD5snYegOx918BHVYt+FMaQ7+oGjAFGC2GuJTLbS2hmoylfJy2nONrBxSvPXL5viy1BvFDoe5d2HD5HQkueJ3tIa2W0ujAIuNx2oPeDs9oV9ODWnn5vh+aQVWvMI2T/3A6ofcTj0LG1IyMWRsLElPYv4XEUHCmHcLFSdK0sOfs9+pDTwQWUpACfRODORhD+X8p8txRARXYdVsiKntothFlfP2iw5aHzKuAAA5QifCuRnNlLqaJ15SInRnDUO4QpwGnHCq4zgooKj+dnwCj5dTA/ERZeS5jcuOpSU5gD/f8tBhpEUVKlQJxFUYf1ni0waQZDuN9nDzPsSe5FqNpp/HGXYTRgFxqZ+5g33avXHeWjFJoz691+wWLKOIvoHYigm3TjSQ58CBMoVBbQlbtZeM8Z01mE5cdi7sl5hpwHQp+4D/rOOJm2saLRTpdkO4Wd+I5WP/uaCaDY1smekkB5gp4wvlJbnumtHzGa6vht83tq7CVePM+V1+BPiP8x3TY7CXJk4y7kf0m618j1gNJaJ0jah+97i1h4ISmOwexerJBKlHQfbB2NkiOvCoWBGvjvQR0CaJx0EV+/yxcCWszH7pQk5bI2MEzGtLoJb0GSByTH6I1Sh1CfstMvpFpHqqAxstZ5T55zjeNK3jRKNrQj29RRvLbMVAyT/KXaxPyi2Ta7aAHsfGQyM6aD2LPj2fhZNJ3UzAEuD84/LuZR/HR8ajMr7IdUnWrTndOYqltTjG9jbmsRWRAz1I/KdScULBH0CC9KN7PNjDvCra1+vlwB0sB1I8O38wbPC8MC14+lAchU/nswS5ZyVoYqxZipAf1hcj/o4gsI/CjK7uCOmBLdaDb6U89fsWowpkH5YXUks7kfjwzJahndSds24G3HJmJUN76X+p7l6Sv7I7Zkm2ni2ag9hheSMeIdmmiu7/n9Ng4wV7+JCUiPyZSPmKeCG5WQTTTPj7HBVCffNDykZrk/lMeKwgRK3M579egjHlJ8GUIbrKxpOMcUPInRw98eStg0wmLIAkzVMHX5fkdjtdtn/wLpZVSf10BJPhYyodlISpg1ooPQnleSMk+Eg3IzpYLewwKGGOVcJ5knN4fLR9SFV33DFXRlYZ7k8cqI+gYOCjfHWlKn2r508m9TCE5a1EgKZLrxkmifvCJLwNRrU7rPW6tW2BSzC+gRDp/f23uV3DtVlESH7/+r/xBvBTTcDhzpvmZJOIZ+2xA9UX9vlTu5nW0WUMmLiwWRE6kRd2fG+sqIzczWX759oRAsp7u3WOT42/pkPmFlz8gCA5hOWQ/hFJyG6B3RMbSuPN0TFT5wyMadW4327ZYjyr8b8x1mCPPrpfpay3FHH9Fn57u6W/PTvRCflirRhfES0rQXJqDSlZZbvfYPSIXCrOkx50Kzt/y2jg/9QUJdPWspy3X42iq/qfEm00tPnfbptKt2MDiivRyVfLTAk0cL/JUlraK3ky+cY4xAdAnNIhqWtb2koO6areoVSxw78dD36Jyke78nqJ6fOm8Zi18QaOzlNJvSKAz0PWoj6dHId3lYQ4GGQxw409zbFHRztkc6yW6Y9i8Isq1A2f5u8RP76cIfFZc4Bv9PitU5s92JE/F2cbJ+rLOB+ELbuJrn9Yf9c34wLs/MRjFY6gD0xv+lz2b2m7MeAFAjFqzqmsA7oZeR0RIKpV5GGi18bbln8xQuzVZKCyh3MDdvzCF/eLWz9O2zRpmaJRK6uFgx4NvVZ54eqU2SGdRJ3pp0IXsr5bhQc5jOarqC6JbrPfVpuFjre/fCEREv4tF616kGYVsn7oH0abIcJEZWxOlClKnm95PhHh1eCP4w4UWaIPlsBVaB8vdtoUDt27ZBsXfc/FrNGDxI+4Ars7yaUhl/t6QaxyXGF23s2uFHKw/b2n2x/WXd6c1C+alDChaYsSP/5P2C048N/4jkhFXTIhAyoqxZMVUAlG0lCAE2tPTBK2pBXSEJ1pURSaji8DwQCMgBgZt2u7j4SttEVHDbdPj6gI8OJDJlcoyx4fm9sk1uAr0rX0FpLboV3C4ZKaOL709wV/rb0hHUkS+QLTg7mtSDVHT5ffgjvX+iY95drftguBWEpDCz/6fLslloFTUj4UruFB+1PiLceOCLuw6/tYHufJ4e4zCtk3c+604KpAULkUAneonxHuPAiq8g/0EDSxbOyGUvxhas56vrV5ZCFMO12LUZEOUxDeqf/4p/noGA+ueglOIoUc50HrIhgmWYjkmVO4n9R51SD4n4kMHPWbccO3zOJKggW7x9/no/uL+Hh/eu9yqMBXdk6QMqDvh9jDmiJ0SiAhAVJFLDwPSpXd3dPbMD1r1DKFAVdsRW0IBeamd/3XRthRxDoszRN/VGRgwB1uTjmxzkhYB3uD4ZoAXTLL0Rp623HeupH/9zpuNPgPK3kiQrATwzS/bEwBWFX7Svpxc+rsKLp5UPej9+yFGrvjeFwNcp5RIYDwBT66ql/SZW8VFZtAO+ooPB/4eqEvIoYCOFVGbWmeBM1y+hIifP1fRcvXBPxYwldtkF2w3s/SENKKWsep+dNGYTC0PCV2mAMVkcTeqa2Trw3k6sGKxgk/kb7oMM71nY3ufRzrd/91f2epIcWM+xi6LtfhefN6LTnwnNAUw/3OAdScg7BYEWsro/+JMy5aHJHbSupps085liQUKtHl9RHJpLUpaz6o/0oVyYQESIz161DE8gHfLgzhVfSKa9TT/8peU4vBdZrIXLXY3sSPygX2Otwla1fEganugQ219JHoEVxMi0Sy8sSh1CynefASTiSQfGuIYuGJ70wDi8jDe8E4d62oSX3ZIhKSb2P0XDrD5C01xluN8TaO9E09T1W9B/EAICXdsUca3aWM47s/FFTcJpuxdKUVAlSxULrfN4xIwyD3eJ4lvyhrJl6Xx2OQfMjOBIS1rURUfcmlCcCc1rg5mGxyVYhBNgQf/Z3V8To4ThX4Bc5R93fK5MHmSQV3WpAj/CBVJYvg45+ag0i77m5kUxXKaRHEX540pLNSqk7GPMUl4LnL3aVPDp/lqWw80WiJsQhpqgc+oQiT9fxLxI3egYKeBjbla9vXJzi4j22qI4qY32a+Zjhz7JqdM7zeMPhtnEX4wYZk92SjCxnNkUTOF/yzy5BSdCtaP4iV4vB+Zrffu/VgWlZRpanvjTTZPEbHgyq1+PvzxqyxsL+PqVbksf+W8z67Wgt20lU8/vsyQtwxH1v9P+aW4MVcZgK0JlrfrgftaSb4p6gFC4gxTZQTDAbP56BeUrpYa3C5tDHt5HME9MwJvG8uNotHfj4F87EeRXIwoWgzK+B2tp159qDDR7/E37loquHIz3PhVvmZMIpCU+S7sRj4ZJrAuwb2I2VknKq3TCD+eVcrVk+WFsCkkMTcMBC7IazaGuK8hIb/RRSQKyhnRQcy2ubIKbMV69nrVVJQEYYh1fwU51yrFagKtJscPd/HMxnT+eo1yjxb5CrfGku51j+nWVET23/z8Myg5u2fXtFFmFI5BCCYXH1anVsbnfDP46zGsowNEWP3fgq3EttyLqLKAdwe2uqwkeVLOzGdH0XCd7ou8UH4nieQt840AKe2gXE82FPDBmV8f+8p+EGi9HsVYqHP1cNV/caEKw3MT6Fb7DiNQ2col1dUWv7JasSSTqVhKm6wVv+zWMSZDZWq2ImTo90La+H63x/8CDODQlfOjuu7c+Aq+u6JzP3c1EaYib0YwN25ylXo91MnLxxG9rFNrNhw37XXdd72+9/zthZNUMK6Rsm2lwdDkKdQvmmUGhDN8AQBDZY8KhG+BAi2jRSb1CQ1pKcfLZmcIYKwLnbzYaUleE59miKkgkCim+y7JUueHJu01Klb7Pm6ufjuSqT/DMogeeWKsV5PR3MhQhWjCnS/5dkQV0jD/5n2d9UcLWrIMrDSn7eGUJXsigKoGqRxRVwHYs0Su4xbBu2ikbvQZKjjqRmWOBjwHEwo31H4pRc8MUwW5MmfWZzjezUKI4VSwIcbzslnfKZwQz40RFEByHDXTRUaDwWMROmPR1n+veBlg7OzQINto1d+Z7wMSDZmY0b7A0B2vC1pFbgs/D95BmXSl7QQ4FpW/uKyCoRaEPNlD5TFCCz0W0G2y2F4ZxtUFP/u5TqjiFTyCQtR5If0j6UbixH5WY4K/3WJyhc49lCEsBe9gxEGQS8YezY1dCASiURbFHm6/PhVtSympUl5cymioI8dTiVEMCaVM8h88+SjzRI8uv7TL7fLl1wXwdr5z2YkKDUG84FWsJpSxqgp7jSgPR7OQIG2PiXm/jF6nE2djgIdcRDCwrR/2BCz4YkPdQxjM30o9sEMvusTVjLvG7a1hB/H9Ox0Pwm8PC6/3ac6jN9crT3XpXNP14kU9XYRkAN43dCnlVOa2273f1924sGCEUYBahj5pdi4+uL89F11SgQ4HUftSiyjlxdUYQ9H6BW+hEYvSKRnHE4iP01IuJnAw2+AkJnfRB0uv9ve9xcY0XBqnpWRGxGBXKuaK8jQSA5I2Yab6blXZLt2SIp4htZq57nnqib3aHp9FrMZWyldOEZjCdfWXa9vt9E29bvH4NMZknIxgdnPnWckChl+f+OSlxgSiXKHSv0iG5lmnLl9nAuyNnKJRpNugECv7zSYZsQPbPuuvB7mjXAJxv0uaFeIp4B9QLzXS7DV0hJuvixXxf3/j+JlU1v9TNuBSaOHnz9qPRfC+UpSgwhKpBIqxm0b5SRPVGauJCAKerEv/CLL8qxOtYGqVBPwW9bdGz+lHeajWc+neB6ugxRRnI1jDKecJRpfhzzfioS+Op9WXkQ+jiR7rPTPiX9nUClMV7hVuxJMwDpeAZU2y4pY5PxUjbbq/oAmwCJ2ODNZ5F+rT9Pj1oVEUc6F9UgvwEcz+pVL2jhAwPBTRK0MSQVSiumInisZx22TJu9XybmkiIfZ5I6orRoprqeD+NVOxCtDDaucnPxFIKlZs9WgxwdOoM9CJC9yzKWrstlRRM0c0JHAW0lwOJLmjcd0fcT8WQOezKOIYa2RSleTHTc073ZCqCguqzifZZst6MA6sH1kcvXb+UO9TijAPYc/79FNTQIPgXThMjryagcVGq3mYQQgCbxo0QVOPYk235FaaKVWb61JwtEj3exDogD1mJc72ZryG/VzX6Lu85x8rkWENeQiNS3IhfJVIcEwMC00DwBZVXSsogOYnt8BAfDWw1UMc2C3X4/eX0xd4cPJ9ig3W4ON2noPNe4MFnBDtEN7w8uZT3VpOv7Nu+phfGwxITMQw7q92eJDljh/OzqI2/J6Kodzc8WvBOFpHpicvYV2B7HfCGz+lqiaumewfWZKYZbm+6UJLibuUJ+cLLk33Dx8dpTrlYzimksN1dDqrkhzvXbb6yKoRVPYrm78a/E4Cch48V8x8UeGntJh0MjCMgLizlvrks8x14jkIvVDDowQYhIVItD9iu0ExRark76F6rDhAO6BdPlQDC5rbrtrwKTzwK32Pe01DImCVQihdZnMSYDssEWqhXArnv95X8If7A0GNT9wJEa/2a4XZilAG4/C9ywSgGm77y9fZPkMS24X6Bn4TElg/NVAXTpI5pcSOwvp6/B5ALPppB3QflpjgXQk3kwzriHxy98h6+ypUTGuXeeycEbncBG7x86s8ml49lw7u17QEZoq4VlEgaTDoUURbpD54S+iYFux34iCk0QpioqIuWMgB4/lfWOIuVPD5Q3rg6l2Se/J5eNf8WuHj2fjU3XP+ktYs67khCjcZLhETdQ2ChMWtfwN3UBFmPGv0DLZVDEVjaHLgvvWjhsEA+ZH9taPXlk5poteaQrunoQZRQhumsb0wrc1zi8GwMyMyvP8nv+NrXy0Is3o4XI+ndebvaAmXYDlHe3XdwXdELTw5k1Ly69NXRe2stuPkvYzp1y1BKaHb5IIigMIRgoOqFq0o2buXhAsmzvUa6Mfet3p2FoMJKsIOcdJEq0JSjizcabV5QXI0V/vyo7UiciL9EKFuLoqRMnW1QMliLDAaB4kiPxyABSHjYLGFiQci5wTEQf7cllYFF+EoUOfU6m/sjmSvthOj7rZ5fCuTDvv9H+4NN69HpJMPL062rJnPVsJ+vl/4jeXDkTU4u2M2rlm8Bslm1/aD7z+sBkvlRZv17f9E46hZ3TVk2V0WKBG/LD6RxuvcPlyGWmLK7fouETB2aTtBxSfG0obbLKRz61QRir3mBN/D+w7jrwX2SolOgqzjS/LfDphiteJkplFo6WBkbc9zCIMJ6Y6Qak2a82hqWwR0Gv2MoEDb8jrEgJVLpxRHDK/FgfBmznym4IM10km0qmza0xuiIrG8EPN0IxcopaaAUGdPxWI0CabFCkyxCb3U2w+i/H5unKPPA/GFxQeQF2HnjT5Dq/w3qqTIp6KmBmZeFsuviIT2da/9IKpDJhVxq+bTAK/boSUpJQEGa7yENvnKNIyM21Stf04mXIXtGqhkWbz2C/Z5YRRX6fzZRBzkyTF9kVKWKONmIUXLXnHyfJin+3lMBddvdITOVzNRpKSgdHNwv7aQfMPXR71flPQTRjEnBBTwtzOLdbMWDcPHhT1W5nc/2/oMZFb5ED27yPbvYMhZAhjqUSsEA6u2SQIFHjPVtRre+xLHY5AiE9bJ5AUDt6X1W6qMWCUgK6ecSpSxNz/vkHZtVBfDbto4WMioIjYBLbviiZldS7zygb+TLuILie57HsO0k/4uXxoHSAw3umD8t4NyS3DUFYFoswmgGjbwu9jpgw84ojs/u+/f4IbxsJ+FlnYfKuOeKYlmZykbCvKlEuCCZYtIY+miR5sVKhVI9UGh+jODuNhK9hfNSncU97t/p4SQXFa9XMuwdWbag6hMk/0zvnMuLc7Fkirwpuu/3ixyoUmodwsBo6TdPo2waeZ9mdm+4gt/fq/KhQyeeUSkUdhqfRieqQqekEbGjy3HdQuSX7breo4UUXqx3GDTykEpp5QWl50iOFRn9Vty8fDkFJ/fbPLBhpO5kRpLkwpRNVWp1yPOD3NgS6oNkMGyZkeS0vBaIVtbiYlVpobDHoxbw2h/Wo/AZoIOYfP9RNytqSDNjVS9t9aUWaa4GLnoMENenYfeI0hM/S/atEndroQEcxnh9D0eqD5PoyiXlZ/CNPif1t3K9jzbhZKxwjAgfMGBx5L/BlGVF1BVGb03166uaI1bPevLqZIu5MZDJRUu4OrUEYRW2OQ0xbq/szqpr7pulekcI0zohC5E6VL1V0WzxgWLMEBbR59mMt7FwvObMflua5mMvpBXzG+gwfaQvBRge4tMpgx/oixO7CuAIoUcbwDyfkPWH4tfgyPDWcsivIiC/++RlYBiPkZ4KesmWe1ygC8fRwso59QiIt1PNclb955Yp32qQVpNCs9eCkXwiCNz/ea0Ow4SaLD4UrdFPG5HsTV9nbkj3FR9A879TFpHHwyjT9G2j3EfOKf9TAZvWNnnHEmd/t9nHSEEM9+F2t332BIweiSmf8pZRmZkd2KgAtGMoKW23OedMlFte/tDk3X6Fx8vIteYbWXqGjzFB4BZILTZRncxP/8aLahRRYznViDMmQZXA9xSsHIR2B1Q/7Ob4DJDU0QWgjnIC6ilnEQfFTzMrd+CAwj0hd44uLgdq1vxTdLBH+ieBWqaOEn+3LWIwYWrcDZ9gRG3aTlgSrDmQ1gtbeWsUnntzRVLUW880ajD9D6LpC2RiGZHWK+D4xM/AewmuU5LN7g3WJa//+PhpiAwYoiGbc0sMLYmoMkVWdG8QtjqhB3b4eQj8DNg8vdtpT17tDo/74GkUddOhix8UwbFR8wB/0WZwuBeMs186TTaD6/0jVQszzWj44/cks1zn8sYVRwWIF+K9tMFwRXuY1AOs+z+y1ZReYbBt1bOnLi6yJ1LElQVHkBDOAnx+l83vbcHVV82CbJ8yl8FnpgzF74uZfToo77zNaiaxyzAvteCnsFZw/g23AQWHBJHfEsTnEkPhzME+KLLojvXP9KuUGQ1ERvsTlFBeps5deaZ/XW+Q6iB4btqTXvXRT+0rChwW8I4L7nky29/XM942b5QAtvMuH5Jpnv9bgzekjQ2DsypgRYaOxUHEzPfkpkK5P9bKDP4lE3ZRIVcY5TwTuyEAb3ENxqcjTNnPkti3UhRrXiz80yOoexJpR7qIu7gI3yHGoLy92FwZWuvBcauQDbflWd2ngJR7UoaHB0UwgBicDFqWenOjL57Uxg25+2euf+gZZlkd+127Tvf8pSEYRTCzOvrli61R4d4p0ff9pNI/0LKhNtp3B4SLTVw/d55w45OF3vrtYuIfF95lZ14mZfHgQhGbQ7VvYeVUSe5MAEiYp+VeDSnANBUBCvZf6jpX55Cr6CrDIrfXHX7eBskUBcIuKe2C6+anvSDos8BS1lnLWhkKUy46Mn8lqsV/yhtkQcC73LSu0Jwm3mhRku7gfeUjqsJhx62BARa1sHuh5GcOHZcuiuyGq0134HYi2s1QkhJdJSjM6NoNsegQh6qOwHn/aiHyNLTsBnLqgvHzYs/rLgh0lK6sJht4LV9DBrXav5If/Z2ZADpqmMB/uZfvtN/CVrLj/aeiPYRdQyxxoDC38G/DU+WYXzRlHK95SKkSTWrXaWBuys0Vg98zdlF9blNuOJi8fsr9rQN6TrfzVrixtltWAnWg2jl8+VlWEWPqAGIaGihqAysOOaQ3agtEoEFwBsD6eMJ98dd2o1nBYNx9eVkeLjzsRjJDSH49hxsYFd94wyAXF6XwRjwvrh1UyLsT9GYn3T2HAMYQOh8PqfzCpOJ3cMwtdwVmlpAgJ50jPVi7bl8vF3gf5MHDhIw4g3lynjmIzumjB1zFm5oettwiQ2JZRmlr140KpZiNjbSc+mSJXr6gRNj8vvUiSxfkvZqk5xU6HAOQ5x9X5WiloWNdcHQE8JZ1LypNNnEOnHUQmjG1BHeQ49hMe8chtpKIKKmRKNesg5QkXyl78sl98Mr3AkcADEyvYzwYhEXEKpE25QKTiT0De5uNdxAvnGOp5XGDLHf5ntxTT55f0XO5Zc8vRSCvxPlgj4PUJ59dgmjBdJFelyE8ymn1F6x1Z2wh/p7gjGgMR7RzJo9uQMkARW4j+x1KWxJQGAeQVnxfJpuQaB3xUksbGl17L5dr9yq1gqQfVWjo/BJ9BHTIlcBuIi1CapyIhCm6N2aygHDWfQfQcmACVjtHYNpaLFvXRg9astxGbTmv135DjklgxTaw/4IVGSrSUVzLI9gakeyoNX7RBfHqmhlqDKFX+EzbWnMZkyIKXQEEFGZymsqLWYJPOasfPWs5dszaH/vkoxenGw9kHCyKL7ej/n0sopN804hAr6YZKRifzugfMYmabieAFZIGJg4o4RB5z543PvwHN4xwSjqQdbrkvmG8Ipq5AlSSwoLtrXEQs4r2pytB5WHk6DpsO7JeA0USAZpglayeRWVaBI+ytKr3PNmzGjIeNcuAnQOInaA5rC7xEqVf/zHmCErr/+a/I5EqjtMMKMLutJt21O3/q3NTvRf7ij9g/q/NyYOqcGigd1ExDJKJN9dbQnTiAtY54ec7MER0jahflj6/DlBkaIL+DcDHofQPebFsMZop+1yd29nM9nQDpYfkm8sN1vDahVeUiz0Ws+YukAjp0EsjnqlWx+jttDfQ4dJa/CaHo3JskGq6j9XTy+PJw/QcS96clZHl4haadmyBQtUNVoVs5lhxiPvYLxuBkWBX3B5S+ovMJfaJ0Tobr+YSqwJAReZ2TRmIFxokMZKATEaq5PcblYUJ6xc9DarGDfwOm8UIOld4TQHYKVx6xmnsSqIyF7MeTHclPuJuJSuzoI0DTUoENUPqQOL3GwVF85V35KIDYS5zkwA3+idHK8C+B/s4kpy3fU5Z2s0jPiGwo8KOCzJPgyr0DB0gkfVRXlngD1QCQQr4QJyRzSqrjHYCp71p2DX2VTU1/Rk4Q3Znv43XY+mC2wlAkmsMPhYifG+cyMqLyy6W+P83mOeKpBysv2BW8UXwLlrMFcAP1xSDAiVhTUoGV/x6Xgyw5SgUSm18hus/ZL0J2OSMgYbeQW0qb4kNEtcqG5xY1ph5To6PDZco6HExggcr8S5RDIiDfQ8ITOEAH8HfbGceINRXLZf8v1Rm8/sRpSTotdRE89xsq56hs2TzGV9rXuiNm/pK7JvU9fVCpwgKhKHESERrlOGpA6yNTBH1dPggTUtfCIHOSt+BOIBEQCp19Lz5EOMI9icLHdjie24e8h8P0GhO4JR0VYR8YEfwp1pGT8nszol0azs8oof1x04OyCSjN4jtwEOjWGYusVDxy1BZqpQFUUs5UAQKnjhTK6smAmF4XF1fq2OtZgygRXfFzoxE/jGB+cyRPIQ2pHVeoRSyoRZ2yywCIJUCbBGhCeqYWA3xMjVYIJtWzthu0XIq+AXT5nSy1dVaVqXgL6B/pigFZPTULY6VhFQzyBBDn/CXNsu06GXwy3SPrWpvnAolOvsBv5d1uWotfGIXOUNDG8tTdILuruHvb4aK3Lv6MZ0oC6Eu5Qr3ODnpj+qHivfRAKZlxkCKB84zQzXE0LUqsz5NR615d0rfXLMLtvGMP7u7l7ZGFiWg8dTT5MOwoY4nR18vX3FtOcElq0mDA9RK6AZhBgIR6Wjt/jCBWA15Y76+aM4GIuWTNFm2bbTiynuJbFxYFnyuZJkwt2bN7dmTBJKA717li6cJKg2ySMkVErtZYBJ+I+VkHlG9OdEeUmCDFWtZqif93/ZrrQqey6DrTVKOgViUme5Xzk2YIZYFeRmhpY4x6Bp519gDviSPQl9g/Mp7QxfwRMS5qnJg2ONhZbHmd8VyGkM15DwUFo1XDkVJtwRYVDJ6SBLvxd2xNBlt34xmWeDG6i5wMjOMUPAVlZak5t3ymEl/QL7f6GrUuX1q3ScSwxZPFttku5cEyg07W25gq1Vr/T21+m3fg8ghA6Xrw170R68qXdFN3rQkQRoYyerM0Q9GDJNfbVsBW+Ks0Oonyn9Q93PI6Kggq6kdmQbuDyk88Mn7hiCFvd82/DNKi+ModN+MAz4D9tgJqBJ1YZgbsAjJj+rSu6/l4QwHQSCwhJPz7YN8Yt3Y5EHy61OrAc8oay5HM2eJcL2M/hrG0Rs4EbuCzzcAceYPEO8cl0vRV/natDqVPlRWA6PNMI61jjB1agYEniWTLMF1bxp1/69thDo68vaUyunX4H3hIzyIMXiWszfAd4Iy95LIsAELeqARmA2cQnBWzgH02iC5M6T2PKyT5ByA4NM48ElMUlWO9hztACJdFAKMzI3m0QNRqT/c3vm19vQHOZ9c8sQDPYXob6cw9bhuMR53Cm/OJcIsGOM+PttGt/nhCrbn7AOqMe/P4mVMacktVydBfRSW3nSbk05BCf0IlqdXXsimeU1hTKdOaBtFXvOPfZCXqqB+ejFv2cNZxBRGx2bMsnqJiFEaYr+Dw4PQSRgS+u3/SACe/UJW3GjUSI+DzJ4dZPsmCDTqGTGxrJ6fbWJ5etxbOh9IRfEGUH0nE4grVhByNJfapx2KIafe1t1gP6bmlZz2D9w7IlB7pia1vPoFIO45XZgTA+L+xZQ1QK+ZTUjpE4f4G6tQG8FNEJJp1F2zmJ/h4TvVcOCe2WKJZu/Bo8qup/vJMlcF5DSeBbRkab9lF5Goz3C/okoaWkGyS0aAbnNx2pUEV69tbTIJZ+vwIYU3ZLfEQRqSdambwE5sGGc0SZYKv069Bn6iAMeN7+KpdCtl4KlTEeoCJcSed/u2AN+wQYdwWLkus7C4mFuUOyye8GLBi8erQzRrc0PHKoItbKgDaVOVVoPEmdh54y5rjRIwEB6LONk7BIoPMn4N9uaW0Wf94VXa0bDnvHV52Xw9yP4FoGI3JSPb+pc1ciWrybuzMCiFHZEnNs1dddtQhHBvDKEyzqvZkcnpuGKx8rDOd/rEuTVImRWRYY0XUyQvK9IKTPTPG/wXY861j71lJ0zVXTnaqeFrlC0maoPxh0Ycr7lBciFPoLM/qOL1M7+89WjOeo7FNGB6EDFEmH76ipEbIgvfuwcNrnCecR2PUGfT+dFemFuLURNHwvrelVLm8pfzPnq/KKQgTM67zuFpxxzMMDFOqIdh4WV36EkuPml51EANqgtbbVjjV3omJkvH89o5f0TkZEoCtUEbGengxixExYpDLhW6fhcceBAsvSIz8KjVSDA/ZveQqU6S4Q6DpO0+ZX7BM95CGRY2ieLvM9DLhih64ppikT+/7jKIGD8G83JKpHcKDdGUr6VDAnsNTiFhTWB/CgRdMY7vwd+LfADQaboWoN0jfU9CiAnY0k/rkbJH1ZMGResoRq4nwXdA+c8nsVyJUzURnrF3h5AmEabT/JF2wIx5p2e/cYzpm8tJnfmV82BFwDP0lbgnD6xw5jW59e5rZAB4hfVkj/7uUHVUNCZeWpXixVW7sC0uFK+Kfo9kZFc3+RNk/JiW79/HmjNP0vp3XvItFi2TnOGL7QipLtJ6YqMaSs+kMW6xgPd2UglkH2LuswwijGU385sAepM5TT8+0SA8OERlx+51UDTf0CmfPI/LswmecL7AkmjSJWCxDjcihElSKUpf0QioNmt5va9RAPxI3jf1VtQwoOslwJSEhrh5kOKwvHDFN9Mghs+Zf1hV4uKJFCtYv0+NjpB5ghRhJ/hg/5oSJM0VMqPfcw+NxEWVmqWDr188MIHrp1WOr8GuSzXa1PZCjh71weBSZuc//xvIc6f/fHdZUcSobmCC5krMPmtc/OAWbEJ+LfdR4VVWjnwBNrK0PwLsEJT4NlGwLZfk2K+FVHEXXBMrHRTSox24zu4JQaCg6bbV0kBObp25P4elyiX9WHVyCTHu7HniRgoH30SC3P0E9FN7qfEX5YGiulQ0sqiDuhltnC3NnJ8MaALZCqjd5a+zvC6Grfr31Rs8LBG2zupAaF4uXDvfFJUP5snJPAV4Y4mGI8jqjI0qInmys7p8JGnVBu3K+C+QPpJDdP09rHXcf+F2sMOrq9YjNHXNyPO6yDkTDSemOmLw5CquPo+p5K76MNSAc+2GNipp6NDxczEGI/dj4SQ16VVV2tYrvNlW2WBxL9+QKlf1C8hlG17ki46hJDZBKcknG+MvGoXuZWhXkotcyReYL/9QE3KhOREYmFO8A3RxQn5OzGbiKf9u3Fr9GJKO7tQ5beyVhaDFd38vx+hH61I/A5JGYdxUK6keLzbfEih6vxxSFZfIwKByLwGdkgTMUilTdFDx2v0cQ+WaRyob5AtVKgszSqxRK1YgZ5QzgjMvTi0Gg03SmNpOZn+ug0ifWLRi6FR/dxHutBhZxDPiiKeQ96E50h/wRK1TpKYn1Q6HLTTa5W4uoh6+gs/t/qu05+8GRHljrZBqT/TXV1D+s/6ajseBTKD+6T2+RGVTP8CsiIbpAQ3aO4wWhH2ouMpMtq/MSCfOL5i5AbbFWv39WlXb+DzmdoLnNjAY3v1QKgHJoqfOpTcTIp1WKhuBXEHKryX2Uzb3HKejeobZPSGp9ZsfAXJfcdbIQ5VN6tCcpBRFtYDmNFlqwnYaWSKhN547T5H2c3085PKSuRD7olipnXC6JLO9cu43703B7Pv2yll1aGaQLP/8JfqJfSpnmqzdDHCYdK+4mVEQSQTTfJdL0gNMCE/mQUPDeaFokAicb4kUhLnGpgQtpKpEP17NFiALqsJTDuo0YuGHDCx2t5HZvB4jdv4GnwtoZkOwC6hP4v9GVs6cwkgt7YkHkCaOXFLDSt/9lL/99BBp8OnpHYW9xCy7BaNvF1fEup6hC7HaQY12pT3gk6Oi4XrzrjFPbGkDvGUqvLjil6ilu87ysVrv3UofsdOB1FtSM+V2GzQGDEEOJ5TJpvvDhHdQO38hNFzKZlMaLWSbRysE4ssJwbdMMAkHc9kjaHXaiNmOIyp3TZdW2IgGnJMfsxWJsmoBbATNdDNSYju/PBK7CSwfrMSEfkel3VrzpWv9P92tFFPRAr7wlA6z4wP+J76vFVwyhhdGb3sr5se5aXK/3cCiJQe00J1NzxjnKlP/Y0xWPszuNQLAHeJUDJcPwwm4wWP1GmfYoCm6G9NBRx8Tdmtqqxz7YsAyjiqFbDC5zlGSnwnh4CLj8w+72zvGABRPJmrZoXhsWGR4OPctIuFa4hBJAVB2BDl7dCMMgqEvTgpNRi39pto6Pfvccg62319nc7rLRgAZNiraj1FHetg0nGJtsBzwYRke17F7fniB0/FTZuoVkz1Mj9WGEHxC61CsgajOtwxhWgbDd9UcgF5d3PDBdj5gmBP+Zt/ylVmWL0AraqGthaL9Aqc90u8eaRfoEqtJGiWlwmG1bZWr0BngDiBFoiPr4StsiBIN5DEy9Pl6wToZfQHc19Rg6VJltVNK8QHF2+3RZdCu4c7rjG2NluYQjdQ1sv2UpVV4VLCL7EO5xdATDESrAdjb9WzbBx/9TLTRONJURmce2kq+A/jBxwv4ouzN7KztbKWuEey73AoZohwr3AHHFUXLCdNINYx/b3TqzA9aQaDYR0XIVTB/h8/uoI/+T50VYFYDI+qlRfjzi/gz+6tJOZtQ2T/oYV1jEP7l6Bgss8vzLy+U0In7bts1SwLrR1Vusua9nHt7e+cKL9CtRYrn+2+6nerAoS0jqYqvbwDK94QuuIuFfWMtwH8XV3UvlvTD74mNiB6lmj+BZooL5b7ACCauER3gjXJCDMp+dNCxIENnetkNrlIWklSYC/7i/l1+8tl1BZTRXA03vQ27gawRFwehtn1tF7cuCO7IEAtGeDmRvZh5J5IiW1aPCpp+qGDO7PBijSKsrrc91Sw51W1PnKWa+C4nsmvpmUW7wFPOqXgKVgm1gRaVjiiqJVrWshHwLJJ3tq3xSKTFKd9eZxIqhw9R7dt9tq/GlMGeNOAGeR59lzVoWej4Lx5HG+sq+Cvn62wC+Pl9JHT6Azx93Qavm4lrVpDTqZx6fpWfwV55SZuGuqV6z7udxg5DoT14lQMEOU8FCgVy/yfhVaGKti+5Fo9uSHjCLRb22jsfXiU7nlfZVp2YoKYvcizQF3Lvr0tE+ffYcgyzNI0X33Wxr5qHuOJBuuRmm9zJ59vM4Jm6XdcxPwy1APZI/kqmcVgnVTStyiZHlvooLnjHuRz+gfA2MS76yXgF30msjQW43sbh2IPKpNltgrFGKZJhgwH7Ow3OZ0ExNbwC5CRZPfM0543/zISzuSibeaZtdRqiDdic01Xks/gXcnYBxlLXd+/0CsDJw8uD87GptA0mdBH/80GM1v/rJJvp63slmH6DF0v++n4Ppch1vExjU6jqtHUW6jRW0KSBedJoS0dj/+VYsrrM5MDOykrrFtqV8HPSjSyrVLvm2VH6i0rqntZI2xrCdq3Suj2L4uON5j8SSgN5OMnh0jc0ukThg8LvehinMZ/s+Hh27I9i+u8sLDdJ1S9nnf7vjAidu8g6dkKKnetp+oCMPNLJYvss+zeGfmZDntpCPjvkoNA88Ok0vJAofG+3tzvAoRIUGmbQ/7qttjf6m/W0r1b/95ky3PGGuZH00rcEn/XC/phgL/uNBp6TeSsjWAVt1a7eE3Bv8NQM7CGM9r8z8JASR7YUg1FfiyEZcCbcf25DtCmW3h4rTIiaNQEG3NAtxIVPyUUpuFUS1c/MT05Iv3hDHZgpAi0uf1hHf4yKxFGFytqjg9ObH0DShu0y4v+MDXb2tvL/cc4+QKfxT5GfNdHbdNQm1F84KxEwzC7s4KH24kC3aUoV1MQqTl/rtnX02t6A45xVUJEC2y1+qFTqt1E3M4bSIWUErzlyT9MEmfma0gbaUXGoK4cShnILwi8ds8gWd/DVP4CTO/+ZgXh0aCUDDObQQv4hyAgwv42b7T1cf4Cbn80qJcQ653+0Rn2jfcWEy+KAcIXl064Psvb/kmT4MOutUr3VmBZmKhToQcdyRU70nYYqpNhtWNfj0sfScoIp0DwCNaThKwKbNNusFdO/CA5tt42T3VbpcHu3EgYRDhzJ0X9Cyl1k+bIBNWb4I1es1lDRSsrhI7DCyYmSd2dblYKzK83mpweotGkOU16kLSPMnxRTVDQslw+2aWn7BwuCoUQlkpAf4/TKLC/w2gXG6CDkq1ln5Vc9uVzpXjZqbHOts+Clh4BqD/IL5DpS+H6wtEgT1TwUdwnOD7X6rwssmhwtKD7yg/bZcKynWt252Zv3r71WyHDlhiaEqzs/THMhWYczNd/5RCSap8Nn3iNPzvdLT1yBLNECDfEY/toO8tSvqhstQu2tgRBP82yKMp/h9BjOtRVlg9IFbBVKmbC1Er5451S5wPCoPcHZ+//w7uXTuGq3Z9yoW4CVcGbZLH4qlsMVS0Zd8cSOq3pIcp+zix0MmHfVIBF9x1zQNhqMp0Qlzg6ZSoYcb7Qi7zH1kUAFblnH0NEKfh3/TKa4nguL7aiYcClU66zNf6jFOzYgbSv5hBR90eActId+QtkaWoPmM/Ckj9dGw0sGS7VHBlEewAwlnnG17l/4fCLgnZO6aqXWV44OtVFg20II/Lyg+p/nSjbunIXMU4E6/Q18fU+4eCu+CCFLyxANgNlZHGVF/zodlH6HR32hcOvUbHG0i9zrFQYlTn9pwi3xpvbp/w4VqZXhEn65gPppF2xtX/rLg58lxZsWKS+FMqHu336GmHIQ60sfU0F+LLv74UEVjQa6Zj9kO1oEYcNezNyksEG5CKImxOX9aWxDHSLAOU+k8/975FxHyfQj2uHHjOj4eqEyDr/1OOtdI6Rptqoy4D7Vv9A3npmdY+mlex1EKzrmD1lIEUUY04cgLNFNaECiOGp3dtKCPRUvLB6xMvibcL+PzXzTh643y0UfGF1Cn/Ag8yKu2d/Jcp0E6S6mwyLy6sUMgXIwYPs+UBl+GOCBATT/Y6TpvEms9rP6Eqa1A0rA1Uf3ndUjcjuOHpqnUGijEBK6TXc/iLuPoSrhB4GqnXqBiseeLsSSTU6cpPqgw9Uvkq0w8JnpJoSIYgsGwHu6Zzj9TUx+J4NL1LtS3A7XoIT2f8PP6t199wqhSgZgLiCLQNBMfPBYRdjRIWi3U21NwRcM55XxXbj/YCh7fOmvM85f4kFJ/rXtdgw7RWh+V++5L36H0OUaAT785da+dFErTc9DORSUxNMJ3ZTvotUI0/BsTMi0WaPtxX7KU1ty+P6hlLmfjJ8a6ttnuK/Mj/Qig5yc0DyPnUnAyMbWbeBurjV4gSxQTFzMlJf0/st0oqvJ3OBRR5uDWYlwa3V03UclV2mcNTSm1dGnB05UWU0fX61ka9QZw+OFdXnDHtftmKKyR/gm2fQzygRu0VrNRg5+Kz75prT1U46AwLRrPIsQDgrzpoNp8T8izoz/Q9HYEHzRKvPfgYDdR+Z7Wcal5mb6QFrJRU4iWH6hnyEDiOptk1N/qkF30PWEOb+YDC7LA98f3va5QqFvZ1iT7KpjY3lSRgR2N8W/08bUQGjtg1Egsud8gqrFZaUAlkmTFWxAygZfvUKwNBQ2yk5WkT+wCQ+kCFqCx2m4uePyHOAPpEqdYtXWA/5mWX8cs0yS8Il8YSU9YrNZW9mPYpO8GZOo5t7JIRzd9vDk0qOhWwoz/mPmBv9/rUfBK7JdPSVkqHmtxST+dmGpNfQemXZbbUnZnuc/CNyJttr/Gois2nOLUsAuhb/fCFET7o/N+f0MEZxr+m4vRBWyqa4W4Y80cczTqUJ3f5oQWhQZSxsTwr1HjgLrOcaqJauNY8gUWYr0I/j60yuGkp4tJOShA3cSseZtTPXD0bDxw8kAUUc1+JbNuyDdPMBDMAmju99hukzYgeqJnQ47VXpZj6LF2PG8Vw36OyIaxPqdbz02bl5rsCeSqkGpMl4QgL0y1ik/ey4Dslci9PItPpPKXORYSfS8XMJKcN86/BKrfDdbb7RrTz2YfFtwIADg5zNDd4Xd+ntLKGUAfO55oE/Pn+yTnwPY25FpLNCNU8jjKTdYo60UmlPfs16vGI1AETEyqiwxwDuwnHPfVz6Az7Nr4/sibpOEj3X634FtaBCJVjydTTgDMX+XAmBDM0bszbBYnw5VIXmTonDW6b8g6IQKvzUUgkwfq17e2mOAkznhHg7l+BEoqAWJlKX5yXCTliR2a6eKV7ZLHYt+E3WPdTtJ+35sbTFLXwcFyTrlS7q1/DDOU3JN9R3CbfFEG4BPDZKLjkOT2XsVHkbqhzbgK8xPZd5SYsi6P6PUjTKUpsd+EZeZiEcSFCZchuCVy5jBnT7JiD7Sl9/YgrAC0Sml5Rs/VKrnkrE2El+BBjFxAen7xbnnYLtACg1vUuEXPMzINk4fJtfP9VN17Si/fM8mw2IOzF+i13m6SZbd58NzmmAYMYYu64rKWkA0cJQzF9iN8+pr8WUE5Fw2KVVaKRB0KsZcxTHkhNXiUUwEQb9zOfm1BNM9eR+lrCwrHx6p88kk6byxEXp7AZdHqv+M4l7avREq6YEWowLTfzlAYT+1EpTH2/sjZoo3tixM8gev331BsZFmz587h1aEg9gB8vgYnBStjdOaWqDIH5utpoLe2CHn7HQcxIHohScFkEE7TpXl2oQqoCQR44yVOWER8ydD83V3q48B9LMTU8z3Rf1wJtiJ3fpQLaedpZyDdcxOSLE3uSMYCQXN6hsH6qnb3JLfe71lsyaS9JL3Tb/hoY4VgX7+xEIVaGhp7uV/l0/f+BhbCG26JjI9UYsyu9AnLRLujHHMsrKOZ1gNFVxmCBj2ELkzarGl+2NTJuICIDl5unAoKmlH5W/A1Vo8wFedh11apv/geVG5w9E0huju/Wz7urqCX6hPvg3MRWgKmnCvsEORyqG0CTljgVZXOE5AWBo/n/XW4XfbYRpfIQepiuoK8h7840TtZkuzMfR9IDosIDqOCToiW5xNa2dC+dDz93f/sAWNMhyoatajYkvE9rY1I2JBBWieriLUDreVuMm15n0lD5M3zsF55TIDRHFhc+IvAVDmaUS7EMcvoU1sfUx1CsbCwc3kD6QszfJNu0jAm/2KRUDD7hHnG8Dayko6vmzI+FyxwLNua1yPoCJeMHjfyet2/E3+cB3mdL0AHCyYmbrKhnIFXj3RZqd9Xtgzm6H0kMj1UfCsILUGVMCMsAKnnrTcFbMqiyDCUlgU4ktFN+JS3ZmjPZB/PhEzql2P0EzhOSE808M2yG6DZXzgNhBjPn3WzzeZ+40kA2CSRGIAOpLa5nDFDx7BiCBr7c6f2UpAU9Qh8lCLqSti62jqxfAU78ngGXkX6HgKP7Tdo3ZASkZmbxw7nuJVT3kG3Wgnsfbyw4/XFaxZ+DyhxOBtzY0jr0nCHwXSruyS6oyLugLfZbyg54z7ZjB1A2ryIWoDqwEFcZkj7KOc3OHFm79r6NVJQqUq1+d1/x58aO9ya1DFNOd9fcD6ZvAPzg9Th+24xugMcKlH1B8gsQHRUOJurfA2VWnhDLArc4PjV8BlkdlVaGECLirB58ss3ibVtmshlEoRpU4XFdTgf6klQrjvR7wFQpw5Jkgtbo15zGAKffQg5blmY05uPKaYOzMbl0VpxozM9cPcvLszrOFS7n5GCaaYszCdtJhibN2sIhkTec7RxgC1AOg9Nq67Smh8zlq0ovyV7xSH1aYYF8qANUkNZYIpwSCPFm8LfpImLfB/+muYMovL8mlsq4MxEzWKxRyfYb4Turpys0XOS1q0oSLETMpxf2VES38Df8hDsPR3xRVg2B9FV35fZwZMyoXNdtCl6VttOG8Y+n6sYDB1c52Qqiqp7StDhDlQ76tYWcK3YACWLRDONhfvxjjiXM5OJgHmfD39meiNmDKCtDnB8kxLbGdsSaqsgY1bg8tHDkSzt3XxW4mS8cVu+K4rEEZa5Eb0zCl6ORKyLTCXFn9xvY6xY4WqySVtnvgGzErs5ezFgNACNP9ZhGH+EtIqdf8slclvx6P48cm/69NPsY7FJ7TQoH/ZXOFq2U/kb3WrL1qu1vhOk1c3NWu4pvLRtgaGCle47MxUCyUrRfFXnc3T2x+APFmt/wvectqY7+5MDy3P4vq0fZf3iM7VVc58wNJ48fdTd6s8DtNAqz2j1aDZPQnX2E2amJ8B372GK5tlifFLzgXMPiS0FFeQr/5LufI3YmzX8bKyXeXg/mklUl+/Ub7uDphPh1gFvoQY5LkRYXrfGIc4y2TFwj8NTwpLhlRgPLrnmV7S4JHX4BHjnFtzRPToxta1LcrT2A1bnZkBQDrffO/A19MGSY+KIwJixsvuvGsL/8to65Uqu13QnEnR1j1LDQmQF2AwhLXnc0hECzQvT54u5LXvf8HZqFbA8Yt4ZKL1XIJY+RFWnRxZXUNJ3Obm+02MrmgkYcKIBsioCQGrDkw8ackQjE8YnDU6XRieTmGqIhkxwxM4rLQheM1UshVl+5OMNA1sh2doRsSXQtQ8B6oYIGy1LxIGSRU30X9RcogcVsPgte5OJR2apEXJDMK59Timga0GWbvjGWQ2qFIFgko0N+IH5+k2dO19inNzUzgXbTsr5XwzHntOavX5CkBmmDkdpOUfPqa208t16AFS/H21MyUa60Uj+LNEHhORdrl2cdDcYMIp7eMZRXzy68O4JZQ/WdWjFVDVCFeynvOM2WH9RpaSaU5mPMWiOUsljPKyIsiQYWrRNuVClLotnOgHyIOe/jRVpbRgFBSaDDDzE5TTgtm6siRakAnoxIAOYuZWkhb86jxgrGW1BRY5Vrext+1yUG9M5K4MCWwA7/tzVbI5T1f1VVU8m+hpXUDWpktiKwEqSOvt9QTDQIq0yjNAM46HFbM4pk/VffURxUtmKbadTJwKRkY3tC5800bEjPdCFy2J9dGLKcp7/OKEa8BpEPh59dffIZtk7m3TpKRM3xT4m5WDTzzS71WA8b1ZH2u7eSdhkaPvOdF+rtyCPoEFp1vhAIbQQcTtF/B3SwwNDPRTdVKwlAIWkbLENdHJQqCTcbp66a9F8FqIWrwOLiKj/3sQ95DS7bPpzhaP4p58cScxjb8nQLUdwh9v6wKlVhSFd26RID6kV5NDJWA82McDy2WRIpijz7T4Pq23Lk4p/j4xVGtaEuN6DtgbmA/kIDtefnJMbWptg2vh3nWOkULAyEOkcq2r52bg5aSwOaUanF4+iqtbp+HUH+/+YrlnnuLaj1jpPtA/Dvu/PogB/AkVEu96Jh7dCwo4sGUrNAILjhcyTsVPFyxjO8otqt3On/wmM42ECiToMzYHhzsZkXG0CXOd2GH+2R/I/jBQda06e5DvXWia8lb7k5jgauVurv5lHmz0b4FyHZA8nZOiQOnpp4PB5L8+lm/wDRqJ1mmtTOtSdQLQUKov5Bia4WAd1WczL3GsKVBxmOW9VaftnRMhTUVJTmejd4QLEmlKcGOLqThZinMPtw0yL3V8vacFs86JZWj7tprxzEK6UJY+xdLLTcgZ2QOEpKgIEd3+V6jIgXQaO8mIQEftz6ccdaIypXzu8EbvIYYahfr8RmNQJDwklGLU5xk115Q/JOWGrFHG0NN22rfKi86qaAXOoLURLB7uKux9uRQFZechpgbENpBlVvcWx7QSps9QmK4/vOy8XGOwiZEZM8emZyzlpfEaVpyUgv4L3C3NquIy8hFzBBV51Et7HAaEOeyw4QjKKGW3lwmFoyfcStA5oPcoVQP1BO29DeZJIdVrfhOyEqem9fQEEjWSXpDoMKyli1DSJak1wN2dA8dt9Zc5ymv2erqrmoHwbDKniaVyKOq42DNr02ltQlJLJ/SnR49zM3H+Ol/66M5XgFX959fiHhbhNBXioS+atfo/P3kyoQ4vv1MPca3vNQDSXqnZjBBHF/L1qHeGpDD1HfQUhQA1gxxIW/OSwSPlYR4GI0lpycO0zcEZq5XGAcwW3bZDkche/qrL9ZX7oZczY/YC+Z2u3SPqU3U5T12mzzZPITuneidMJGY4JIeDZqhrrBXmJ+knPUm1W+uV1HGh21RmpvYOS/MRXgiDL9SryvL+tqpM98HcYkZg+NwhlQbJRPmv7aaOP6z+h612dXzDif+NQOA6EEDaGvvPR/udcohU+brkPX/H8G0ToVZXglqZVZqY4zvlGLOoV2dNcYoXGR1iSoZaVDzWTE/xlLH0C5Qb1lf4Z7oD1hc2TV+CUPsDPoNccDRID/t0Fr0CU2k3Km51S8iNkDdtpkGwqkntHGdVYUsjbZKoInryzW8tJ5HCGfJytTPVqikzJ0k67ezHjEmc+FaAzAKXUH6EQuEy1bNV7CL4f4t8t1hgQKZsFFIz/gM5UgS/GW6Mo5NMW1uNUSb/ppqTWbSEivYNbQr3wi230BP/UtGIb5GHBX8HSdVn48QzR3kMIYmKFhNOnpqU4OjLH50HNLVYJG8Dvgb4PmmsYEBAzLMRt9Mv0jaGXATGJf/C3gt65KjmBPkbJ4Gr+tvbtpHPzOJuiwRFWLSn4qg5db5j28QFCntpvywQW0xLR2dFE15dtGy2Pg7sEj941F32kls4I3gwoCTqm65MBkmqLtVDpqtlGEF9XcBnTOXNvJ0s3zd+/bTG9INRFIIHiRoHyMqmkq8VyvaOuboLcZ9N4Bqn2HE8osQr2pPM7RcC52FKTHb0bGOOgvfPIUrOV5HyZlboj54/Jn11uHtU7pmaanXsfHLpUKioTohYXlRNt3FX8Yy8h+otrFi0xu8nC3xFAUa22DmBulIAvliEa6D51a89vxAttHPqPal2dgDPDz9zwwqxO2/Cn16PADXtWCQieZMHu92iWKce4C6C2wLhRML+B1o1jENA28i+sX5r+zGzaKIZngDVlB7c+1bJXH1Jr3p3+DZz/hWCfcmWg05JHGRvhpAuy8Yj1pYhzgcwOmGB7Y5jIKpfY6D9QOcLHkZPEEHm0MDE0MUX+UCV6ACNtvhmSXhgq88or/YQVq7++KxNCqilw04MVBtnITsWRWNatVH7gNrFx/ngSZcPtw4M0S7B74k+S1/QhItWfLc3g8KXDG+ClbYHl99vvq1UANjaFaI0rtRULCqdOS5TppBq9EBKYuNmhmTnByAkUMKjDhmG0V6ijqitCacPXe0SyY72lDI0+z83K7ZTHmv+S4wL66sQgb/5FpZQCJeA/BIpa31vHkXELWKSAfv1PiPB1Ikza9iIg1gs3Hjk2ns/WjZp1T+iVXI+oh/8r08WPyJmxaQx4oIyI0Cb5SNU2LFD5LIz8iCdq4fDD30rUciVHCmYwHj4r+hOt+HpN7Vu53UuJu1gpChQsAo9Km2NV9fjASKEtWTfvD9ibPl5tm+Q5bX9JhAOjm9+D0dBi0Rz1tb0w5Kr2gpk7/+r0j0FJdYRVed/oq/+wch8Gs6XELAoyEkYokS9AnSsSbXmdLZtoaP9wOefh1EsOyt1aC0HAxiO25MYwpAQDpACcmsF1uH7hwnLV+HPlzrQg6WhA0VQp7DxKKlAI2mQU3xjkvdPHvl1gmSpmoiOqdwuVJuW5HLOiEiIgOlSAoF4cj0lFkmo2p62e3l1KI7ZExaUuY5vNdAnExfMeV/l0oSErTuc1xU5kbEoNFtUrc0PZF5An5Hjr51sUtfXfia6zAvnbTP8dHxs2PJu/nMu4SQijhSB0ZfRPjF+dVYl1hIg/ADeYXaWVFlllEvNFfgr3TQkTwhXXkAIZh1J5fm8W1BRXpQuxk+S6+96z5xYu08GmpsGmyr/tUrxplyxkabw+yJsGb5M9x6gzJYRYmTpwHcEL7VtqhDuPQPHmZ/QyNDevFGq9ILQ+viJeoPGALLQt3KDF75Y5vLvyZxWk1yC9JYc0CHrSy2SkICTOkksO2yLqoMXPrhdmOcn81mI/r3GIrs3DI8lCcDh4aXIWq2np+CqZ+Kf87H4vVHlz2XfRBy4K1l4nha5DMQ+gXbWM3S8KHbvWI3hJBkQVhiQGpmtpFpJWsjMIqYaPoRx2eO3Mim+q48BOqh62r/wpCAssS4F6DWPg3ZMfFrIeoJx70zeasRANlmO3VN0qi+cLvRQ5p020QBPkrBRvb8WmNRrfbQLXf+02oMuFDqdtIPzVs160Nqm1SeTSN/Jj2ANw08Kry4N1SQG4O0Mo2Vaj5pe8KN1Udtml+u7Xafvm3f7u/9dE3v9mYM9EwEVnPNYjTZmD0smLH6WCf4KfXjAmOvoK3ou7aldrInyW9KQdHu2byVHcOpd5IldZQJIdrdG8ap31yM7GlVZycb836HuPxm52fD8Dpsqw3IJUWqxT6v1PgtKqbt7oucMieZ1BJD+P74HHl0TAoqMGsGUXpYPSvzVRM8Zy2yv/sGAAeYZtA9WlBiwdjtKlg0zbwBTqL+yZ0l3w2eC1OMTWc7zM3R93pjMnXOShRo2p9oYFfT9fZXhdUptT5B6veCXe1Xd2fLKzl87mt0DHRi0hV0W8O40X/SWtU/4P//BdaWi0Kf2Af+MQ17yjQAb5TD4NLk2HYW+HG8qvA8Dr5aIKKdVMEnEsB0cG3EwzQywlypwkPJ3o1zLdsRWNnMAIkh4FFMxPQggXy6aXGt5I1A2EbQLN1gvinYWXcZ/E3s1Xy4J1lKdVdGvG9Jzl1J1pRaHyst8dvt/k7b6cpcUof5+dKLG6jTIhZL5VZMjiwhWkZoxwZvXe9eySAW1Wjk2b6E/oBU1PGkb2VXEXYxwljvQWm29ltZ8PYxWnTliW9ao0XsTEyLLYadSDh4xMQikJSemSPIMT6jrMH05HbIfegApeKbZovyf/rgbn3mvM3WzJ7epjaYusv4HZEDRb9OjBHmP26xqWYKcgWNp9ZnSzpJYto45ycxCXkXx8GdLKHV4aZALzGQehGRV4Fv27KVZ5CfczsX8MhuqXV8mUTM5Fxa2JgqUvo64peDBR0dkij0mgGUQ9HQzg5bCV/KUZP4lHQQGVRhJ6c/RWxPgtrvGyRwffGETA7YL/P0UK9+E1Xvb7LcjkbgaFWrqYeGhehu85sonmvUaZhyGeDUkOKZ/ecrozZQATfp4td5bjuCeM766DDS2glTg/O7QhNtDGH59THJbpDvwxWusbCVC38kXUj0O9Uao8wMAIHKjn62xaS+DaYFMaUzYrXb6URQFwrM1qDxOf3+w59LbKCY8Jl+bvx3qakqiRNBIdaXLiuDRgCVvT3BjH25Mc5vI/8SpfMZo8y6y3fzxHM/I8yp6PdH9EC+s4qFCsfdsGm3mmJsoP6OMbuEUAbVrcpj4jXkbnf5+cxSk0Mi4gubqgd3+q4hvBvkjl4vVlf+gtDecvhf/lH+x1KPyYNk5ATCM49kn/WoJjw8Gr/ylqruOapWScRF/4M9W6lSB9CFPPXgz7sy8DD9Chc+3iYX4u8rH/8xmarS6DSGqHaoJdkrZyoHZHcmeftTGQJpJQrW+bzgoI3qCRBG0laafPxAdrV0mOuPmkV5viChF1IaC+N2B9pH+947RRnS7imaBx33+oVmpq1UvFm79m8iS2zA/70hEZkvHZiIx3uK7utlotsaTZmwHaYRNjb5gnD7DybVhXoTIaxLuG7Do3aKNb4ADnlShBjSX9lsoR3wthSRR7a6fx0ISCCqsbLwbgOWo5O1jhNZ2WZjABnBiwvq4AHBySRRUDAGFHFUSTvNz4UlJQOCt/hRyWnKKZ4CKtlBji+N8OF4BU4Rq3hdt3XqT/8Eyt7Drf9iO02m2DgKDaDhghsuaII9rTiHLUUFpcIi9JKTpD+aesB0umNY73mGVO7qa4aFak98AZZHSh1qVkCD4vp/YI9W+zzgWz9pIK0MuQq+r8BRNz4iLD0US94SU+m9X3RCTbsJwFE66uOLY1P7F+XDIqExMizX8OJKFU7WbcKaV0ZBtIpz8QSwi3YyBVS8mnIedOH0GYta1BCxEMXC4qUVdmQME+sQXE2haWZUVNLmSjdBHbfdwoNmb5Dun2w/jIoG9fT2BU6D26TITL/PdZ5cGtbQwZ/rupdLLyJ+5MYtYSWfQPUq6jcstIPa+5ekBDp3DAX5WAN4T81vroDfl8jceiI/8UkyowrFGUu3lWCeu1OQVJXjcGRlt+nOYu7YwpqBDfy93kLbcxNyFVCXlUdBWDHpw23JHgKki/BKd7M47Ey4j2UCh2PhLWNC5kEVPsRgLx1PKIHpbiqlu0JmwPD/8bhvBDntUNdqv7GZwT+QxQK+w0pcwEZsTvLndxF4OuGQjp3H+32CerX0i0L0pX7NvEjHA9Ohxg6iwvTnWL7pnIkwPYW+jUSeVyuVrJaEcBYEYsBjo+2pSapzCV3+oFnj6BJE0ouVrAwvCJ3EtbkUzDrCjNsBFIssEe/iJpV1zYHOrfaaMp2ZCKyr+zcuDLipoLWGPvXzqRIR82t16aidxAJmQlLh1OUfTZcF+ZVhWg/ip0xUuvU2ztNyw+uWCsLHKsKZl4EoPmVN7fb07XIdpp7cYfpEJ8leK7ykjsjdisV2S3o4EqPCKXX38wuhcZS4VEs/B1LbDStoA8de2upUmv1F+nELxYJza2eiJRBfVHLfygvONVaqHEZHsxC/VzQRvb8X/BNV4/pln0AzMePP8v/capSg5D5HvkIzmuowc2VaTbmhO28OXZEpsl79JbX8iKOKIwuX0Lm+plaAAPy0mVmVTHfXWZiYHcbrSHFgmv85yV9FghU+hxPpXskPdXaDTgchGRwUhFJZRc+iq58od+GcBbNppc8tKbD4xbXgF7oMMBUVbY0T65ks3onv8H0zqLVWLXwJcyJwXDKNjDNqqGf2XHksf521R3HCPJC8llErou5LWWrfwWzmPB4oqpESgNw2mDGvMImpzzx9lVnwxOwEXBWRsymxG3jXcrcZJaRAvpv0zr4wYumCxCnAgpCF6YO+DtkkoP61jWEkXGPLKr/MCooiqQL6JtpEKfN+7lCfU0OsJD1bFyDi7T+JbCk+//k7CR8Yv7IV5dkr0i9AqNAlcEK6mpbGQlgd5go4bC/qm7aFOLtxyeDut5vxYngY1bztOF24RaaJsiLGXDNPsncxVio/gKkUTS9jW6S5Mx4JHfm2vD/TSCuJQiUhAT42cQx6cYWo1SuqVck5FJ9sGTswkZehqQVY2GnuvjisNbMp8OjMR914YROA2Y+vFahncuRVWMB786PZEM8LPpgbGETgaqW0U6j1vh82hQvPeFDTZPWggWDmVgj+O985XfVuICrJ24w24aJYHO07895wRSjqYZdlOnp8WmtklYZJHH6xS8+JmF5ugeWf2fnKv5pDnd0YeLNsExQOxQPQYZnyOpLD8vpjjKIf5XRYBBPrD571AEAx4EHo0kxFGMNrAtspKHlIGiPE2alkZrT89SwlYneDTEozD7LWxsrE4v8eInW0s1l38KjGAMUwIyCHZIL5uCa6PsbjJJjIqRyt6lzDU5tJMa0jg2OSkG0IxoKky2JnijLxhxJBz4t51IONBUIdYLj6Bd/7uNKNeGOFjWn0FjMvmDDbPU4rJlvFfj8dxziIgXznBoJv5hV4mHeVuCmQnywkpO57hCUF6ht4dpz2K9RD/eywT2qGi+JMcFbF+8jawc7A4D/itGAKacawYdhhwr+9qb7/UFkSUjmCktPHwJHOWENmJ5kD3sX1AHJb/L2niMeG7tNLbHeHGHTIuKaVi4BzrKAsN1MtxtVx4R//6LgP1HXpQK4G2gbx8AdpnoZZLmvPUgznPWMifL7fG0IE7K1zguET2K8tsBqyqWmU9PDQCTt38iFYetMveNSR+9IJmHt29Fy6zBhv5LujgDgMbTuUOonaWTo2YvtjF3x+XzR94RRHMcjqxsefhtkPKmYfcvhUj2uMeknCCweBLtNSQlGDVTUZzN4xEQUQPuHL/EJsrqlVXeCZjt3EYsAwHz/sH9hZBnJ2fv71ZSkphaOdUgzSO3trUF0ZI2xnTFRfL4vWcHYcM1G50vXSgVTOBgH51ZBIKK29VvD3UvangL9lNGyisn+cEEEkKtBOTOQ7UHu3aQDOkLofMj+5vF1t6d/xH+7Qw7xuot8r2ihkzjT7whbu59fHRQaIwaiZa27jgZK7vIJHuHVDgNeJ+k2CuLuG5iZXSPywBvsLJo3YNgNRwOnmjg2d4GM2mJ8XnvxvtKRfm14mf41eWMEFEubnM+pPEuf+4VsVxumx+VaQm0n3porio3m0zWAXlQVAyoDZnKmO/mKv+IEy/PZtUhu4YwHettl7X+sKkCPEcBurHuOqD/PcOi+3ra86J5ccvDP2ijKvFX7V+dwnY24ia3K0Y19Oc143knw/CyCrVk5TYndW2umiq7jJ3Cy+w0HHRNIofVH+RlrNtIC+XMuzC8HFJtejAU9xJ8mHHJ/2zch2mxnozFnGpEhUSsp4x1eeElVOvKreAzFo1cwg75RwPiCdkVsWRYTIOaecGD0UkizA1HLzFMBaAC0TLbsBQTqH//N0PR1fKN5GEVXYDElD83SWfvej8ujGCA5sfXEM4KSDlGtuaAIWPb3/Rln+AsWK3VMkbrzDi8YnYwUSJev4FhMTWuZFSEdZ+nncPSEeGp4v9G3FKq3GPh+/1is4NVsP+anUfEumQMnNqmMBaCNvwESkej2QNHEa32EyVEuYYY+LI1Wxg+btAWypq2TxSYGUPzQ76hJIZqwlpcgjSDfBNn2A9DxIydKzBwhmmn93PhastR9oDguM/E1P9pYitDdx0fipDCBIEmFiPh5zpH5jifkWMYdxYD70zJlZDMGl+u3RF1eIi4X5t0eCBnhh7kaYgP877QCAPagkfUh4VrxQ+sIoQMGOvx166K3vbcBEg0xtKlRMP8ZIpgdERXmhgQv4iE+lDlGceBD+l5LRd2EIewID9hsRYdtY9h41id2+yM69ZkNdSIcQnV0apXldifX/g8O0twjF/W0Zzidy2nRNkYssh21ky6vgjUjlr3XIrwbgcq0aGqnI/ZVDKbKTlxxh53UHoR/2USVAzlBWfGbfTRFbTujg9tvMYcbIuQp3I+t8W14qWphXOVYPUQ8zPUSwnKLrfERiI1Is5yCnTU+07SckeYF9XvTEujC9XGoZR81oDWSG+BtZaQ/8Nhr7+r1PP2C55HbKOYCg28hdah1flA5ERlpa10FEZX6wPMxqgfsPCJQ0igZWfj396iQb7JJ9Hxglz78hs4bNTaBnUYSzxaow1/QYohjWTKwxdaWpGVqy0QaTfIQnenl1Hu9izYHKR4EruqfoqHtlDLUJjDyBrUuOdMPESv6u4erTx1MVf0IButbUFmvagBBhsYXtrDxwdJNckilIAbmBEEx7cyIH3RiqRH1IxFHU5mZVMNRRqWiSc9BCafQm0R8065w6zqrqISDFSwQl27rF/c1x6iBOSTLmysldqLxIYRRD4pQDmJBqVCdbjj/kqPk9pkZe08wwU/qSeH4eSuMXTYszhnNKvlEet5CDALDuQ35WNq10TQvqpkrilybxXJ3EdB79ebMTrk12kiQwJ1RmVqbOxvNNV/ION3yp/+s9n5RChntudwXVMxEscsr0ewT7X+M5d1DKt3qPowgqS9mug3t1MPNDS/eGT6yuIt7+F3vtA3wzA90vXmRHmiNJQ0dKpHJqKSGn3+mqDGKSKv61J2z3VdkZbhBCRi5o7x80I9Nb8WytxWYRzgL9AgHSbrJR0dA+5o4wrs8IdAMnIxolIiwaUYkQXmwB/33n+EctG6GYPqm2613BjKfEAPMCR5LRaLG+s1cGep2qjR08Ph7/BeLAQimEtWzaxwvAiebsYpt7C/S3+ZZi+vS3ZILAc/iYCxb9w3sx6RHfKFORi054hWzj1s35oCiqpG0p/1AqMA1hbfKamc9Wv/03PfNwnfVPwF6T7HA8+u4zNmgmIqdMwwUC2ZSzcfr745iCFh0/f6UrqduI++I3GHCfvnA/FtNmA3PoRDNo70GCGjuIS1KRl7NcCNSfnMCV7En1lVAWUbxmv8oW2j3xwbqrD37Ka6PAm2HFn+DhwRTHsbYZKK3nXI14aDudfR0x0SxuBb0CBx+/+COnJX+s9a2uaTSxpuDNVjyn8Y3y4VELFLZ+M1P7lo0Ul50LfHmzsYbi+XMceTfO/ktBHW7Afci1c17/fBk5Cwh+pTsMGDQZm/7c0y2mT+kC9YNBgcbzw75RCtojb/NWOt55dNDNIibKxyvp5XKM2a641pgm64QvJ2Tvzife4R7jqb/DVw38qA9hT19xjhc07+KliIaO6baOguFRqOlDe029m5ePnwpjcG8yrZOGFjfMq7eigeRstGLjz2M575MZeOfqg/nwaAA/tRnRO8I5+67afBszlB8jINpPxIhvBqU1Vxpld3fQ9KXIRBS2aq8lYKUiOTTTChhKJ3XN0XDGZRWU1hruDMx8K7PfmDDOe0NJv8oY/1lVn0octCci7v/YGFhVLzXbOnFx+5Jjb3814fplExefERcWTNOJE8HjxYN0YQnMjEfrogj4yk8kkKSbDhi8849FGkAxvK94XgLP31akgY/VdgGNjTrDGq0oeKR7WvDFYXo6BjXW7RcRfdV4jQRLNODLLLbYRuhBzn+vqum4AU2JHCY2r3DGotLG1ZUUJiAxs/8Smo3zGuUiqRh2/ub10/oGs+7/PT+FxnC0kFlEx+lVA+W7H5JfSvFJTCtSwBodYzWCHDRIZcrTtU6rO0XxPARdsyAQTXB00ud1aDS7Ep6r2ThTXL2f+qAxmqLd4Q5SQod6ZxgDyPxiD0NX5kiNBtyKA6wqOihr7RhBaz7qPTjhs1bvInbN0KkWusS90yzQuOkrSziBhl9RIkUtn6oooiANCCImWwKsUcVCWPGMpYrcOVCpaWs/nCPn/xzRC1BGu3KNekRn70kIf0kpSN3xBDyCqPFbUo0vFY7S5Q0DC/mtPRKoeOxWzB6R05/O+SImRCa4nEcxjKGU3lPEtRfsJnIqeEt0q8+EKFhdyyrxYi60WUXEYsMkI0AyDTluXhORD5wSvW1dutQCZSoWPg0PhtRc38ng+Re1NXxvJWkZdhF/iN5Bv0DDNpqmhWAYG877Lm8CPrXYyown0jYxnScq81jLbTcsGcNON55wcusEGK+rW2UF84KlaeD22zc+gePEKWbiAQ121JQDODcE+Cp2uWsQCS0XHt6mQxCLfVLmi7VN/2eZGfZfgxWHCyr/8oJYSllSUxscVckOysazGQYrD8cLqD3fMTd/GgQvI04lhuof/7iT8c1bWQMpYFyrVJ2K2DPSKJJL2W0FUCE6vCxH/v9tNN5OyDak14gwThuZyUuLAW427Gz4g5AA5fLY6uA0IiMFGd2hzCKeLHro8JavQFn82XhVnb9c66J748YQby8Bu/XhCkHkLP+WpA1DuozqDzFhfoe/ALuW42fkNawtzfpIwgKmLI/NULSFYhXqEevKZ+cQRypRwnI+Uj9Js1Qf4sW+AzGoWOeswwHhGz/8ApMIy2tLDoHJYL6ZFFCQXbuFvxa+DYv+7WL+MZF3RL6J4L7Y6yxrakfv3lOhLO3ukzGAWKJ2ts+eX7rzwaLUAtcOZw2BU7VICo7t1gob1GiiueuBeqHG83jXTZRQcfBN0H6aocO8nIm6bBWxTOV4R+d9tv735CE539ORFx3nAoPixvEpxsGZmrNXJQ9D0loBb6WD5CUdZpQ3bLWWhxM62Z4uO6a+fG2p/tNmfSeLuA4x12ZSYM51u3C4ktXVOHIduOOIsHj/iH5xIvJLfskTOzcdCOyW5bwSYOL07jc/N1QcbULlsBeg0hX1WGs0scNwQnFarD40hR1SxsLCneMniQNJtZT8iQGXdBirNEF6BB80WX3gyu8Y73tFaLL9zHLa46fOByKyV0E33NysiASbv2Q9W2wctEGyOMGm2jX7dgVtF6isYVkx8ngBKDrUXjYF2VUNqZQq3Y9JXCZuUg8dHG/Yw66Z3y1x6fCF4H7pkALSKvigSiJAhLpejx8NTtSPGN4FQ8ai8j/SZTfUIPZR1FuGTOfXKKHcg5MpfCABisXVIcaURGBOfhz+PuowETw5xfal/O+2HwIvaJ9faTj22oqtHkRA47wqoRMsprDOLM5BYsVLGDtFsVooVFFY9jVfDOnnddAnx4ozsn/423Ycrf7QVCRVB/qcZO8i5PvbZsl9zrLIoYt1LAaWuN9d6dzaU69GR+5hxjMvP0unQ34VYRakCsBTDNlCsFlmeNai0qODXw1B0PhIDvrDYgeriwtZVmGeXkUTPpCwYZrmtUYF5Cd2S+/z+Rot/C8CzkT9eDN8FWxmXhZoMK6f2bnw6B+upKTNdJQpt9ZuzNC1vWsO9lh+ubCwvIo7+SQm6FqLyU+3lDYyR9FqyLW+GwbyGgr/2CB6mLhwEqsrJkbQSkfg/VdrE+1pnI/zZCKQjH7LOjYD7/gycPfUxK//6IS9QK/+9kt1PkPPzBvEHBlTi5iex1xJyacOa8KpGyfzQ7MhFYKS+LkcI6mF2geM8I+X0yLIThin+KC3Uk7s/PubMZN57J6WLCMW/pBbEbVkzBUQscCgm+Xe8f8oBJCjDxRLwg81BvhPwueP/Mi8DFPHASmKqEaciMhm5Y2gEdzwJnAtlq5Zxlab1IqS+6QGL+8/xT5/s/8/ISnEKJtdhbTwpD5r1TjBroZuqPdOpdqmiJ7Mg71GLkZIvgNaS8xwJifZH3rVzIflOvkgQkYubLhmVdYfnbEllTnhsi0/1TqI9yx5M6htq26cq4GrKUeU6knU/F81VP+uUU6xfSFIxIMjfWUCMFhASFfX6fs2+gr+qWfW8DXy0vljZGQcyCior084Ea0Qg/5KxYJ9L33gz1gB9JILxWB7AtL6hgKlXCLRSnSdRRNRhnnQ25vsBK7H/jh8zTb40I6d4WygflyaQMmNL069snz/8UTBBNrQArs5Q5Kx2KdMKuLXRbksqsxV7jGkRJXBRX8/bB2odKaM7ChIoGWiYuocuqZJ3wNTnjH5vI2WIdePwLe9EFaMp2eIeeHq78bP2zPsn4uaGMgAB46+Om6MEgKaqAQ1FeNqLwCn+RmYajOQVdPiImkjRkBr1l+B+umgNV5P5UhVF1U7m5qpkQIXn9H/sJ+CdLvINmEOWPsn0qYMYE5+/hDhxuA4uVxpEL92wieTB05ekWVIBGqFlqmwbCQsYBuibWkPXrROVp+yFE/YTGd58b17v/vkVnXxea2IuLYKmJoJV4IM4h5JRpnlFL3XCSIOhjbz83WF7jcmCawckXY4Er9KEz0+gCiVMhsFlMoZuE7WEuUQEQmf33pIZaWP8Qj9+VHu5+JsEF6Ma1s1R8gMmshQUCnB86CSyCgT+OWkS3mOXD0HgPH8KzkXbHYtyuWi/SMQSQyYyJFdnVK3qwxU24RxOqSw4KWpPEYP2iCE/ySUXeuacJEGgNQsAbWIxS3Qbtrp4dOajIc6PJOlHj7MWlOTOknaF9j3Qw0aeREZztKQ79o+0N13BTof2SRf0hikqx6QIg3BCFUh2T6YRDIsTZYpmEItqi8mJOWzLYYy6tsoOrUD0CRgolq665tBEd7SmTeJw8+xUqWxPC6j5fFrmnIxwUtvKF+88Yqfr6ehN6rQiZ/6Dk4+/VlFZdZfoxa/9ATFHDIRcEkEkJJi7r62boFpI8w4DLegKaywiAczbnExmW5xbEYin/K/CHhy+plUZFWqwqSp8ypUcI1xOZWB3r9d9WaKv79gqBHL+c70pdBFznO1E5ruelY9IUkU6ljAkWtZdyyx3LBTSnJ8Z0O+gFcT7wvcqTCbwg6MqlzT4KVAhacgqn58hwzpwlOTfwh1rfueFxHy0LJc0Gk7vXro/HfviSqFJ98mjWFAyfdzYD4SdnzL9TdHCyVHEqeP8Bnbwmpy1hR2NvuHDbXIFu8aYuHZ2eP1Aof3Z1bY9PmOVXciiLiycURT03ZllqKSgQAKPPM+j7s+aRIxQ4b9acegjovEMdVyzMEOaXqa/QCD41DnGLr+LPESOKgPYCzpdAmA6IQFPuCjUNlsoDWXg1MYJYqqHB5YMAg3lMPHZ5mLi1QkfEhdUFRipE/2q6xaPciiwlLllNhtfycALI6duALVCBkZc2egZ/2HUmjsguuOxFB7YBVYc+xMIknuyp7D63bm44n9XiQkrsqciaFToZZ68e09W84FsMp20wJGdBrtgLAWflMkdTaax7lFtekcrxy6eyfNRbs0EHCr7e4iKdMIyr8yzR39bTOuoo2612kpgOkbP9OSUCfd9d9IVlgirJhpvFWwLD26yMCgMNa8hbSeXTrePZhJ1mOtF6nW9Sw2Mu6Rs4SsPufBKr3MLtuv3qMuC9Vx8t3YktAohRHIC4ftwLUSp6oGt6JM31HbHFUYC6+QXIxqd4X16U0ltajnK70l+fUVA/z0dhPvWfP+dOFFXp7CwF+JPignfR+y5kAkTtfczv7nSo3AfL8UvNY5GbVbGiGqU9wimuJh7tk9gQu0HS7JO0V5oUEqGiRUz+9jHHmvPcICrMgIYCcvaZKET/pQsxnx/nt/JXCUSV7rHbwrY2ezAnF5aQEe92Y9SMwe8o4DvjXiXrOUEihXucAR1AhVMj88AernwaFTLNUF/TFTlUftqs7wpWuKby4HJp4QqMdZlMerib1ahRxQrcJwhqmc6buwwhWSn7Oa7EX78XaZNzT3rUEcS9Yd41POb6e3InaTgkM54yJ+Xv68uQWp9AVdKGBVRbui0qqJu5Xw6TH6Pf1o+AZx9fX21FwGN4b98E9Cia3UKneGtH8SKTXvSRhVIzB9jLjHzkCZxNJGzMN1YMolw64lRSJv61hRTk1FGc91aZGv8HGgGYqqTk384I45k/w30qaolt5fSqyuxfxhkTU1oc9DsaivTuwon1uPB5Da+bSMC65OrvRl61ub16yQ3lUiA4tlY9VUQzwxucCoEDYNoqc/Za6D3RCuUNKVXH+sSHGHhGGyUltV7sepnx1vH0gSvoZWmX+77OBOlEhwacr0MVEkzjwyJpchz/yzdQhYsl8UjP9cjRG8n6RNGZ4Hqy0SbWyzYaAbT2HQ82i7dcAscHDdyO45c3Gn65LcHh5ueZ5G/IIEE3+xFxs+35qZThkdE1A/ATTFr+xLRQQ9zT1OGq06tp0+iUaR258oYGsDkzXIhkV2p7jQg2vl0JFISL0pKy0XK/enTJTjmuTD3b1cRWgqjwtGEYBdQScF2oiOROSkMuQVMBOJFRJRk6pMK6flESJsDUdRzQKQZYrMclJ9QTVzx/Iz0gG0navewwZAoaMT40U3tqcAIIECnvrKzPZ1fHOkU1r4QrF7+5Jqy0ny2usoaX8DF9VE0e+cVZLN2QUONQoKvPwiMcJN+FvACvu0AVG1dvPqwKR6eZISiwCtDgVzqf8LmAA6lUEd7vT1H/SIB8gMFwfQldISDNGqEEU5zVgIIsrY0/YPsGf/JqFtPtgtL1R+ldQg/wKpkYISLqGNerzHGRuxOLmwtcP3KmlJ1+ZImg1QM2bpupnhg2wa/76ueXRb3DwGj8uKy7HYhzZ56OCucu1MMQhv9HqavKoWtqH0c5X0g8m+Sg8Q7pvuskCWnVysdNF56fTN4OABJBSELfAqef+79g7s7cv+2KlG72MqXOckpaN5Bc9CitZEghES+u1noV8TWyIt1mBgE+fUQFw6xQ+hRQ2qOOmZ5qfwv91XYURTOfuiZxPjmwsheWcLHDq5A9wTqfM66WbRLt2OOJEb7z3tGhSt6KWrHmvRXgLmsdpA0w1Wz+Ok0cKjj1z79sYMzHCx56dF2fwVapxfHqFLSIP4fIqIQ+QQvc3x6RlL2BCdNV79HWuCinEizw+u1Ligsis4r+oMrkQxztyvU/XhOHQzHh1v6NGLHBYOK40L8ohDCDLjgjq8zjxUso0D2TxRDiT8+f47SZoExFr+fyLQHVE4mnbC+O3t0TKe299c7NGxXRefEzJIAiuKK6hfD14bpwns/wCD3Cf9+tpjFnxfaZOzlFoCMX8SgbS+w4IFdr0d/5iWMCqI76m+0q6iHw3Ug06q9l9xwA/+FlMzyCKPqZ/yWnWzUu4pAPFya0JPvw/C+tvB4X90wFxya5W5/K+m8DbkbfdoDMNELAYLuqAvqCQ2cM+G5lOwBfw/1J6oiTmqwqgDY8EmM1OKhpYQMDD2je9DbW5q/h+53bl8dwzy1Xf3uCBbGOvoLEg2z+1GtitX8UDNqC3y+DfyD/uxBGCMjiqGWZh6VUhLvHGGTnqD6cmcEN5ve2O0S/Ww1C0/6f41ySW1Sgsv2802o+cttRpYsq6kqC27v5yh9oPHMROR/6Ao1YNlnSKA4Xnu7uI4l2mYlwMomQWzqiwq5D+LRvLac2BDKF+0ODGPP5/18x1EVhcUzJ25t+lgNo6Cg1HcxNVJan4uc5utIsprnHkhw+qj66zDDdpm6dkM/vdu5LaCe0e4syLS9osAIxgp/wvB/blQ5OOILS2BMJWI9D3trlgf5/8bcHIondtmJywARkXtqH+UxNVt4AfY3tS67SrGqOmkb7KUXCXlNRm/jTYOMJNDdbvT0dgNNzG4VP7zKlIAhIAMYl/04nT9+DwDYYNxjTNxNYYBhBE7iLppxIzxtqFcP+wwmluFKiPziy0U2j/IRFvdUz896v2xmHi3I+u7367h7HxGtfuM8X1ENqzllDTvX7NXgE1gxDvirCpRS/wVNJEaP1f4o5LQU0aYB1nhvnSS6p/Z0odetOMd4kTMAer13k1s+tCwfzJMFjiWLxsHGZCS7hNhHueFD/mPgPW7RBllqwrtCPRqid+wdDyjIHDwvyivlKqiHtaO0r2fGAEUw+BbujNotd3shVsUWV/r3EYlmvNKb9n9OCqBLovqL2LyMrp19trTqygH3vsSB5qXCCg95iZUn1HbY8eZFFkpfO4GeppE/R0Y09zwMrc+iuyhfmLJd+FDkKNlF01vkBvV7zoaf19zteKT6JDoU//ZrGZy2vpV+oOBV4vt/3r0arwHq/tld/QKLawFaaZcRAPWTHhQxBN4FP48tzOVl2rLC67SCcT5xjKv7BxfvUylxfn+yfzLPjxNKUrLiqMojer2asPAiWi1imr74D+zmfGj89kcMbM3QiOjJu+ex5xkBk0vF1JE8kxr9VcZjCWNlxzDNcUK5YpWbf8jIgMKf/lLP6oFfkqtH0r36NnNPmd4l0miMd4bSeJ/Zf5uWOb+zIKMgXMNk5OQYMHiig+wQ5SyAlkAL5nUUDM80eaGuIROM60QvlojmE12JIa5Tslp6kARPuff2T0xbiVmrCj9ww/jb36E6hm1JPg/iUu2LAXHy1Xm6kCDX6esOR1ADo+9seFnnjoJnAERV0Zy0V3s+rAopivZdCjsGX/8xLZ/ZcYaWrzCS4NZaPSyaFKZxvL+L29Wv6yBVNLaZK/HQZ0UaofDwK8l3b+lB1QtuA74zOT/Uf5y10ZEmrh2ACXdh7x9jS1c4gFeEB9qWA3cyjNtL17R3Eez1CGHAdLSWe0OyJzPI7j6/9crNil0GaICKapHUmK+6w3T+JZAmgroO0T25hyA2e+2HHfSvURo1mBvy+Lwwvr+G8N/HFWTZmQAPALKq6erEATICn71J0Be0xPaezS+GAz8wT8WIhEtFmoDGbuT8ro6OsYRKBYScyAbSBcSR+MwobQ9B883nurS4fG3Ruf7+WQFkKHeHFOVF1AmCp+xo/f74IrHOpdOHu9ub5VUO3BeFYUwFCKnmsWCRRibdBA8tpQun9mkaliWhWzTApYh9wfin54VHSbRIRtbQr6Nd+3e0g0doVp6O/ipOi8Ufztt4QG1kk+LVx/vY5n2bP2IX678xnkAn4qlu42D9wzTHmfssopTaWic0boiaiQOsjZ5n4/jXMntinJbMgP+OpVmu1JZyXqjVZJlh8Iu+d4X00YaU48qlW9vDCYSY7DSlmSWsWDfrsuMG0hGMnDmp2gp9NHViKr3tG647WYkE5Ior787UqpeFIpI7dl94RO4hRTINH8MjrDwoOdHjOhxWZsVv0NGDNVZatAacCD8124srfUUndi+ZKIqNZRsPl0pUijKW+HX71qsLsiaf84GLBwbtlNiUm6FXI+XRhOucf0ZTKcCZXtZv3xRn8ZEHa9shYlkCv4nDeK5CWptXkt5XFiodD+yR3l+SnWCPhVnG1akhC8AUqxGg6OTMbRQ41zpMYd/utaP38LtOoCD7vjKs7AItI9GhmZgC7f7r1ZIBeAAdI6T57wiBGy289q2cAeleQ16SBVWnZX/IPRs8KhlSFuFsqBDrFpapyb3pe+t1MPhePqjkXFU8t+LqbmBsNfDKGagYKPVSdiTHn60uXwEVf4YyEoREEkA+lSTsNsM9umNMLDt1nPpkVYFBLfjBz3VUOLjejbbL0JGA6n9uP8vixN2M2nTe/hhJ9sj9DfWB/F9eRagn0FnF/ooDfQH5hQYGp9v778svyOkr8F6v6Swprc4S6c11X3ehXbHcABK7UKeU3tp653N4ykhka2owc6/V6M6iLcg/UZCevNEv0ApzWpxDj8noCzhQ0Umk6uwWOv3+mhgXEugbdB8uU5HsMl4OCLayKlWcnlgdfdeuNthzwkTHJU9eOL9WOE8ztOlfKmMsp8SXBHrxa3EoyH/lYBmqawNgR9SXjzibAACPh5DuhTsCyL3Cy14bngab9Tr3Zc8KNgnzPI1+7JIARHb5y3pTK7LL/xGtElmZjjeIN7qfDkV77lWiLWgNnX7ZE3JYafP2/7LoWX8H2zHTeFLcquXr9Bz5p4/2xzFRuzMEfyIYHXioNkod5t1hkIjZv19ZRdMCK5kORkZx4xtFNIBxb2qzbsnu5mb4SRv7IP+vRDQP09YAVYaSo6HS+nKb2zDFKu9RI3GdkgNExvRy44uQGMU14fKRnXaKHNDiNnWkna+XkdkMxoTbVV31Mb25xblbEkYASL+2wUHaJBG4JvpoGOi1nFGXFiLa+anPm7St1ii2aIWR3XtShWs9kRR64lKywriKMDUQXxCpPG53Q6rASqcMPcjAc8nxktPFCspE2V9ZY5oYSh/kpYlu5GyTfqY6A1mCMgEJP5emPFmwq8X1oqvFtwTr1vvGR+hyocIjGyE8vAmcH59ebfGEAiQVaRBpZFsJSSOPhr+KDtlWcC1KNYHX49m2bIjB1CZeAw+K+bGqq4SR84GmzxdkVgl4YwiqJ3htvydQac8SHkHwztw1iMr+Xe44dBQ2alQfLeF/ikGQ8PZQZNndkNpxlGsETLcK+JjYaW63c5FJpTzt+d/ctKM1kg/ykcSlOXkDRmeztJI2XFLvGqYsCjvbdId/m17XrJcvCtNcN8rgbybNuR5aW9NS6g3eSSu7yHgpA/thqjLued41Dm9aNXtH5vU7UFPPJly85T4x0bqlJznjNrwMEBWHQSmcFo0sTjy5mAaV3JcF+MvTV+1eVul/xMFumFRwC6Zc6zg+l8t6mCkiPMq8BOWOk9sb5rBD+lDnw36qeP8b1KrkSt6V3VEBJBsmyGIZhiKboHW8CcUSFDC8XzFxU9k+K8GK2YUGWtoqYNfCHT8dKFZ1eStUyhT84mkWbhBViXkzwENOyIhBvDeKuSfIlTFoXBE9yWAxyOJRZMIvWoJjo46xjfOr9CsGuDItxzexLa1yM9RkyrA2FgXuQ9PzPN8jUKscSfd0jrf9XGGJV3uyYyUduWajozfFZgFyLPXes2RX4OoI+v5hFE0R9Zk6oXKq25bCC/b+2iVSoTrkFTtmjPZVISHpBikEInKoA8hc/P43QlKmrIaSioz1zsZE+LiBnWohjVaI8E1pHTWQ69JXheXuqOeDbWTdjEh9KRwoOvxb39J7ztoC6JNpDH3uL26WXm5a/xUBol3D9X8/iDzHO/rDqWwv/J8wK7ChmWQDnrSX85GClRnFqt4YuN+xB4ws3y4ZH3G/xeptZPbl4p1c+I6rA2GpjmfQhRXcVQfh0jzGm6JgnsVcstmzxOkcCZqsjIG1vtLyIV6bT/u7TOLes00N4khzhKT8VSlShCGREsyxtpxW7e+aecliqhJRT0NqieTo1GohvjQ89QD80lamObAwp81ZR7H6o4L44WMl9o4EqVe2wxKOmXZv6L2A1G2shAJojFgQqcQ6WDq/I5Npk2YDktLHTK3QVWVTQQ1gq7KdPkYKwnRa2OYIaVFG+DHgYE7PJgZ1Tm65eKhvk+n1BrRJsZlRAOoD2LJV14oBNcrhtWqjZewz+TDqWTsvwL5vXfVeg0AUhqv2XZ7xZxup2twvW4K3y19LHw+HESR51S29Q5x1wHpb2sjolOgrscpHM+/qAe/CPss8P1pot+GiIsI6PPV17Sc3KwJbW8yDeDQ4XE+BHr7r8ecnhv6J6x01XjdM6SbPg7rTFkwSF0p6kjNC0t8uHajWpRiuPq6zY1T91nj3sbZpsn2OgnsKqD+exAKb4qYTKK8L7r/Dqc1XYDWlvRhMX3QCNMP+8B+FmSCbu3e8QeIAVw//Tgi+QUBQQ+YDEdJQ3hQuYuEUEnXIoBCXAeL8MkIn2H1/piwIe2qewLNfWorY+equaS2LSgAlgo6Fos4we93oR7Eia51ReyxygtyQxt0qmzwT8Xqca5AQ9LAMC3UfvOcCe3wlur0DgHmJ7CmOvRGItRYegJdvjo03ugunSA3eWLMUAwN4u6EAX9yUFZ8sIc7LrCRS1X/EY5ka/513etmfgyCVcge3acJ+jAj3YErNoqfWVRhdabkf51bjeMaZMc30mp0f/AAxoHQfklewHNwt7LfJkzZsWYbd3XPyAaUsMNcDONcEnjuRlZdjXuQm147g1YyDUjER+4bnDbBqNot/F+6RFs37t4Xn8+APImxeb0wX9iu50ErUIRTeC680TRNhJvEWQK6G4F4Zp3YuqUP0+DKnm+zOUzAD6d//B+gS48LGFJmBKdH+4243T5JH8ioXMAy0Xv7tSco37NFzTKGzy/aOi0diPoj7DXSoXBAOA+hqVrwBg4zIj/84hq4a+4An3WagSsW1vS6lPZA/UKj21oEn+0n5wDikIxBAaMygiPCf/pD/jAX5HF8SztTTnyU03qhQoM/uQ15Gu1blLIokLHDLsK3d5h4HyaNjaDIjLM2vAgHPpIo2LHEzfow22L0Ugt+8V0pf5hVq4xZE2Edy7D2EuGjL84pYlUjDXj8faV/OUgGgHw4K7kkQo2EHYjzt0h26jYqu8jx6VW9bd09uKF0Xn0qhzL5RK+Z/HZWa1QbINKZz6A1ENF1CjMtOFNKhTMpZ0X+RQBE45/qUEbzjjtI7Ou/ejp5O6RMyo7a5J0JdjfCyTJqRA7oZ8PAbff/6fkjtVfUhiiix68AEQ+X9i2FH828cIa4cm8hDSrCuCBTEIBnzVp9gEDzHKjVI8sKOLjgpZ4bSUoUV2XBHuBh1MwHStpRSh/Nv4lkrioCnqPDn2qWo2NhuHJjgmsU7glve/824+gQ1hHjBX6JxaRCnv7yNodCHml4AGgh97In8qM423lKV6dkKCa7DwvR/QLQdxv8rGdvMNqRd2pAwO2qS41MqPbAZLdJs+RIHG5taOZtC2mwkEmnS2e+l1Q9C4aKmTiBm/pDQB8Snwu6iYviLU8frYVzjfk3EzdCG8kaatxmXGGsoaLENebhzXBBFbuAh1RJiKxOdNfZJhtJvP3fpX9CL60MspCpXhikvN9j4eWn8Ojr9PzuqJRrYP71IYjPzyCKFGl7igaVKBphIIargEDT3DhGeelx4+JkOib1O9FjmmwmPuLzsxT0DOhOk0DOHoqiDjbAUez3Dq+HWIJ34s4bwc9git0x2ohssyY0R2k87To8lS6wykRRRNp7p6bxTY6UXhGQp0MHqLojl+O/In166SiMTif3UZnTOkevM+yxWypl7sHJKMSB+s1QZl4yJg2UiOCitOvCWKhYFJoYgXdWP1xP9y/b9n8Bmziv2eG3ZVLB67lgTuWLjbDAjKYwvlzsbqI6b57SqZIJ8fNj1NtGj2TQN+qKDVVMmvk8hGVCgtVPyEnM/0kKSrL24N+yjmU/K/QGOOrdDupW1DHmhhkZlzy8VDESkN8WBl16lV1Jk62Z08mlRem2nAjxm0Z6QZPV5DcocV8YXs/3A/zSdYpF4P6mCae89ErZdI1VorQFeNDWQscgzYsePz77JHyU2nB9p3tadDWOtAer5VBjnId8X/Kz/5xnrd699wgNGu5daxdWMqRUtDlfPJUMFvuyEYEMHksF3zFb1LPEqe7aN/lngCHNxWh3Gm0MJzpi2IX90WQ8C5mhC0R8ie6ITLEz02pa9Eg0UESL2UIby8AJIUw15sdZ1j+o3nXLKbXGjWJco/llW4Z5DqCK7eBlmQ8lnhshcmO8l6m+rSXLvidf3Pyjn0mTn1gwGtHIwZB4A1memD7uI8AQskOPzFaCUGyAvNYePu5G+PnlIjsq1O4vm6VLAntWAww63u3DoW/4LITdHxTZ17r77l+bswrPY/AmHRSLfbSy5xCWv8e8HQg+tPswHxD9gB65lJBeNpEIQJBoYV9I1vxV5C5TO1LwmbfuHZe+wlII5QAnOo5iXfo3N7GNL4BsKv9rlM7esdvzgzdr3FEvhwkNdw4REopr+avGgVLaV6T+VPaX2HhNSngVwd0JpkmkvDp0Ylpx61m4oQPuX4FbQiV01q+FZIi6+lfYPjkk+AxXwoez7QeYlXwi6YoPR1W1bYaKYgtAjOgo797JYaxLzQW6MjKA8VfXUl0WckHJGLzf9GU/biC04Q7aM92bkzgjBqmD5R1UKT27S7bUKDNxZzI4K9kEXBdJR9/5YjjN+/W5ZCg3OroY6UlVdXe//1UzFE/XwVD/poFRcoqfwBE2Ryu2npK7n5L9XoWv+BLt2t9hzlJF4HTO4knIGvR7rBfwFQDEcDCtZ/cDkc38XHE70oflscrL+pMsY1pfeKop8Xtxb8Kks8mQ1bUYoqco1rAlVAciM7BkIm6UI9yTk/9PMS6NVRXH1/suojAk7mCZxgUz8wTdb7qxVJHoM5l4gUleYnqP2ILm3Q/x3UgQE0LfNg+TZ41P5CeNeAKshyk0Xt0uLFwlaRcGvxaMhOVOds7bf1548JHCwOHeXtahbG3LACH6QpHWE7XMu0G3dRpZnTJS8tbvXQxw7M+erjwvhqNACKdx0gTQzr0s4m5QSV2aQp8fOJaryjoXPd8IFW2AbeKBYFLRWxwv9a7ua9AZGcM72k5OI5165tnA1LiI1/eK/J9X5i0oTz/gezrkhlOpSNqcyebrHb6wiSITURNnNyA699bhXoF3mj2XuKnu0OGZgEf8vYyFHPWtn6Si2VGyWOAENKdpWH00sHMotojqOksokNZ5Cteuz2Pp5x6SuIK1B4FTwYp2JG4/m6y+HG3eDI/nIoHJp/3X70C36byzyY87Ga9s7Q6MKws7gGEikRRrHxDrlWYOxdvTEw/yw/HvVmz93sPcnPBAMTX6EX+4f4zkOXz6KO7i/l1Sqq9Yyw8+Choat6ytxYaFu8KPohwZ4Z2dwzeqO8CyoUiRuYVOyjJuVi/qgsiOfI986F1VJ0zyvAqCRyQyW00J43TcI+AJ9uiJ6JiFhiVgSFbEDVhjUBfM49l9zGcaaVkRVDWwlQfjc8lCCfUqvkHfdWiCbGctOrtCs9MyJfsK/vznK+FbFj1MaEGroD7BGx623TsKaQnRc1QRTedp7CN0BEQZQrvY3WZ75TxAT2ImdI8pa5UroRn4xkxN/v3dMLxvFZp+N+HFM4FZ64J/0mY4paU8j1ws1CNqykTzlwnqrdT6ybfVXoNz7LFdZhonxOK/jYpSQPQPvCwR+eOnSqOxSp/6p32bxz5nP5POdzSrcxXef5oGIS70kJMV0sfQ738gbLevgp43cjPJzWxnRmMbkAAtAEWyz9I2ZdU1odiCy3sCkkRtA06aj0qdztmZxdiLLFnOPGPNRBnm+pQIByo+ZlF1HmNgRJEIQOOkrOXbElV8ewbg8U7aZy36tE2iOiKNHM1lD04T4evwBayMaIAbhqb6ATpUCxF4PqIbb3A/D0/HL+fEl54XxS3Z9MTHsdAID/8FeSIUu480OIKd8+EMvPnlgAlkawRQmjt/3NDN53R8BG5Y8YsFz2DsgaT2wLQwv5tT9A8MI/5W270MPCC8d+sQ5cnvKu3DlsNvyegSUEErfKUkfrqJzurTBynOU5irDZfg+m4Y6sixtUleUgzTiuxOI1zbmfmn5gsga1vyCDLsF7gMoZ0xrsY/s4BNEKYFry6R6WrCAIVa+0Nk2i2HbW+gfQJArT8/JhNpub8KTt74kNDpQXAPJH8pzSpuwlHh7VCt1zOYOO75tYn7K5+OJTkreyQnPBYgLsRYuV8mOkGx/wbK2nwUtV/d4b5c6pmAszBKFGheGBp37CXMVfuH+n8XCcn+2puZM/FBDKBQzxxA067Xf83ViWpKx6VLqGFACUMn8qlE1dYividfifxGjU8rKLQucAB0YsU+pwFNMhncW7XlaYq7XEjXufaP6FqozEcj48hs78lMj/P1RuzA5yQc4S0dZlURtoPf5ne1znDhlS4N+x6IbW2XgBWuVjkPODJXkVYfrxEbYv7FMntMAgNHzRN4i99jaAOoxKFIiyv/8qBeSfNkmePkKXjcmCmooR+NUk77Rg4tyqSoTed584yM7iUOd+f/E/HX/R81tgjimCwuw4wxlvlB8sNiELjrWrWOHLJQ3aZ/dT+gw1tXtKW7jtqVT7tKLDtEYJ8lLKdH7+GAYvLO+hpn+lPyvnhSjW5WpoQ5JrIz6rOHe/d7/M9AqsHQtNSGoKxblxBzup0kAeRtB+78i0OK0X6qM2YKmeRVcVO10tB6+KESSun9qe8kpVpgEsxt3SrB2UyJHMPolKzPAhdTmkEG/1heHPTe34pANMg/yvGP2ESxUGo5RFb/HJ3UHXwUmYNL3hp690ZB71vE7ahp9k+dzZIIdKd//tYPOhuwhiNbSvrXUTH7HVcdayF9qohvwuCsFDVHSkbVDfpiH6lCvgT5xA5D8YWRiSae0i0F2vYJADm5KU+2oJK7Gj6+HJlG2You23/pg59v/Vbje0Yn1mgIIDgDh36fibfO/bA9Hn129f9DsrLRj7qqI3caZaCQ4OqWL9k23RxvE+peGD58BNUKZSvC8dLXx6Hlyz7gDm9d/4Mn6Q9Fy3qqxffufyG05q6EZ/4MJVubeHWCKMRDwnOvIb2ZyaGxZB6aj44bFpnw32V6jS9/ZmMBwArt5pRSBKhwr6OJH7C6vD7A4JdlXLWT7h3ML9XF3EwFNCIcitoA9fpXrru5XBLuYOqZ5c5yhh1tQCxoZDGqkVgqacoDdqsNR91NBwJ8F/IdhrFB4Y+OINC53Gx5R6jJ7G+ssf4+dd1SvRpOCxLAi+r3Rw9tgmQZ4/A07UsUG9m4gGddoW7lkmNJu0ttK1mLVk8ne4l+ZqGffgJCAwG3O9LgDF5WvTBQV2klYMQ+TLe5lyHhYlso32xberCL0ZPc6zG5zcQMwc+Y/6g/hSxKApmo8T3OXP5bZM8g2Osw0+3rTFboYYnQaMHuDDM+qYDV013LZ3BBA++Ts2gSn+UuNtImti7ahN45jwqk0w2lekjQvnl8Sbzq6JBCjCTSTVcgqaNWRsOLa54rFurm2htnm1jx4MRl7mJSLEtFFv8TefO67ZBIedmXWSwKyFQwXIvY+p7OullgtUug9R6FC0mDknghVyidmzUgfFuCOTg/Xw7AD29dEGgUTn2XN/IBW/g6g12z3FFnitlbrB56XPG2krXGEEcXAQWzPlEczKAmEGBLN0YfS0Jgn3VBVZNJa3mnoD3fKXFF6D6uG7I0/0PMCEXQ0O0YwEWw/UO3mWmsOgSqlJO9oQWUxMiqFPcanJTeWyn/WPGt8I2kWKRHvcVdEXUmuzEO8DAOWiiRPYYhNHW4VylCHAP08zkJB1xsAv9tHHZhppU0tJu8I+7NbyiH6TsnK6SVQpUTC1AZsUQAp2TNBHp0P8Rb24Shk4WWdh/1TC1eCyESeggO3HTEQ0rXyc/dbnaW9gNFBBKlLVYcOmMbYB8eCXt5AWXw8n0pKytPPToOsJiHy24394PKV3weKDLak9sgNpdOxtTdSWT9xEaVyXpPWCYr6GfL91ALABsQVogV6HEpKiwEwS1LDTzcwYdxJnFXFBeV0pDf/zU6p9Y05IzL0CKapVizaXBmbgyXRdNLU7y4XbNRNKM1AGXrU7V+8UutBdgubD/BsKgjoV5fTPFSMSwZNg10gCvMSIL7/Ft4QhgQY9j/D3nUKsrDKCiL43YTekhh6p+7o7+jIfOigJOJWYqTWvXZDgghOyLRNVWl53FINXvTbpsL4cspEbqjTYeB92x56XmAk9Sj40cdGwHMuuhBDQctIOj5b8GuFAcmpWoMObPRJoIhMc4SeD1LpTSw+LCEONvI5UVy0Phh0nWscgDYmN1XsvhTm5U5bpQ2BMEVEokRhXTCw4FaI97LYJlGG5eE5oucFqXwqiHDaLoZziDoVLoKUW9Qe444BU6VLGmMhQxwyrC6QEudZYvpR5TgpU3P/ZI9ZCrPKwkFr1NuWlcnJXzvlSMRyJjX9d1WtorT9Dhm7kVF+mK47S3Qt8wmdkHaTl1nzBtYSqhGcY0DeB+NbzB/WBNwUNNftcz6SujZcYBPSiARLFEFiO1UWIqgv80LSZoXQuPmfbdvMVNQflaICxFlcBKUG6MnHtggOEHDyPYsaZ+nKgTV1ZWrEev4p/EF9GVk0/hb8/sIditoTPrY3uVMLcDdSLXG9dVzAab0L29JmpVLEVaXGjaaTW2zfipUviYRq9LobqAhv9HoGALGC7yCZu8dUqKmCNxH46NWRaC9aBLpi/Bl7OWQiEiELxsUGhzszMnUiS5+uVUJcL/2jJCiCukcUpxkZZcUPa5LZvtGSDbyXd94m3ASF8jqBMZFuZ/GZxM+yzUn5umQeXKw4xLlmitOfR8DWeT/CYiYAVvQJ8ffQhv+mZcedrGBGp+wr6N6Y/+5EQqqgg7EeWLwhCwYlIA+7KxX0k3XKzDjzIEHmyC4ZYO0L6JBVECx9jI22rrq1JGnH0KPokoOZkQy+Yw++CGquye7DYfVDj1nPDTcQGj2zhs7RpZmKav1t4DlGlr9eqyq1JYH2GO6dsDpLFXTHbRoC6x+NKn9V0hK/dUKALqyyVwLoIlzXwb+Pt5rQEJP7l/8fC9UWKkpTnOxfjueZHEwJCyIO45mHjt8ltivUnZq8cBKd3q7Heg/KLQrBLSZhr3iSXMVxNDFRVgxgC4mxMTqaEME48yB96lDeyEhZTxQijnbR/cN3/KxPilcGPgT5BrrhB+fRtRKGp10FaYtWkCt6FwAVpcsUHBgdm2XDg6lC4RjlP24/NT3rowjcuNF6ylMUih7hIy4WjFC0udJEbFxZS3I9iohqAKvPZ/LD7jUUfYTRuyW17FwOvcQ53SXyN3G3MbQzn0Pw/noBZy+ZjybGJgC9ntHdDp+QtdFc0vpIk8mii1B/MK4ZJ7VNzRSBdWmpP2U6dKpFbKJyldI21wKZaHVDNwuiMmlMlF+tMKHXaduA+fHdPjCeeTbBtmwj49TGvBu098V55vFVMJtsAvt/d4rcm1MEmm42mddb8mFGVMfjReox4HghBBqqjHvWFtg+BfVnn4SG6vKdw1cDPADaAmT2PIDvebktjR1Add8L0UBAbWxRhVLtTdAUh644yZ50f+8RcqKY7fnQo3PXcn63g55K0/V0TIWIZNG6nWLdRSk6jftuKH6mC4CWVBPYJJ+qRUclAysZa0qcriOyhQCTL8ELSQcSTXJpvwQ09gybBW30ROGG647jhkKGohn8thn3hJQqwk7kJIHwaEA826m0WDoZjMIu6VOT9TAjtdbtSVe8VvjHwIiqckdUpzW3MlckJULSY3hbor30Z30IkEJmFeFtb4drBZjsswX3LZvmaX4O+wP1wSPL56p4f6xD0sVKQqgR4fRDShZPtqhTEuTzWIy57XZirUyokGeusXa+v/EX6NIYMoU6SoAHAam7gCx+2asqhrFN8W+91ie0jhE0YHFKOCtpq+aiKXGc/FER6AHJgVbf6kpJJLnHPxcGcKoZLs9MtA1q0QLnBk69c+5w0XUdv+WbiglaXEl/Y/HcCJxXiZGpbCcnolA6rbfGUci2vpmMaMCuuCf5u6XNKNpEj3vKdIPeiay5QyYw0+JFmkZ5Rret0apcMvE8zPTagWYefDNxgWSJKCeJCKZbkP1tNl7l7TDKaLEtFTwqGFsX0RC+1UgBO2T9y5idT8RNWqoRN+mhadHDZYOeO3fe7sE+SCmaUQTeuxAyf6JnbLtLVWTVZKLsj4ofEEICRufNYkvzi+/xkCg9R7sVpbDdmIxktaeuFRBj19LcMnbpcTgvspsrgAi8rAlTNbvXL/k2T4mt0baqZTw5LVapGzQJfnSQomY1Z1Tba6gw6n2pSdnaoMMRlLtgoVryEhozNAYwvk1nrtFVxc6DfWuwL00EYgsadcfVdp6urjiMsTBVi3gzMp6Ny4aFnkJOC60mdfzxclAc5dlDCcKx59z9kJ98/RtobkrGyYWnLA4CfYAeHJ9EzLn4vvqIH6xdqeYkcT6tyndBivlTvlQVk8M6rfKFurITFSfCpZ9o4j/2vZDBCqGDOoRzbLRIKhUP6RxFVq5ov2ZucRPYOfKyhuVpFu67RujPjduKeY4QhWV6kbdGs94PYGdkhYh74J2MA5/aV+gdaFVL04PKiV3YXjyF102J0+OCEAZeBcoaJetoh+HenXrzQdM6y46LNu9Yf1SV1BR46cUbcLTku74RxnvLj3lJ03LfgjexiGmTrwGE+giR1g+9000LS0dOmY0+HKQjZIWTJhfbKjMDhJyaR4yKOwbKuRhTz0n0AzpiNdHa2cy1zmdHrRusqGUYJsBWejAHMSVbgP9glUnZwfYV6i8Sk5eMqNcf3oAb8cb/6jUHapMsudEu5BEwVGnGQV27EZx+lNvJhFE0wWLWsZGTZkScJF77qxadSHkZIKu4ZiyP7j/U2boEKJar6T/rQATZcbPsJURyMiXSJowO/JIKWGt2EOiYFQ1S8ps+DpNNCUV1uqzF06jheyszaYUcp3UvWWNB85h3oz9seI1UtXRdEstORBoD21R9duLSEllaclaRPCEstNBEzAh4ciqM1Hk1MYtGTXVhi8bJmRNC/8byX8JYug0PZI3fco5vmnS73Ds20cS5Mz/uSi1I7fH/wCeXjgVo/xEZKIH8PSrkWKYmBzoM/BMJa6j3+8KnOYRsuhIT+wwuBGqXuqJRTjOvoqGkA4o4xjM550kBWaewRmoOfAdqRIBMdSnWRSSmT2RvkCRC4rKM6nHcBlLDP8c+uWmJpyoDf5o4YyAsHqc/C15/UeFBgb2+7xJ5TeqyMOAN9+97oXRhz9wUpfaa/Rd+jF2z+iiWg5v5GrcEL2qfk4R3uSmsM9Q/PcFnjs1Y2YpfFCAKNUGiAJXgclXQwxC+3TZsTMboaAlx2g+bMGDW5M1jaA1IVEJtsceEzC7QK31izbIHnVWBEGAWEWq43Bu38HaMUxHN7Tg5vsJNoSSDF4CvOpVgzxBPSZqlT88gzt4yqC/YDwPvG9swfhTd7mvOtRxRvamJdfCHGiAwAF5MPp/p74HezL56O9mlYPawzSMX/rCx/4Gl5v/2aT+jiC37aARjeTqbM1kCYMtljviuE/3KWJwThQEwj4rsWuWbXeqeCiH05gVolJDvPjJ2GFJS09pgDW6Lqa3IlE7qHcslDg1xRzbj73QFsiYWT5eKn8Z83JHd0iOt8rWv5/EPpLstQGUPZBv7lig6kyhGapnhfgacN1JLKe76eSNOrXT24dLnHaxuUUrfEGCtncOFqMyZNPDtjR1jBEBiiRDv0XuGGnd5+YXtnaPNaxT8kO0OEvhPyN+NS6yG5LeDi6vq68D87ukHFqhLvHM1d/GakKhnNihVwYhoTsvZji/mL3M0kWHdPaLU5j7Z0G1VFWqD1lWoO4p9o/SnEGvmrcQu9qa2a+1oHowBWc6XFfDJRNHyTM6ZXAVUVhSUlrosxuK1RD1+Ac0mBYqZaF9NeiYAMLqJTehMtSyuYY+aipEDezJLRj66qnHOyrxvb4sf6J5GHB5TW4s1lJghC/SqETyfwDOU1X61f5o2PlW/F+QxNTLEkH5s9gtpRTqZ7PeWinow3QJ5nvfP12WnNi02BmBvQtb7RzFiWpq7S2pdbSFDJIFAxdsNDwisFTpCdMbSv0BGIHzGlMJiotJ2Tx0wYJaASH8wHKKh02FcXYbta0skQvY00pcJPRtTO6eqZfMGCg5XDV8PI6q00kVqiDB/tcxoMVrTXZl6Z2xfD19AffnX/sw8tGC1rtA88qiaCcb4ok9MZsockv4me1J6NZ2h3dk0afAjMLMPlyBadfqXBBqQ9yofR+IT30a+3ya65KosRdy7mTXZ5/tN6YV5diRwKNGInGmGyUE7zJk3ojWZu4vQRbTL+lOFWL28W81lhH1wTYTYF2A8EWXimmamXtmgTg+thz/2bqwduq3ap4Q4pNQ7vhNJ4YuAlMX2oPodeyc8QiJQOXMdzgtchGkeXIFLj8y991uPJ6WKUFY/NKwXOYbKisLn/HRhMr7dGerbioIy2/C3iDkV9ZIvirMLFkgqjNQoBIcCodzRuzjjXG4h3lDlbZu4kMtHEFuHBw+R6OLxWsQK8pQWZfQIVlqh+n243ySQhX8m5VLnP8C/0tTUQVrcjzucbjIcB8EU6mRs8k4AxmgokXK/LQwRQOGoB2GCtTuA9kKszaAfL7ML5p8fK1/o8djqkOnArgdK7gNoeuUTa4WvHodRjgRTlGAH0kUBQhRcmuzks1sQCkEawiktylXkM9paYph0iiLnCJ/oY5UYw1V67PYhWE7Ty0ZJxEbYkmifIf6EvxXGtEKBb2DbueJvVU2BSLnfHYtZcfPmMrPD4CuBKLbsrSDcaY6dBd5POGOotanNKU7FHqleTXnxDz/GOfNLN7xloxAOwgV0W4/sqrjb4EABc6sJsyF/PS7k8SURcQs67ciarLUADXD6eTtdXM56N5Dy/AaMrFNKivvwrz5Srkpo7/iJwAtyrbZ0a8PRX4zBUTneRB5ajUotKAF7qremjtOUBm4E77cb45M880V+d6zqenAOzBn75/SMIg1x1BwjKbbbkPo6KyA7Hzeegc9hDo54WtjWrY4ZGEBTtqMhBhDXk5Y1a9OegnfEETaYc/2WKsq8gYf/vAXHuYxX6jmCeOz41zh7KqHE2dhYNqMXT3QziWtaSQfoFXvxt7jOwreILKx/NXFtkcbrSPU3fAHBEmnzWDL+ksRQXubNzjOGz49ulNCzIfk7rkMsV+lvIw3m638henLJBwqp1fWzFQ/X0mUp1QTzAq54AlZGOfRNYRkn4zs40Cz5YFEdVfDhQXGFmWjofqFSadEOf/apblrZ5NaquT/uCBxWlrvkbAnmji30sgWVDjjKhQnpy2Ify06VzfolpPAHs4bH3EOIpwB9Ew4/hTcXCefx8sydsrF5PEfeSxOlXrLKB8fx7wRuSBkSNCsfJ0ZfHlSMEY4tDUzhXmRet8Ratsy0goVKQuP1c6noIxYqtKZXmR8oz0Syna5279024NJ1LxLTdM6xZdkPBTpbOlfBS5c6mDEmdvRlA0iDx88uUkaT6XMbSTnk0EZN5f/W2Fp6K7ewKueHe0TAW7MCsM8bT25HbGqir33j752yrMCiz4bLvpICiIbz5j3MinamHNwTimUvdqq+MZ3Nt/4Hvqpz+stwwxYZx91O2zdFS3Q7NBwmf1+5g28rVYmaEMy1KNMYIip4OdZ3zfa2lyjAWzJcXizu9UO85A0ZztfUYToHEq+hf4VC+k+JIgeZlhVX06PuW72tYT76p1Kx4CJxGdXMd3o4VUULeYaJBKcJ9JvclUnm+eXFR+TlJFRYr/2qB9XaZfMtNfi1b1tJu1MjVlOgU9X1ZXWzhBiBgmsiKS0bGuI6m0E0G/ylp58ghFtHD+tijd/NsO0AlFpykX7MQmapIZ6TbiculPlk9pmbf4Bqo4JLHaDqSsskTzsrKSznB9b50VtEq10rIVmJURLz1KiNIoM5NFXwouXXj7YCBKE2zfpvY2RbvUqawNlBGHT9xkZRlymiwLX2ggtnqBvw7Goe7FAeTC78VKd/J5gz4ttB2UDdPJruPk1THPjeHa8nS7GQ8C3GXjAda0nzAzR6Se+Uf5JQ6K4448mblntqMs5Pg0bIYvQtcde7uVKJLshS5r7h/7Cxljh0btmQKL7JOgcrsqIWit8oDbM8X38qNp4fbTNYN3jc6gYZJ+1buGh9DST2I3rFZmx7+1NdBzZwefaokU3bzt24wzvILlaYvW8KsfTBHA1vyqEmisqiCdBQBCBYUxccvNVtLAKixGAtodJZuEh3qY3okVtUecyl04i4duxen1Ttt2DhzNHy6fZiQy1rWmIwXPfb1cAlIVr/5R0bM+Em2ijaGZJmC4UapDUDNKNUYU6YTSBjUc+864t0l3lbf4pbxOLJbCMOv8DMyqvepW9OwfFNyiNZuY0Jtk/uZNgKvHHx0xJRnA8h0BpLjAJDEEI/9IR9g1haIYg1O7a/cMPMkBLJxc583c9f/vTJmV3lnP4knyJu8juZXave4MH6U9g3V4B0gyF3PgzKagIHOxq59ixqE3tSju1Wz8unUSShlcuih16GEjZcf9Zwp5PRyAkGlqnA6i4E0yZGkmTjUJlJDWOCCQsW+01dUxnGyL09jVPUTp32jYKHQBhyrEMI8VfYCU4ryqgZvk6HamBDHnIUKkXCk/wy7nD9e8yvYepPA+bTVErurXovCssl1QrPxpbNf26XAi6FWPs7epN6WBtleIdnX2zzPwBZplPQ0V93vHpm8oAdMChDyi5Zx2jWjvexd8rdl+RAuZ8IPFEqTL262L1lIMaRp7W6ikCc9OtHeB/iEcSf98Dc4zPvO7B4olBYprlAk153QyZYvQZpJRW4ybtA/hkX+dtt2hBSH6FOLaJ9vg750DTzitiED160QuYnbXgasrQSPEzqXe3rh8ZTuImUketduGXXbMcPBOiLAHbN8zL6azt1c+6trvCm2Nka7C9cDYZr7R5cjFDTrC+L9AVhqulq5PKYl4q1vCjxWPB1BvszQP3kcbQm7RzIYBPW6jMNlB+lXnxJ50grrxDmwgrUj95tiRa5DjjUXZ7Cs9WZu18XjE6gVub7WQg6Sf5K/eNAyQxaANjd6OOAqzD8fVh+1MKE3fhXgZE+KWvO9khfs7yS8PZp87M1UYi9Sh61NcureQ5XjA4Mne9wY7PdPbXklyGypHLXeepjdfoWRGHo93/+6oyo6gFxRNPw+O5VfE//OAMkkBYWmaUYpa22rxMVe0cg8GoTM3vaONVHBRh6VVebYaqWj7XipEYCkMDHrH2j2sHyMtqVsCvrnNSpb7o+7yxSOTZfVbnnoFi4+xRPGcIAJ0Ex18OXkNIjR9Hr4pt9UIljZYGqrFUelxBE1HwmBCjhehc7jZAsZhEdcGgTELTLpVx9vJLYJ2l62+ftXLPqL86WX0PYbd29OU9da/V+nVwqRCtCkc/kTPm+xcI9MH5M3d9QoeAWsxf/sWg7DyZEyzRulD7WUghHLuIIxX4t/ouZGCSH9eJ9z8Rbzf3Ts7BzAB/rbnXQn4mINjQZHoVwiAM5kXKpXNTN7y+q/Pnm6aUyIr6YXLudDOxT1XUt47q58mQWsNEf8C8CgTEbxbsd4neqMdIkDx+e76ULDsJacWSO6R3xP8eJURLI9TqMYfX7DGP4ajx2IrFQuxugkTdJ0NxoEvbF3e5gUMd+655ticlic6aETDSbhrvjg9RKQgmZ6+NwOotFKVkcA9uWZdNiZHuXLNIC6ID2tJLedqCrsMfYakBCdSe/3yAx2qd93Y8dbNDTtJTzOOBXAIbQhJSEcordbBXt240qaTC7DN/r7RnsCuQQp46a4WygVK27CK0nTn5dfj4UNZyI7ob3VqagL7upxQcW7Ktl0HbhW4NQcFZvxjiI5kULBRawGz+PZyt2S+he9zSqR0gHILdorKjrA7jZYEMgbpNpyV9Op8h2S0rap6Pr70UsKqvmqdGgGvRETpyT64p06rKPsKsxp5aDlvqz66rveZLp6rXQ4Ae0nbiCkK/92buESXerdXA3E4M+LmcZ1diYh9Qbd5Tb+faElfGQCufu4vE0NEUsFIJAocVVmhGl8rBEBzXvjgM+Kp312heHADrmNatIJQlYU4W/VB4q3r/+0Lc8CeXH0HN46moW/kdB3hPfwru1PBlvcKP0LDAxWAanIxANIbm59jRvyLRnVTg+tLoQit7NVfB9mKnlDyxnlrZ3w27BhCTfXwL7hL95GQoCVPy91ARNWOdVILT38m//lob+YoZxIsxmo1F709W1fM1g7/CXgPkg97pJEMvCo8ZTzbo78XoD41i1a59YfZJwzvGVnXidz5OGDLyjHCeDN4rluddlrOGrZPbzgJz+3MPlhoW5vqBZUhTLAyNimLHT3Hp2wSbaBbrsipJQ+ubqF4p/iZV3efpZsxy+G1f/vT6POvbGxsqdERTHJrv0Xs6HyErOQUYldb6EIxfJ1LrxgqZV9I1SDwwURLUg19RMbu4OqW4YvPCY3AvRwZ/02Qct+/I2H50Lni0CiR1WGfmM5zggcqjxs29Soj/q6QG/MqoFgnWHUTloO1+xv33La3I3fqn0IbpKLMHEAPC/Y5/tsv/YphG4cuQ3SMbf8LJ8IYMnrvue0U/gbMyT0wkWLI8zpN9QSzRo8+i8g6rJAmS/gDG4f6rgHwW3X68H/qFtmk6mZ2cC386GgKNwNFAss1bXBt+mJe07UPqPrCirNFWpVfLXVfCVX/CX2rOw1IQDgZplov9Bg44Yd39A9zaKs0TEYhalbed5PcNgYQWx1Dzn2biKTKNirMwCVYuRaq0bdgILgfIU2ymtWGVvGUze8Ktq8jL8eS3kKMNh/eME9ewMurGa3hU66KUEW6Nzd1UZBuscsxf8yX+bqYe26kDcnaWPtK0TqOZFQfLcG3xUA9Hzuh0Vx5t7CuCiA2ZcLPsA4y6FXQzcd/YhOtpqpuCcNlqYiiPZRIDI/q7MmQIA411+B9iWb/9Y55OpHGAK8sxDdvjAHK/2KloyDWcPECJ/tTYHTMhXZ4b/kyOxlD1yntM25/4N/1SA7FZBV9E2xAt92mr0b/VqE2STkdJj8DKkJhWUMOBzQs9IYOuNbyoJbGHMEuKJj9VdKvGJB9TZfgt9alaeR1lfGM1HFvAIle0qPKANXTLbGzJl2bi091+6l4U5d8jT394mP5Ybp33J2xVUavbepPae9AeyWxsGLaoOVbUK0L0aMqAtjHV+SdAMc4N+gIyW8BsAo4dAFySMMEa1D/dF8iPkkyYuy+AfyCwfDKg/T55xP7CoZWZLisNoN/zRU6U97JdOFChCFBDVzn+TLoPP9qanVUBgK88nnoVMxWcV3l25TsGOse7gYscLpEwpTvgYq6VVzQBxQPBkIaivC6Bcg1CdYA6ppkNrMuRKjiADLT+ensvNsJwMjohIqMeeUm8UI7tvO4/lMzKGM9lvWw/BvRfIqVyA/4v3Ym+EC9EOCJspC2Sne/q009h10tygDltjrioSc3m7nkSIvRyl88k9yvCwizyUrhi8cvPmYdxYwuWeUldE807SjGngT3MCxOh6+ZHZ5cugV+/p2DWZRXaeRfvr4wNWgqLrFXnGp3UStaPH3wSf8MMEvpxPxoEzm6fuA+5vPW5SdivwCZsElX7OuPe2wSud0eVNuFlVWNs6DCNJ3jRA3duLYBSxQdjNK1OMAVPYGuPUU5cwT9Ljc5UEkjN5vspSPiTQtcl7wylh7q91vJwKUbhjYbqwDIxbeEGLlskcelU1qT5exs0hYWvYIGpGEV+So706HScKWh9vpmcshd4Z3fwRGb8Am9s0gGJQWisQW2cYrzbRP+tPdV0TiAgg1JLDoXGnFXDDzpb7mIiinHvnaPQLHp/YC96Pme5je49jlGCq6GLDU5VfJi28QqIugyg2RjBwPXSLj60/NdFM5xM3csq8Hpl8RK1rGMhkEq2LeFYytwvh6uzuEwnXfxlL9DsKZF5QGehOmPJz6klFSBVRMIZzMsMCY4R1PuapbV3mbJC9QPbRHhirDEiUV8+jJsniFJKzQo7by8yWXHuk8y8ga37mJmu8Cj1kJMfGGd4izfvm3mMJ1lZVbhinAZ5jtz43LpLdD5IwNmKywpfEH7sw61PA8yfBhIcWkNO62cxyIGYrlo/BO2Z9eCjLr7tBVfNpSXnDA5PMWBmm5XtBgJCHLyi4xKG24olyV1+tLvwsM8IyM2G5AE9EqwL0nkPKw/sTalO37UH2KmIlp469ocQLukQE0ymNBPkAuW8JDovieUTrq9Olc5C799+GvDISn1gzeMCtvqsWOc2uMD6rzCqDbOQLOF9DwSupL0rxqN9Hhc5zWqhAuIzon6G/NIE4qpqLBPcXd/rNl6gdd15QKVWMqbfBwRgpWTaTRsuuVlUayYB8nq7KywtYDCcOV8lvfMlduzYxsqvjWRSC3LfGT9Jhbjz4eYqVDcpiTOd4MTmxmGBql8ubWKYMIh4+jYBWyDUIlqiJMnFjRGaU8/oKKQhAAgYnyM987fLQyU/VQOpXoRgnTs4r7zsx8/K1i80FDiyk7D/IsZ3xK81qPxcWErtMh7dddQ/thQqtmKICaDV3ngjazfeRiKtE1JIWFBLC93deYl4fKqriEu+VagXNuL3Zr5A0hArav+FrbzRcFWwnaA/9+6Pqo+lHrkQhRupE4H/Wyvlmo8ySwXa45Ftlcg0eDQ2pVcRouKcNHhAW4ijl8WtchsLNSWjU4f1tz2m+xMSZgiiuhbDEY0sgTZoF9KXEOCAk/d+GTGs5+ddXmxSDxm9LjBhA6kuziHHE982PzQFzwYJdqmbEUCQTRIwhEjJf9UKHPiKKd8JZjQ+hLxj0vbPv3jxZt51lF1vwyBT6O/QSnnHF7Vthi22mC70Z50IxgaZ9ntCq6mn9zcK/jEhYoH6txoe6X62A4iYEuz9YxRyF2g0/07Yzg7TvHJBPXediQfb6p+8B+RcVAzwIuK0BGE6/bBh4Rt3BLnBvD4BXiEl9HLgkqT5l3Bf85osxiyCEOjyooVrMf7RymmfGSobzx8Ju2ZkgUf6c+E603H8nwZIjdWY+QaDtwGQrLbnlPAt6eFXS23k4P6klpIt6o3AXuAa4XCxtUnhp09SPUZFnukdkMKxxBngUTcTzG6fbvhCNfcahJO3+QB1jhNhC67Oc6hydcuE7Bjmwn63g+zdjcuHPs8fuZJZ7Q8wT93DFpD5KX1Jb3uzwOgHGDScRDFc4C6lunAHvxkWgZkj+lP2XBth45LchIGsgdV21muW7a+3JmhpoqKM/0GlyDfHgCPdMcJyBM4Wmx9jjkpfqKDxCRhr6bmUXtoBVHrsGK64/iWA8AZTY/5C1Po10DI6N+OP6QUtPCOfmAn/zC+QdMfaTfIZVVkcPmb7qfFPnyIguyyL876Xmz90Ezol2VxiFDbIrPV9/1I/Wy/RlIM34T1oJGd/HF+V2GKLKaAhysR8QTlUqLZxOfK4EkgVVrkptphc/Aq26Ib6bw5bGKDz2VkiCGKcc4ojsNJj0w4nUm9D2nssJst96spcvLLRcNmGf93xAFct+/YqUaFxZfHiio6na6IBryMPxPDPBVlEVeyQB841QRVEDw1diEJUAxNIQbHkgphMmvjEX1yqBomqsQRAFCbsfZvyr0NI8yTb2KBMDrRd1/rkVGytmUDcauZEdT2RFWhWZeRrly9TGCV4UoSoTQdu/LpiKSiPm02pQNtWfP6mFaY2kYJHLY1PPyrbzlxpn7333/Pj5vmxy7K1m1jriraOzuHt3jmf0p6bmcNDRRT6MGbbI3IX1rX1yXsHK8zKV7WYBxjxcFGAp7zYEcYTbDxjpCgCG5xFyKd2efDFqMZV9jNMAP0OW8I+w/a87lDcakdWPdN/+RyCkHKyUj+hPet5lYOrcof/1JUXlYaktnYUAWrjQg4vjaLymM9Pjnq6riw0dLxQv3YzyZ3NJi3Zt9UXFMkcae5Us7qKAqlyc7hYIEMIgKAnwZN7WLwuC5D4tYkJ/PZQDgm3STeziBVvTzHYUiXxTmaO/8U78Bf9y8d6nLxrjn+jVNHXXll0h3ViwroS2Ed6kBIe4wQEr5rXNeG5Qw+jjbCyQGJdiZy/HFJXvvwqkHCoc3ROk7lr7OQ5LD5Q6MAfeGC03wa3wPPvBYuD2cTVeMcLDF6C9qg6aMVNtQhrfKRJcMTWEvp0y7yliewRwfoSq5ntMxbl6gyWlQC3Qn6/H8FWOrIvFlyzo37w3CiM9NT6JK2i8MFWnXe3/fsiXOQ5N1OH3cuHFGtvkpoSH95EaIPT0x6S2z/S0Y5c80d2+4aUufnLY7fIE8596+mc84d4UDS4QVuF4ALf0WLYGFB95mbvMu0GS2Ks66mBbDgUC1q7XC0PnrFD9XGV+GbZWsnDW4Caij2/iRXY7pAIzf5JHH2muxkDbpY8k8HPiYBPmVs4QBflOWvyH9oneMU628WRG8Uzt+U0kHLNXFRCRJA8ttTJuGcCyz67JO4VEuMF/BiXqXEEfmoVkk8V93D5MysmcFgEI6KJQS1GGTbdDXHLTvaN9fIzO3Rk27yTkdOGmdu/zqLl9NJ9E9C+lhuERUy/bCemiGHfibLFMJk0ZzjINgPNjSMtk5KlRu3TUz/ZA3h58OuiJwshonfZb6iRWtqi8WcmSljqvnKC9a/IQxTpMwrjJZmrO8yOMB2gVOEkIx1LeRoUTbN+R/iycU3mT7SUAXj9r/fv8DlqMcmaLSy1AuOI/1rFedUHW8lxJ44ZqdcmMxuwgbk9I7+0ru1DoB3DnczdncvHv3E8edrcex60Ar0k83/Z4oYUGid8+BHP65rVsiKkx91j+R7496Z7Fexg2V/++vSGuUMIVYxi+fwojTsY9VqoP9m8ze2LRkqgXZIfRFdv1eTffsvmb5VDRzvkeEWlVDiXZ5meXMmk/6FL1jpY//xlmjt7aWJlmQSb8YhWhmYtQDBZF5I/7IBHnAx4vaVQt5VyR06F8AdYfcCyAWmk1UFRuqEnDqhQM6fqNx49yhsf1VNkmZvx4NUnEPnQY5yYyl36wFLN9vaXN7cwqvkSZDutpkq4b4mDSTi6D7MtK3ILSSoMVlNn0TQkygEvIHJdFMhMlOwSJ0BnBAPD3TafIT2YEMzd26SYv5RUc9IPV4QhLpDUZt7/2eZkdfOP8WaVAGpvXXCzoAPg0DMF/VesbRADblMr6x52vja7QIV6pxDgtCQQhNXoW/PAjTBK1hgaxanVc3US/zZe6qOypuyeqrz+ei4JUYHb6li7O3Eiuxfp7vQYBftH+BD8SkJkLkD7XtOExjDzLN6SSePS8OI40kSrD84K7999ygnVzpN6+pyHZCUMBlGhbXfcJ3QTKoSATpWj9AJpcHMsk6pbzxs9WGwY5SeylsIIIdRXWLMLGm8clyaVP/1bPl5scY9wfbWEwbvz1AMIYymM8O0Hm/TjmJTtvFvsabxOZTi8DpCGF5TIi9WYusCB/rG60nHWg5suw7WJcTQNJXQrS8oV0HIQzhLMEKFDTEgy0kyCNXqG8mKE5GxaDQkHTU0zP91JVywjAreHbqZJmVXo9AQnC69mMR13EEwFiCSm8h0k0N+J+iuPnxnLHFoj8J4vkAXj/u0DfXVL6/nU3AK4j1HRrnuiwjsiPbctEk+Uu9XdjPhKSReUNDUZfTLYkoWCR/nizVJPldKZ/zYsN5EJjwH6BAjyuc3n8weeHyyHksTbivSRUyh8khGKyX/V3P5GKaPEsWqOQ9ZQzgAk6SvpZmQjRc1t8Clv7PUKKark113CenfBS1XOo8fiouGtU+0MzD3aAVxAlSDSq7XnOmKDyz0ktjAWsYyfEAYOd/u7QOfyA5oD7MMktLL3kWTGGbq2QReTKsPr7sulCFRq0zIvnvbj02RNUkhh+haYYkCoFCYzn1Th+JLCC6krhqqRmkKNRCPyEmtFMJVVSdKhMuIy9JKpRHImvDJpIWuE+aS4Puz2Osq2V96xtKPzYC3saPfdjlsyP7nFSD3Q6ZU+LqQHz5HMmOd8YE/XssPLsUZKvcXY2XQ6C2YtlCF277S87Bi6j0ZSCcBSbmUn0Ob23eYhFvaV1OT1DEwYzhslSrmZOjnysIc5zwTqhJzsWEKkS1ykioOOMp+QSb9t6z8ITMmCMR1+d0iWBn1t+NjeAZhACT0dda8e928arzhGSfQHP6xTj4wW+eQJA5QlIgSCuaOLk8jV+oZJ/zvCyt0ApK8pP3YHvJCJsa4l4uQYh/gseRAuLoO2MMtX+/xEhad5eymLAxCEjnX+eWceM9j7IIA0C6DHUKmjnzKRhTrN2IYSIEqTbxPXK4EXiWXmCiKsv7iCFo8HcFINj+q+DzlGQgFTNL8Bp347ymmyWwhYSG5262QbnO7eURPZcDwcCk/YNcZnNUt4FD0aPxH4+JxuFjEjwcZ3PrqPjo4O52u+Xc6EBVjdj0DHxHhXdHHdjf1HkrjPBW1NM/deH8uUTGYxkDGWdm3cq0naycTEt4dj4iE0wLFHDOX4Dtbpq2xXkAgsAIvbW7Ua+xU+6rtYH88jjev97NcOMFzirKp4KPCniwnjQq1OdRn2GEe3i6QBQslWlm9NInN9FAKNjy5XtQw1dMAoXOJo6xytmiI0a1Lc44kra9WN/h7Kui0RRuadV3QGoMdBR2goBYTwLOm0K3PjYXkcE/s6oxNqSQXyjBNCWFHbVn6Vb/LC5iHwtrS9C5tIQxutT9WBs9/R3T0eT/0JfrLm6CG9Eoa1idWGCMclr9NayP4NHci7XLsl/9n+3eKnWxMwUXANFu2c/3044oKwI8zJjekiXlxnCMHdv0K27O3HsjubuRBh3oCopUyFCc+73c0/B8f47m5tv5kshNvKmybF6/A88i+ODYZy0drgZX8vjXB6sdJXFnLxaYXL3xrq8JrH+H+lhgwhZVWFGBSGTJxAw7KW6VqVpX3HJa1bGwygCxK5XCl3/B1uJKRYVcadaFpgv0xPdeRadZv93c7Dej5pwAJ7cyIsLn6LD4IadLXCGDmqGoDKAGjgHG0nHaRwZgY6ulNYOiPzJNxvXLF2XnE7aAftdJaCts/X0mmDaOxfDkxGhUP+pSXNTmFqkEcw33TAWzpWqWuxu1xHyQ1S4Tc0U2R+pop9tc+OSMOvR6YZ0F8lgNt7lfHf5q/U6yrBcNd/Iquv/QiNM6DsXAG2b/WyGBn6Br8DhpuVGAqQd/9UobbWs4yy35jO1LJdnFSPjSXobTXqKgHs2Exirvh2ntWwHMdjVg6lIXm+OtlFc4V2bnbn2HMhiyBn3RhcZqmKHwXRHo46BO1/4rj8MTl+7qFsfsNWHxAZhNXlJb6+gTKjpa4CJYIRAGViAhvfk14RRuF3Y2a/NTYAVukAom08VLjHXUexYdj4KGbuEYHZiRjK3h0qBKwsao4YZUT0ciaAxohb9bwd3ywhL7rMrAHE/HRM2BGyt9TrC+fF1Vh1TsM7J6noJtsMeF2jsx7x4wTKvaBh3mXK3GpZrABgeDRC+0MCpWPw4EF5hkcBE0ZflV0MFAEekp5knHUWsg0O+f7y1I7ljjFI43N1w/Pq0Dj4B2ujPxqTRjHp0trmfGGY2LofliXW5HVofwWulI7x1XgfkCbF5l4T/nzIBkJ/IvbvjtuaYH5jSB3ueL/T0XbKlHGSXsJe1h7jxgCDeND9pshaMJn8LahFdpJv/Vst/tSMgIOVxoXYM4RJ5krH4KPU7h8GwhDNIdVQ/Rmnpml2drFTpYTzgDTDx/kP6Uc16tRUsxC5XGpwkdnxi+k3eedEVmHDeLlM5T61NBAuKuqxTykZQTXhdYX2/LWbRQ5piAnYFrhEd8kGMp28xKFEfXUoqz0THty65ddabVDiiwJyaoVkZEp1HZCweylnvnCzqM+eXE/HC9JId5JoVLkPF2HWu/hgyK/00c3NpC6M8xj34lAS365LeygXaRqrzAENmh/xXWUkx/lVl46NUTj2u57zQ8yU9AmRPz6CJIAQbgIbpxjCBe2qfUwojAYRvQpxh8aBNlj3kLekPcZFQ+yQK70xZALIApb1vQs0OFkOc8hr6ETIc2rX9C574ubnlQX0aQTJZAKgZpoP5RFb8QZnVyV/Yj+oL97bY6fHE75eVP5rJj50IctkYi+iwT1BeDyB2G+xtf4/wV2eJdn9HAOKi3ehHMDqBpoq4MS4/4+0ePNuvv/zpoH8ZIBw13TXCBH+6VjNqzbD0oWgS8K0jqO0Ytqstkn39lYP/POM1x+phoBU8AHu9y0SVq1E36M78jSDhc8LRV9JrnfPJ42MPa0yjvvlYRXq5fKkPZG6RuIFZuE9vs2NNCRmf+mX+8Suys7p7L8FuQqFcahtswjIqAGwIIHwag7tN4zK9F4NZ/vNu73GFsj64SalCyTUcVUFAqVVdxDr3zY1hfXObfhZwdW23Paop2QV5QiKGAOIhgCD8txE4fyxg4B5GTnooJf7YfoRi7gwxb6B0wmrGOiG9F0yGN05zJfz9g97H36Dum+PeovKdNRhllH+SUofoPK9a1JIY4EeixgQ0KB36LfqpW4EG9oIGBtW9OfCtM9ZbzEiXaceM1VA6RMHQORAXbqLFqgBKtDzvOJs8pTSKq0rZYLs8ukVnZBKjE5aJsTWkw3ES5LOjNbWqgLpvAsKbJgr2ym7wKRFna2ZBLCfPhUsRIixTwmD8zmyq9L4SSyA2IbksHa+3EYxACW4n9BCjJqD+TznfuN6W/QBcDqABb87WPNGKwUkLJkVU7OENSz5DCs4vaRIndGz+6tWt5eTkvFvEI04yQao5Vq0M8RKjLT3OdyNVEm7s9WOVtGT3r/lmfBcxAUc2dJefB6IEif771FneT0+aMz22LDbklVs+AfegCgfUrXNRtf/eCR5A0nfyBErOr6MeAXuI1MSxtRQ+vZuZ7ICqP0eoP70Foom/wZ8U3D+oafKXh5iYFAUCRQh0U82Vr19EsZWuBjzmRRBTSFixxQBie1Kco5d8YzjP1cWfPLKfR4ZZUKtcbO4ZyuvBLO9ZV4wGEcmKAaZyEQY2VfRVBHLc3zlKB3QjX3uhj3zTn3Tsd4ad1CKRWOIkkonor5Laz4VCsGoipFw5zhV0FPLqYpeTvu7tvhhIyoKXn72GQ5mu32c2cCKl0Dr5aOXPyyWKqNGRP1rNf4Blhjj2VKYjgT/Abf/vO6OV3zip5HLy4Cd+gJjULJkJ1isuFg/YpuLD7ExZH/tK1W/Sr6IUQTXkdFk5WFQkt5FOTCLYv4eYt6lqhN8R7cY7Yv00jyYbOGD/WQjqqc+hCmWrbLvyF1rw8W7hGKy0K7/0GYDvae7eeufeuC7i51r3v6HqF4Ku7f3ydVH52WrijNh9l9qoi1CmCfHezW153VVtHrloesxMEjBT63q1LgXqk23HVuhEFYhQ4Cd3VfV+MA1ZOD+LAtpygij6JVVZOwOdrhflwQisJVGbfgB3+iSiHWAZEcg3FM41tYKIVzUKwPpWvNp5VayeE//W+NxSxAxe3pSy6MQ4PVfapXzLtZWkFtydb1+7zKUyEWZvaqVoPmeCgQEmau6rcHNxbxXdvHG2WOu3WbGA5t4/dEgyE62uim9E6+CNQ/L++eU0abJGvekbA8AXqIxzXh2vICguTqsdk5XM/aXrXVSVEcylcIWM9ttba6dsR0xkWABGX8L0GgyiandKcF5QmlCzYcZyzqDt6j0Z16HqJuiVn36IOG/ElssU2ZbSPLqQfryC5f16HueJBfuSSHAH3Swe218TajMsQSdInjERtgjwLerDbG3H7TXZtKe6D+RL+CcddRqnC+uIzte55FW/McjwpOQZc9WbDNkH/NNJVajWw7NWRpS9EDKBueq3FnqgxzvtTFFyxcr/9bvK5yIZ5okJtwyeKumGmYUViN14BT7cWeqiVg/+GpjwWXk2Ftk3yrEVYmJcvSfvevQgsN2229qnAND8iC1LxSCWWvecgUmc8h6bNpUczEs9TxBy0V6/9jTbzQVZSqElqcQw/izplTEb8YCp0ceZHhceX/W1ZLN1L8yMJR8E/3vwt/0BTzg5EWgqyhH8t2jEsI/pwIFK0B+ZEwep5yY/vsbTR21zPhmkjGL/iJMeVTKGklb4+q3n7YMXwCOUNgxw6Jgedo8on4tca4UCsbS4t9VrrB0Xq9foaEk/+Ecj+Vb3bS5z7WkliXgobAKMpz/lfQHqQs++Sdx3Y4rGoVAzg1rvAr0i8alIb2hUpJ0daxpLm/GNHODixOe0Y/F+A8mKqoZl2MuKRIZyXAV4zrRVrcetvui/JoBmnqUdSKdSq6t3zwBI6Wi5zwRQbkSjM1Ia1BY0n0/ZpBd2dIA7fKtLGqFhLcgYlr6Yk2/yBcueo+CuF57SUpoDkxUrdVbERBPNO6TRH7GddE1A6ZoXypGTRrzEARrCcr7ka2PZFVDkOpoRLF6PyvpoU2l7EkKdm3X1bVrvrOs9NC03134wJTSW1sYIU8oCqAHlpYaBoXIRlDq2dWJGSwIf7noVyWt4J/nX4N49ObQ7DORII7Ugmqz1vjVXbJGiTI5ZWyHSj/PEO7LpW3XhHC1DtZKbXCrRGee2vFpwCzhDfCH6cwnF8dGydm8ocIwvpXjEfAd57kyUjIDH6yWxzE2t72TdnklGbNJoOw5dDGbE8GVsoRV2nt752XyFxfZBArfNBrrmdHoXJNpcIb+fa9Hc1kcMxxVEfgX3AxFMOz4cOa3VVgNwXPktbRQXRyyBsFtBj6ucfSVT5RvsQQ0AiuVr8/P06KK/yWXhc/R0CeQt5cROWHoFah+vZXukeeXGKzHLheBwbkp4WyzQDgHol7BU/vEOIgU6DiZDjp4yoqx/lFfMVR41ViopFT2dNmvSwwFGI1ESj4biCn1TlL63SOwy3n9xGa4XONsVxUfpeEH+qDQ4/SQQ4h5zI/Ah+OR0nvDgXP/z/XSZJ50m5mx4FvBFh2rNIUQxG7qV7/kO0Nvwmg8GLzUM8htICvojGnvD6VCrCv6pq7WJV3DobUvqiarzlG6+1pOvthEJ36WLYtpR7XQO3K3aGjnQ+4TvUonkHxYPt2E2I8nwSKKX1jX47WbfYYPL9LkN5ESSCfkdHwtuzEvQpNpZic1/9q1seg/MRdaf9HctQWPhc/o768slwckjsCuBSpxohf3580gz9uHjLDRunzwOZJsxkQOSCU9mhGnh5Ed5Eq/mWNNgVVJNBoEzfwUOLtiPGRoMns5WrP49GhPkKGjbZfUQefHSyYXrZ1kfqYVwLTebWpQLSDqSVRH3w/c0PG2D1yr0IL9B2ynkAvTMOuErrhz0oglre3h3v0xYeO2ffGrGsJr1SszskoCU7oGgBtHcVHv7cAkxY4fheQgWZSQ+r45EJE1dGgpaO7+V0kmaN46UHJA4vQpDyjQmC1qRWI/+c6QzJVtDe8SZEkUG0UE4/RlcK9NlrDcr4tpQTRZpHUwibyN7e32nupeeFgTmaUh4bC6wt3JSusGcXyko+a3286WOmGhld/sOx31j6WEgWhpaJJaTIfbz1xRPhvTcn/QxbP5Ht9N7Q4QMq9HHrEICy+388mgagfAtfjSWlnp2r2ueiZ0exRLJZJt8fULWJ6uc3E8Ozgunb6r8XjnTzCo3IaxZm66Je9n3r+qdJ9HAjFxqJ59HSORB628joLfQwKzAo8qxUM5maFvm515fhNzwFI430kVImERz4xD7c7aUf4GspOIeBgjRb1odxgqn4gvqDKiyNWD9vLC8d3fmq33a8z37W18G5ze3XJ2LkeK2p7cAUQJXm6h2mxErOEjx4wGAJcTDa/B4QGAZZ2G2g4nddibqJ4MIbPGBDhzgKz04Xp07x0lzO6xel8pgd5qME90PhOW79XdYhQ/f4n2P56Uc4dfcs9bxkgmUsHNCgWCT8XbiHeScSowkb170vxOhlX0YSN0YytNUt6FuGXqyc6dMChc+snmVzTTGZkPs+1t1CpQmb9g3x5ssw8vLsNIZVaowyr/HBhurGn7DmW5VMy1nkE9refNek2R9vGJuoPv+cgGPWXEI841QlOfFhMM1Yj0CTBCcjxhjKMWpZ2YEMFO2CezyUeldcN1Ary8Nj0S1WEhKCMYeI73y6VIThyTofZBdqhWT2jX+wVjtAsCeyDFHIyA7B8aPzIqJ0jsLBHl41UC0FsLO6D1DNweCtQgmOIW/aldqJ+c+k700pAmgSPUdHrTw2g7+J8mJELOv2/DobytAYpbqe7MfnqmMFgC7mfHbjXP4H8LXeeRRQ/guzymzy0CY8nUYPwpZ2cRFwASq2UZt8KlDW9El+gadW+HGWB/1audw4alXLga/oSLmS2jXPp643uZnyVdSAeLw+0HtTLnFXQBsCSQukKBOent3ApdIRLhxCJyU0OviIWzghOXmkgcVgbm0tIxjVvWUUlJTXHVm3hInxkhZLQVeD0R0sjBPmRPe9vPnZVGZb9pfBVq5rhsTQwi3EtB/0Ze46ARYU7K8gj0ooR6B54hC9lEyhLBift6lOGizVtbBtAwUTlb3oxhqK4Gq0mdlDe1mTu0gso1qst2FzM2zNtR6WYxvPW+rEd+31dbQ0fMPoDXk+W5vsjKWAWpMULvdLntAVw6jG1RZz+RwECg5wb4lHdHGjjbvmYFVuHo6TvNygDLgEQTc7rp3zmwOsD9D8xbEQHSeo3gX8u1eSg+U9pyxzEXmW7ic0BrbDKyupt7H4Z83uSA1tmgFuXbbez2vTbDuDYkb/UhOzubUEyAxeGMb+3LEB6TBEm2bRG0lCHdjQrOwr0ZZVxY41SPIe5Edn3OI+wbI3HeRgrmsjKOco7Ndb8uhAq4Sg8TmpXKZLRF0zxAuA7Kw9wPIIZMy7rF1OZsnEdQhfYwLXto+hJtZjdIeDz86IR6DQz0pddGZjgVuUuSyHkdjNjzYqnX8DLpGatBNBMqOZkHu+E7dfdfD/G2/Xp/e1I4B+hlT5VlSAJSMqnXJWLP+N6S7/N7YfDnS7uR/LlzIoWIylmlecDhM5S1QmxsxnXxBt74O1KjMIA3wKtLaIaQi8ZtdBfDXBMXUz212AHi1jzPz7L+zy8ZoftwtSesQlJWIE7BVEwAPKQO6/Tc0GPNwvLNEMhdOuZuvfyeIFTctigRufEZ4ddqqw2vhkQHfu51oKDM/Y5+PQTM/9ZkJLyXE5XAEvMVTCIC/SnFfaBVamGf9t3kUZ77d/AtczK682Q0A9n9aLnn12NXu/QtEhzG7DIkDStOjVvVjzRTVo+aRzhgcef/TqYaDEz2/+1uCLgJeaCkv5S+S9CNBAlnt24iD9LLkptMx7mc4uu76DrTPnMiUw1rEDl2FGiwLb69ukDpxklHO6SV1Jw2YYfYH8koK+rFNqXcTl/E4xLq/ogSUVoQxygWkuTUyAwIR7wsDaBe6KfjA09sjFDPFIVO5JPVbCxWareGWmF3ConZzq0GpcMU+4K8CEf7a7BtCrehvdl+CQ74JR7qCE13kPTOb354TLvztL6ItKnp3rdwT5PN0pBrxCYkpwnTUTL+xrySF+9iFJAR4bup8eCKeXzQKKIFB6MHVPakfx+noMGmQj5U7JdkfHRxh5nr+8MeXGS0IDwN7uPBmHDe5xEJuNdHOsigGTH7Wj9s80tt2itI6/g4YE6r9mvSIegwtIzZ97+/6yZK4j/5/3lMpD31cLCa9aHfIc52zVKRAHT06DgO7p8XH4k1eY5xHijln/JMOfAUu6hFPpvw8FToIS1C8B6fZ1IESreXBCeDy7AGUta9ZEtLCdEZaQ/RJ8f0rujQwDYtcFBm91zb1O2ujeFBtgfIAgkvqGPkiGdT0rNudkiNyrdBi+HsN0AmwToQNC2AS+orSCMrPlIihZzkkQeCJkI99s40hk5KgeFjzMk5QIRrAu64ZWzMtAFjEnpllfQ+70H/LA7FnX6G66u5r/d9tPR7R8SkryXYt6fSKumS3gazMzfQoVDwuDn5mFq4KA8Hk8VVn8Pon7DSQJYx4p3u+CO8/8QQY7IX9gGCEE4ay4z2c7ZQVhTFmAwzfF+K2L0s+13QvayX8/AynXYDTuKR5Ro/u9/RGaQJ59slC3vOG66IVFtdein1YgICcR4LvcgppXi0CW+XW5sTc3tFe/ni4G6tClIaWi+vnGFmownOac1Iv0rLGN0UKyGvVwl3Lc4WpoPtnwAXMzTKdNn5ud3LGohWmfUWioqjdmiXeDIFhgpqnwZWRn9LEIwOCb/3c1Yb6MowJN5n0ySPDEaQ8faYqQvbCT0Yf5YqToLm5W5RyVPvk5XMweRApDuwpMNsV280zTqATYwWYz60qHd6y3NcSL9jwuqWQqDXVWScEy4S0C0ojW2lfxzR+U0MxenNhb4SaWpt6QG4kXIGfyJOgTYBotWassLlBODA35h9qjQdXRSW3beGLrT0zIdJgf5BS6rWMPzNauVACJwJQAvE1rDDMfieDGnQr0Xm6oMu5jOz+nvh7gCj5Bx52aJd2dIZRnzE2cMT3BFAVBqu4+tZZEFtc8S6wIRk2tGkCK5KvSKP576PgAjgbulzH4gpkwWO3rEUMBo2HxNNiHLQ71CEk9wnG1DKcQswZvTZX7lREGEPCNSDqxo9BnWvs50i4+ijndczkZuwRnNL1dCJ/wg9Prb4Vl8y2yAeDKRT4goNLvohc6Pp2QorFxfooKlr976vA3UcSMTpAKccenb/9nH2eizSkU3mpxiHMI3hzMPx+TiBZVE4IzuZw3FvoOGaq6up0PGVV1Nu954WAQJgtpKjJndp0h2Q1kx2vQFNnvDkfXoHA02CHCgZgDpvszekFuz1Nn6wfw6jaOmJjhKOxBnyBImQcfg++PujMvIRafN++H5Bt6h2R3PJUqJvdYOOeBIQubOyv/gs55RIm6Qfiu95V66wfJ/lyElTlGsFHuNgothlFlVgaBqJO2Tjwv4No+33rSf9mdMl3Kw3PmOAs9lsTlMMyBHtQH8y3BInZ6UmZE1GqXMX8PiShDSVgnNYrSGlydvTm9tc1vQe0AbajmDqR0Fbli7Sa7Yx2HPwMjIE87LNLj6cuUKSpqu6GyeBFSlkr7fZXT7kdLlGFbxXKVcSOULfST3drRLsEPK1Fxr4elfNXgA/9yAhD5XFvkx/TrqyWwcmLiHzuRQ+I8YtajpAz3DPArno2/WRAFLXCfjHmlNfMZXREqdDNVyswhPrwvmWEUKD0JN+tfqDD3V1hOz8wVSebH6AjJxtDSmB38wFpC9u9oKYHZdm1tg73aFbHjhL5y4QWljsgxU1Vf/jfxNJog6FDmpTYT7OPC7GpTnEcr7/YlmYNLOLjBtQ5ipSCZF7wAKBgd7Cs5sjJ4tFTuLaExKOtyJUAjXTBX9v9e0g5fzlO1n7nrwxq40E1n7JFSgAA84nhafJQOUjASEq23uN8rDgcPIAZ69DY3YhFEyKo9RUUPTghvODYdHjoEbvsw1SyDkDupsBm4zQRFp1OrvP5SD3jBczwbJyVcC+VTcQlE9MZt0WrD1cBzJOlhMUziZpQ3n9hTDbobciCTQv5PdVDnEZCXthB24GyQfF/tQHUCRReTjd0ZhmokBBJtZkV07Ih47mdsafMmdFyc9Mhs4HDFSAb1eucpq8hK1AKDdFJ2Chl4b2LIW8zgBA5JG2ewAFeeCq0wX4/ZwUuZfE3VFlybOmYeKoMhkcVxMj5O7k0Zcbl3/b2ekBmnDM68wjgBZTZliomiedXjOXvMwGGLJ8PMkZl0wSHMMa7GF8+z1b3Qvp2RKkrs9B/SuswhLQDcTPtnmO5Erub5YA5X4Mj4hLQ7NDYtrDA5FyxMRO5lQS8NHHS2cwlADg0646XW6yBvDFsdKWFMNy1B2kvpR1z9urS40qBA9RrG51nzGjlFOZBsGv+teOS5HRmiY2I6Euzpq++vbEryGVT8zZk9i5HN4weN+sLY3p6PV6+gpqpaeiDmDDI8KdRwX43WPZxqlFhQghTNcfE9MN8H9s+4p2nopXmn+FdNPaxAaho3dTQvCva2G9Fez+83a1K40pdiGX8qnJE1buUd+nNajg+fv2tNbqm3bdYgJhQC7YXD3/TCthtp22jPm0FWSYAg/+n+WLUyoK2rifkFclu520W9zTL2BUxdMwlyhDuklWZvz0tjVNASfajVzXEGP6UhIWPVGBdp85vq2EVK91QY3tgu+F238pKm3J6nKFVOfkHB8MuPph9beytMWgMEALHNNjdWoUYI21/1sGdJ57oTz/8KpIUqBEVGOjw4pbJx58eTSSGIiFzAhYADT1maJnv/gFs0esdDdE7fAnRNBk9VyH/MQ4ARwzOAglDzqoM27211jlB2fTezt025trUZHrFKqOlOLel8N/ANfqDAoCkLxgqwSfuA6FoBbBQ+Q+tvbi+H5aqZ7DDND8VYACpckO0ZzxnYW56jY8fAu5AnbuhnwkNj0E0NJj5bYiIZEPp96dz3OGZfD0qkzntftxojXhigWFgWgX4tkRdDL5Ry+C+t77VKPRFPiQglXBM8m9oUdn3cVoLFGSd8Es88z84NQEnVJuFQ8LzIKBKurkU68V4/8kmLg0aVMw7hqQvkFHpByPEKUOATlmu+ybXPNxohBZo74UqlD+yHmLVnvsjfp2u2foLJoNDoRLSV7VeUclWEAhPCdvmQ37l+RjlHqUb24DJbwkR4wh6LoZPQHtLaopJrWg5+ZaEVOMT6WnP4GVgY4hlthS2lB/FSLyBSzly+DvsP89WEd3Dy+QIqOoAG7W44Cae4UHt5R0FZPY4N1/lb2eZqFlvup494VBj4J9197Dao3iUscaEdcZpBgRqwsPhKJphlUdAIusbI6pHe6/PNzqeXL4lJfIpOx3o37wZTp4fBiLA6s6vAF2mDEksvN+6LF6M0MW+a6Mh74btoIjggNvyTpEg48fyhTbNsh9RaCpYTn8jaoxclu8thfoaMZVhZK2P9l1y12dmOBvhsDbIi0Ga3eGIBMZVxJMSWotWIGh11plxyc24Wqacu2/s3vdm98rm7Tm8oQFm8LILJl6YOPELnCTC+KL4EVdhgLQJNIjrxXmBXV57m+vtVc2V6E2Av17mFr5TNHnRv8RyHY7vHS7el4tnkKd5Q++r6Zwl9hh7gOBwd9+bRlhdnMpC8IOCfhKwRIGeC13KNg4ZsgTxeNuU5k3NG9jEcejArqS9Wt3jiOj6wg0QbqFvLJFii2CAJfUW8ySsIEKO+PnMNbpRkQA80/MDfRS2sGuyLUZev+D/9fwZPBNkka+bXmDkI0V4iy11kToVZ16JmzpjmYTg9O8L+7ZUUaZwfZF4ZydfJPcGn723bIKwB1KIbuNsMzyfwh2d7pvBYClEhiiKu13UzS5ss8dfneBPezwRqpY9Q1ewno5AAerwiMtiTu6GgeSyhBt8JKWgzwCc4GWqY6bVAI4WLPSes+/HE8pA/NbjdrZ3Zi21LpSKGnm16nhtVsfHa07kITwKusj1AaGWmEPv3DaxblnpZmtPd1I25SgM/gdCp4gCjBHGE/9eBilMkPbusV00bktAnNoiUKjTb0og5AzWcAEpQcAmn6vXmKS3jdGzY1kf70lWTHdEsZKVEfI0gX5zUenaaCBMEOJUxXNZkG7pbuSxPFcmOQAZ2NFmdiKWlWpas/klVkX9qecxMv0xoS4xz+EIfW2U/XKviWlPGXkVYmT77I5hLsOsggHuprCbP8dpnjh+3IfOrsNFpJy3prsZjUtjpHWh4aWJKoAYHdAAFDk5vuhRrCExzx8yLuoDNtrFC0e+y74tmGg/kMh0fRn/KJRqM6BtU9/sdwPGr1svwenEAvYFaWJ2hOa80cdaQW1BPGioYtaxuvLur/2sHCyhUcMSUn3chg+kX0LgD9gg2PMM5R17DraIbUmZkJvXk/2MdKLRjHyFk4oFJ/h0fGswx4FKJidJbZYr56U5zt5tCM0VsOhr5bxd+sYci4PyByH8/2Ok8ehjEtIlaf4knLzZs2KjVcRcVYBq06+QJaEO8mDGI/VKKuhMfXZTjk3s0tgBirUostz50RsGH+WNS2974ax9lQvRu4a1NlT8a4TGjHUfLaB0KdLUmUF1ZvDWWiyJCFLPEJQ2GcuY4e8tldmHzqS4cP5f5exr3rWv1WWzj1IGvk3ZnM9UZHCC9WmJKmkitC7rtkVpjC27rBsIIJA2krYb/se/jcZhai1ozqZkSNX+bweCcKR4IIGAtmjdPlhVV6JKab1WCfiYtdR3Ts6bOPkljna/HPhE7s58ZkgnsibchpOmq/SJ9GGwLmLgW40OHqAGEFr379mhFDsD4l1PeRbV3xvyPhNrmeYLS2X8kfJpV/jRCVvhAAjgD9L+UlRhuvxZeDxWvJ7GKIqfDWW8n1GiOA60k7G4sR91RsDR8RB6xSFeew0efg9zyV8MmCQvjwCiTS4Ywjp2OgJI2F38eeCZaAzMP98sXaK2xbO4lknDUoM9Ar8pKHG0MIfrwcku21qe6RjmLX9gJ/wTVxz2jBX8OdM1ILgLe5IkVwkXdZgzoF5OuZQ/RUYhdsOluciklvzcRnn/SS4LK1NLfa9mOxA9WS6xDxSHrCkwAfEcjDrKulmjVJUVMvhkWs9JwzmipBzOPXI3+75NXPqUrwDHsG4vegOWdaVwix9e3dt+nJtep9kKBp/VfiRIBzW5fjHO/YMmkD9dNNQAzefYrUp5iyi1SkQXeh1KdsmmLX/rc9G4FtKHaWCRz1h90dUkLuRBxKSSxyvFiMkfa7ZIUR/bl8kXD94whThebxHHs2uwRVcYSVJmUvCrbzAcCqwI5uPsVpKgc+rosHcd1GwJRK65sQpqOavFiFEjCbVMY3SdBwCUSUfwht9f2rWClouhZAZIS5ntMKvRsJa2rg2FZhPy5TgmzSJF+u4KeSEcVaJ7qbVADkIyzayKsuBW7VbF/UGoKLCRju8Xr4IZHoD751E8PTVos0UoGoNjepkh+bO0OHAYRAQGE5j0WumAuC5EUlqMbjljNwEl5zR6htxkHPgWRANGKWCpArYCEg2yVkJFKmNsv0othXK10aze4CvGb94NX2A0r3AElx2JVTJGOXBugwC/lQJLvUOB6Ln9FQKx172/bpqfbjEhqfCpn3GaQWyuHZfyl15ZPvt1pXm4KBKTo2UgaJOCcfRLOooATyLXDJx5SFycU2Df3dzXJXpZI4KfKiWCgYl5ckuNnmz0kHBna+V8l0pf3CkOvsPzMqr+W/Aa8lmMFrqWJ/HYqnru2llOxVt1F1lksOw/AlWHQwtTa9fOm0E1C0Bh8KACc8KT/i21igzGylY7Evc0MsZegPKH1sZqCiU946V5YjT61r7A8P8XW2LbkR98wv+acgWiyDUnBYQnTdAJio2IcdcjBlKbJAbhb7vztsPHT7OHKS1HMc6eJXip8aTOd3Y1WZDxGgT2HapOMOxcouMsG9J4S4wmBbEmVeUAq7WySCvWYtbV9xSCAq2KN9z5/GxAl3COH2r/pWDs4mtoi6agUC0uiYAmfprG924OFVGTlWJa3L3U2De2iXkmt57eIYVQTG4MCeQE9jXPC2mgo1JvEsiO5F318e5Il0A0N5i2h0NJRW8TXPv2Nse9go24+WHkxog7ysS3OLiCZfdafGRopqfK+VzGZQL8sy61JUvXUPBevYyddBIUw6ljIKAiD+7hTl68SyoXIgsI919AmHTUJ0bx+hVumVkr+MGQ/5XbL2oMjp2K6xd2RZLt2xkX60YmJoa5tXopLImFeov5Xv4HAB+CntWAOqKArKakTOdnSbBMd8xeOKHuJnfwPav2JES5mkup26wxHrFcHUGW12yLNejR2bUIC2lxB7aVIYczek92PrXZhhx/577eauX2Ip/VfDNxQqjCh2vImlIYWA6cvgJB+8rez5RsVu2vLLrMKpVqwC2r5+WubYDURFcu2wdor7II+LNcEerZR1ABiXdL8yYnEbL/gWVRyOC8WmJVSVfOc7a+5ErRjcQEoYPuzByaE6FmAt1Bbwa5sTERb+Ljb9j2va1XYqRZ1tu3/xFRZwUPJ6AAU4S63nwOfF2dkzsMy3GKBhZcE3FvAgd2Pq+pMoOjJvhmy8ZPqxvF1Rbf4K+icxjbImxV+4ZHPmCCXTPI90TvIYBw4lQuxpeo/W5BPTQkF1maVI/GK6ag2XEX++052HJ6Kkcz8sPSqXpeGDzHBjovh8BMxSTtCk/YLEUW8V2naoK7S9SjrrkxXVrkaWtE507t0gQpchhFqXB0Fs3jEB+BzI6Ul9EjQTWLUpGwAJi7lbYN1RMQKM3T+vmUSsIaCq20zjNlbMbf+pHg9Mgd1wXXOmmUfCHz3gBm8tzrb65d6fjqBCULGroIeioz738Ab6cHN3gU46XmAFg6o4HkUeAEJZguGL7Fs4VNbEDAWQOLZLW/cTavfVTeL/oAWJaXiQUr//mMn5fLXenfcpYh01wHhHczVdvjuThInmJ/il6N50Db1aPeElPjwTpyUyGVtQ/b5NHTD3MqjfXPcNqN6SEeJL5WErJ2YEfcNQsAsx7z6HsbyKcB7CC4UD7xGnMfvg3fmw3M03fHRVyCXCK6HJ/eZp4WgWUjU3I6tlroBR5NvGbauqAA87wDVsj2nmZjjjuJR9nR8CXcNtWKq0ZZJluqWpT2oYgH/tIkhgcSGOrCnOJt9rwcXfuESFF0UC4/I2i4PSwZ+Y31aZYj0gA9IeCD1ncrxld7E3+h/zCax3lq3eyPyzAmtiV4OMq7HlmWqYO6gxHVsbxl2+1eWhERyORkv5HdYhNd/7bSpURE8Fbx4E6BAdXpvb9A523AMRoM1QgzIm/ymPc3gK6vRh9MgUckiIB9asxMpnLcAMmaW2U1OGe3frklr/gA0ZdzK4CSDWg4EAudSiNUjM5yqMmuH9C5E7UzVk383Q4ipP+FgK7U51P2gFEBG93GA3wN3jS4khEgxshO94lIYENhFhzFSj7n2emk86SH80+pgMhaiLzzVcnFG6xtqw0KRCk6oUkLaw9KVjF0+S500s6ZPTeFE7Aq6evIJzWUDXlsg7vTZ6nFguEkRYaWzhn3p/EDRwvPYznUcC5iET+1e20TgDswu8zeaLrwOPzPftWCxCg1JYAApe+Q4TbC/gIUN2UEhAsbNgHERtyNkNkiraDFJg55UjsoUIQAFqgQtmHoMjuvAy15qE1rczSOyKFa8iSK/nx5oBDbrK5Xid8+A3xiFEPCc9MpNlTB/3+y0ykDhLN9H3R00BUvmrQ68gRS4Hb1OWgVWZ1fQk5QGlbpImzuKmAFUe9DlVryzK36OUZxsKUwTtJX6u5QcNGEvnSjKNV55SHmW64PlowTp335Fon5SAJRIrom3CFpfgMNCyYwJsp13vt//lVNjwkukPuTwg1dtlqo8Dc5KjrmEvhfHR6nge/VX/MYfDQgodEMqDeourdO6FNSFHk2uQ6A7bRwS++rP47SQ4+H+OMaRpd93XY0ZH+aFqCAaSZtu6KA5p4jGAiZCSAjDMnDxYCsjlAsEITD8VorQ9+wHyBsOCI2J5Ax8lnDkv2uof9iBY7usIX2ynIUWY4XY4BxtkbQzohOycJ8W1u4jv7ahxeo+jfninWBN/tdhMeqqe27fYe7VrwStdQowFQeRdDpdTdqt+3X680ZOKNb+4gOWO1QgBxox7cFSjWbEes535r2espzWuLAbBQVCpQZwVyORP69mpubk/mJfZQ1WtV7an1MTRA1LxZJ0bs+JuLw4ARcsm53sWdHgZJCHphb+zdtUQ3N1a8D99wsnunm/uaCZ7WHjd+jHCgZPxkCC0AYsdWJYO5xhh0XL36495E3aR9ZgFk9Eivgw97kz+oqS95Fiux+K9ePQuQ+TezamVcpSvjph3i+Lj/ihq4Jz09bqqldU0jPy8D7AJetoBBS/Ss0nRA3LG3cqz2/xbqDe2fVpg7tUMup07s2JV+D52ZahaU3Teiy1egubhwJSAL515um6b7Yau6Nsgkf9a8T9XbsAgD76z9QY0AwteeB+eFqrqK34KycS9Dw0sIj9+UmAhob4z5u7gWpMKjiRobvIkK5nvv8MwrBv7gBcAnHrkKbeglVGYqK9Sp01QLaqUxtH+6Y27/kqMUL1jH1nThdJH2OLmfMSZu7uFUJ/31BJEkCy6Cgd9Me7JKGykVIVvAOA88AiMFaCQ891mXeGkWKEBDLQwkzjmW8kLjY245N/ht60ULSGY+SkQakNioLwQdkwt3KgC7ltvm8IaZwzmRfcPuTcY/sD4EIUgaISQjGp26en67PCBWvWOMajrA1LoeW2VNf3by5jydLZdGcBcu6Ep2toZdOLyAAcHQErWQZifaX9zEyBxhNaCr2AfEm3aI6PH1iF78MfSDDbL8MSnY0oyhLPaCdh+8kivPoQJ4CgKdAb1SRGug2sqOVCH7srqI/5PZwi4viZzEGdYmMJtCyXpGhmhU8TtsoBLqNzoEh2yXqp419SMCJwcGhj6NqJyijv7iOLFnxysxkCajDQRDW6P0xFd3qNYxdQjpZSb9pzHt1xzRQaPfoYS+LaD2H2X3MEl++2L68pSD8nmyiDpXbuncA1UK9pKr/6RkL7xGEAoEzUACMMUvmWy7kliBrMBgfPjJ0owuWA8kG5G4GzNtnaPY6Rlmm12jWw2Co2PN/qa2F+6e2NXCoph07jkdxhPaP75T+kgIZuxaWrEf2/ehomzIViZzWelilEmKhkkPn/rbNlPr8uhR703b3/DHQ4RaJZzhZCCfrelUk3AySI7I4QyjRyc/tIZAfGZOcv/0yMsz4hwM4tR7vsnquHv2u4N5XKeN8FH9PUE8fKb710hw21K5eAoQBefwbts0fFs/rsujsxqSyVdq5L8PCnXpxFAONq/lg9AePGr0tD2Tr+0wAVsdPiWZz5lyHKLYl9ksBXk/maAqb9sqcsGHbTjYesWdZUNGxZh8aCSAzR6r4y8QP9Du/LNjg1ebp/6bVXfNl7box7lFIuTcREEMB9T7f4OHsJp1OK91r/LdlB4DIUT9mvr4oeVSiZZI9Z2116I0qtTWo9k+J2JNLyq99zaDsE61/nEZRg+F8vBzE/yDsqV/WdemNdfZVIl+CnFr6lyxsyrhmFCFPZTm9DWItqBD6abYEdttfnyU/17rTqqaqzvx1EqSQfNP5H+YjOd2pO1uCxuMjfHPiFDLPY/vPQaxYPeYJwo7Wca0KtW3goiAZTPrRRZa+1s1nQGk6ILHR1W0TfaoDgaSAqpMSydAZUE585eWIp0b8/xnHuA0Mc3fYNry9z1vZH85FmDv1auhSVrRqDrQ2v0kApj02x1XZI8twOrvvcaKM77BX03NQ4Lolz2qQ1i9bk93A2o63LAs8TLMpX4GgOxpdlCHgAVTLzWc4Q+v+Y/OkkC6gfkl1Qt9cDPdL1iwnG+ME2h4tbM6asRYCc40oPDyqDHHjwHsfi9mF8nyKKLpTgbmKEkVkXG4HkWTUM+8jx96XjSDobT7/p6RbDXkBwidyC/5tBMyLQM0ZCC2cmQxacL8VRnHGplShncC1KaA+LmYMoIG6dqooYTuUfhaZX9DJZbTL/qp0nlAIcWchVTGGPyZ1CCHZGBh0sKn814a5lBMInej/2DwgTm4OVN+7yloAtRGAhq1MZR6LLdhU6dNtv8BQKpwdUZBtNEXkguAW9xUPQMKYinIG/ZdiIHGHMkHgRGFqt6bamrn3SKaAqFvanLvSiP27rkZtmGV4zC80p4is6Qa0o3B2H6xp9iFXZP8UbzM2JUV3vF0iePcUCV7CZYRLHu+e5teDEzdhVa9GbSvblOQAOGNb2dLDYw1fPw3KJKdly3FMPDuWzeGcyaX1a5vX7/Tz4DgFHZAsCnIuOSkLFt6r1I6pew13zZ63lRLFWaDw0PJOwh1xrHGKFa0BFxCAmE6ldXxUMedX0YrBIaC+ozvbp2hkOYhJZ3xHW5b1E+KOCCWJTZDNy78bQhCTSx/rNQZFyrwAcWq2yPmKiq1KU0ayP1Hr5HGnaExGeX5ffRc0Qrr4/9J5KC/Z7e5JEzjmoAC2LkeaVIXDrqT4usvqfTjGz7P7cty8fABadDRpSRmwg/5JMSpzRxlXZvAxke+7HTwP3l6GBJ8j1E5zx8L/Vz9ULygsellzsQnG2Zq+mlTX4yTYvzAN5znZ96X/X/fGenTVXndGID0vZtnO3yDDV3CYjMucTvaBWRS4YovIpQxfzJOCj4RbhnbP3nKL5Q5Knz8l5nYMNrWDsbJ2/hNUOTB500rW6aQS4qUraAsh9Zlyzmv4x/5zxHkn6lu/rIGY/dEY/gA3m/A/0LNTqDOusBTT50TASUCdmLMK1SYheJFJF54+83kPPCCLa49TEm3q0pIegQw37J9uq3Zo0RIe5XcpOA7uRhiGs+nyc4EQL4rPS85QUzDbWSXN6PCK83SNJEINyZnDpnxSVpZZpQuTQ9jL0wdsYcp1guFtqg3ZYdOPNY8ijjX1ic+L9FV/vl4nSgI05ZLMiHoLBJJJz/G4P1iMEDA4OSy0UQj6geQKdx5MD3tfGXyFUloFn3+S7jco4IIYS/BJNeSVavOdcmXkR/ak13rLkRfx7YVxd4wQhGFlQcw2GmiF7vW7H9BU7O5xbSvhYkf/OQNunwfgAS0UwCdh/zqazj6bgUS4K8XPuMV5JzrM5s31RWpM6Y4sBa7KChRJswjzY2ySwStdULCbyBPoJzW9+uXVDcHAvTEnQdJ0MXaF45CbmY5mduMSVFrU5U1XsdfLpLL+5W+R4GlfkjbdTUoQDXrLMf6DgZig+DDwBW0Uk9jDnQSkt5zzW4bX3CEFXBiHFKLPLjAeKim4GnnZPUWZtCxO53Vp1KZAY9DIhVrFguyh660MHO26xEGFJUMcJCeVTBZ+WaMjppFS+U7edGfWC6RwZAmVHbAEKL9D0dqTFA/e3SZDkHMsDyfxCAh2RJtlukJgvd7R4/dcBuXGja6FQ4wmQKql6bEULTfFDRrIJ+Xstv3JAgaCBrvoDolmSSdaA7anDSMOnfx/+ke2bQ81xn3anIf4EXKKq/vxsyE0WfzWig55KdQWn/1BkuZQmsX2EkbGTq33UA6Bvmf53pfQeNu3VKRWvUPKYc27RQ7FCp6YXCLMy3jp2KwRyz1cySabcQN3EUc1iD0u6wMSwXnbOiStAZpA2GyVrFklRlTA1sv34KgVW+osuivGZf88yOEg/YqSLLMFsxuwDTqZV+1SkcYWAML6S16nmExre6LWTjqS11XJZpsbyaPeLGOzPGHHlKGDItDzqlhCv5LXAa/Gu/ZN5iWaqk2RUugJFFex9V7NJIu+al2k/w0AMUwnrErtnCd3cFJVVkPDGoYIK+ggYjaAq9hHOaDQ7xQ69et2uBna3ITZn2BzMwEiiVdbgLWg5MjP3LwAx6NOv/EJOcPPqa9/tx+S7UgiCJyTKJfOpgkBEaSgK9lofngNh3gIx0ku7KkhN37zHIWVr/jU0MuQmNLp8hffOgeXUwjeKPcO/KHvHhHq+t52RAQVCNASHU5xNbUALRYxZtezzR1QwK49sLPxGRylYmteY2tw3EfQ23Nv3GE63e2b7/RM98SqI44zwDSPuhMJjo8j/V9UXpD6I5RxVwl3ugvmfWbbBLrMXOVp8+BYjObBBKiVZQ1F7j75vg5V6VE7Tw613DxrbsebrCcpB6MrqT60+oAhTcgSvGkdgYnNPVemCjqV39mRHiSudYIW9DzujDJxixB+iY5tB0ZjLrraZJqr7iByWf/5SCswe7RWoDT1DcRXCAxXc4gPk6CFtKOKfhIaB0ZMTyYSUadk33QxTA4Wv2k57tk+X1tTwnk1MwUK0ua9I2cunIm5kt0GQyML4oDvpmoMdzpcggD0PrY3KgGsO1dt3L3cbod+6Uvp1F3Ac7+JsjFSCupbVa8ht2uD/lEEKEMn9yuYiFHdxod7rUhHT29E/Brj3T/cZORK/511c/La7DpbgTqjsI+H/5u5bvOYDZyB7OQARCnskmXd0hkt0FLzuD0qbM5oXf0025HVMH/E+6EBLxUTUvKjP9UZpKvL3BF/47dD5ryajPSSY2aqpHRhv3H8WMFVsb+PHCmYBEbszi8YjPQ+dptN9H4Xe9u6GLtpRzaKP7IgkchIxhmZBeCdkNcnwLeky+W8sr1cuB+COcwdSEOu3a86zeZ2Q25jObCFKSMzRoTYUIOTHc0Rp7Jffn7uZHttirMsFzfytb3hyr9Ob8tLbCQqYZ64DrZyauzF0z22EPL/NQii0vWVYqn0Ky8Gl4nZV/mTVS9ed1PWtIHtrdp59SjWnf8HSU8xDnPw1tCUR0ZfBXsbrD7Fgg1XcpfTE2Q/Cm5FGDHjLCAtJhTK/JAA3OoLGNQeAQASus9wnqU039q5ci2frLmH6NkuKCn7KWtbrZZWh2RleanF7pYLdQRXXexBm0J7xmTh47ehvTiOJ1R1VtNobbpsSbboDXAmRaFNwNP2iBtAs1m7ciTryGNN/PgzPYpIhBC9tI4QSS+lmJcIezDvoPI+DKo8YtVX0qN0+6FerIo9x9Tm2WqYmMyDoaIUdOS7ftu0p6I5MhuqHwdl5rWj/lcYbsGX1i7qzwrYvmJhmbGt6DpqN1fMDjn9A5YgxZOMFCjRzrLIwFqyZOFS+MiGZkYbEJ2BtGjSE6AmTEa131uWZXRHISbDsLAKCxuM0PFht8XtRbmX1kBc1vJORNDsR7u5tBRHFl3jFiapXeXA7oiip/zWwlPdM0YuLX9HCYqwTO/Kpt+CgnfFH1Kq05c9Unu1AlHk6Ry9Kj7JfDv6/FlY8wCEV1VBUY3K/CiuLz/SHdTLRnZi1ZiPfnEtrj/Hj0hIblZeKPkrGW1nmsSx3L/kFFjjOo7B6C+G/I4pJSGFGdprKotYFODeB3O2g8CrnUTFGvnNKA1t1jYk6bxAQmVaixJhJFBrOdusWh66RGvyriXVPhBhNE/qG/juoILvcsosKE37720KMno0qKX8XU0oZJlbY0i5OMoNT8G2G3UmELtGisltGkuwXvJBd9XIq/S1VmdM47oyO3nLjRRqnOIQ186o9OcwUWxDUMF/z3oUBxB0ILolB4o5Aq/UVzkig98pv4cKbeF9jj2QsH1TnTNFjFUfQgVLREX7Jwfr83FGUxIn1t/g0hG6CceWh+VGa7YUX1N8PLc7y5FPCCwTEqZDo/bhyD2fCyj1ksjmQxGw4XOYDrlnYQg8JX8YWDytrbZ9f1kmxkYb8WSyoTcho7+Msx3AfVk7tKvuT7wmTaV28DlNr7jEKeoWXrlHRcSrzkWfhC23CovXVXJW4kMAbMAg+lwNXIxrpEDBk/LgQJ1I3Ko7xTw55TB7o9eeNPyX72cWX68WQIQyM+2gmgOnkNPhfyoQPb7GUW++JHM0hUNlUbaOmFIv0SAF5dfGHkORYIKmb0Sl7LGvONiKJzYGn/9E0fIa7+VuSBcRo0ETebMmCcNVJZJJFHCuiN0xRwWuHR6FEgIGWBwc9GlOVYVcrZi8D2CPM46O7Z0wZCQvZbyvTrmOZCnUpAV6PszF2jUnqbngL0gYziuMkkWLIvgD/1RgNXPbQfgnYnUOVZERulZ9iz1o9CKR/387/XA1YJs3QJcc4fwHTeJJTfTf2PMKsx/z4kTAht47ZEsR/oaBVOkri70VEpLg2cfdpdxrbQ0PyCotsypa9xncPCZ77kNonUOZ2NrvAMp7K61HkgS7fuerkdplsVw8zrInpT3qVtcYqA2CUCtBX44hvkmDNO65WRLbX3zkC/2t6I3Hc5g2l33FTa8gNaKV5LeoAaJnf51sErn83HrtQlK6s72y0MHoWJLBFLniT2QRnfyBH81LSS/gh8hAHrdETiw/nfsXmeLgtC8s5z+FvE4TykzXSkaOiP312U6GDtI9eHGjR2i0oTqiV3neJoERa114jSBWewQg80K2VGLeNp6LQirU1A46ba2yGJVbc60vhiOb6z5J86WlVeKr+SVlNjlvNDs7WblYRW/G145mR4GiWL/UEIKMypWHj9UE9noh/a1J3UUxgVlHzt8A7pcAR18eJ8MkiTU+2eE1kZGWxQy32Oz2KBZkvx7MIFB8yWo0wAq27sVvWahrdMXKIC31YbSFqXBbrx4qqw4nEm3/nLOK+7KSbdvBhKbrGcIBS5nrZ6aKqKSySjgckSYt3qs+eukm0v4/Kz0amdOuf71NTKNpwnwO0hZJW90khL43vq38K/uD6hglQMaZoS17VceYrSnkJ+j0umLWgdr/hOl9j61ErFlNv0fDmRKt2VtQOkWjOgPccJH7hRZcyNPIKL3y9n7822HNLMI1WmcgSAjcSpgJNffx0/NC8JchzpQMo90b/7MzEhWUP1veUlI+P1iUeq41ULfwjZIOedOff1F2NabgJ3kNCpEW8JnGGZRJWuu2632OvERS7VIOUtK3RXczb9jhPjawFQg07RCjZKkn7oRafZ4SjWKux35NkYRm51+UGMq9O5ZAOkOzIL/Mxc6ng+sTTQOlHAhFgz7TQ5WsE6p7HUqZWkZCsPB5SE7RvD1uGalJp0M1ma7IYECVUyMc3JT28hqshhYGlwPls3OtqdRjy8zGn934ZxqgzIbnKUQew8/8Vperc+6RX4pRXm+ay2UzeYg4xExHW4nEP9b7Y+1Wnrw5t0/u97S5fxyh8WBHf36j01KXNy/sAa8barKS59CbuUI4ZjdP0P+wKh0baB3w1eF08GHImpgD9Y/n8MFngaij3PWsA/WU4InihXDgwMHiFRbVSiJ/J+Zsu0mmMG33PKUzHYXxrQQT2s9onID3zuRD4xVL/Qinybs/ra7MNeeVfTbHssGO51foBoi0LfhrCvP1SVlE6xA6RMSWkQJtponXQtr4ZtObPtXDUfzywB8A701gPwLet0diFw5yBrymKlHVdqJ17+0c2bk46M/29pD7LrlFcWEgYKt9Q2+xy2OQAG3yCVznVJ1luy7Y0xvusxKxe/dqyWHKcQe6fncoQj9m0O+E9KqLCDfywhf3DDyg2SXIHGhASkEIK+hWyIGDfZz9o/O250sbwZ82WITUx5G2sYUdHOEQjTrwHrXFBIm2/nf0UwH0nqdm6VjZHajIntncl97oSd1XS6wB+rXw0sp7atI5D2I4NPa4CtbhdGiPw7hhqXDxAmEk6xjAZgP0tcb5/3XKLOaMED/XLZz9PrfPO+PO8wk2o0TZ2etG59CWz1S636ppuBl659xxuUlp5n7xvSZz/L79F1YXXPX3TRwWLlDU4YevKXjkggncwANXHK6NKZFnSi0/By07pkqz7s/UGYnwxonx+htGr9mdGwSQ1bF4ROHE8WjRsHDYukRbanC9/iD8YFnJMejL7IqS/0ZIAezttlzg5AClhlvYltbP1Oz4RhWgJrIe2/bt+wOI873W/5ZSk4igNkWS4A3aTvVTs/ltLo/yuGM47zq9QeYFhbbBRFd5NX9W9PrKTfS/Hy2tR3c/2lBeX+gBzW0dfFgF0sd6lZdJeRt7ZoItiMzZg01z1w7Gl9hUwpRQsRgPMJPv+iGYLfIoknC/EsCIIsf+rq34+fGYXW6WHE2VmLlqmYQ3M4q74WB2P3iwWcKL7zGR0KKLrmFVSd45VdYOMrW4iwBofKJ4YzT7K9Qh/q1/3E8meYmVNmDlOUt1wcpmfeRlTqoFFPNhd7BOKZ7ZJjyCDiCVKiFnzlsrrIRoElUS73bZWdpDoQv3Ov3OXdX3vmy52otP4mX/d2JpKP0/eRzHubM+J31Tv48bxQX+X3u+hBzTZoiSGdM5EX6kqv2XehLH82H7iEob/fGHKHiKuAM+UU0+StKdWWj601zuZs0SEHGQAVCXBm+fJVbaAjMf8zvEM5/2r5YlTijU+S2vjLREJU8IbTA4/iLfF/3pYJSfTM8HIdZlOmN1uENg5phiZsv59kY1wR6zcaZbCFqY6dIT05t80aLxw0ciRg6qQ4vnN1mXvJ0ejeMX7XniyFLte9ZVJiAz0O/izigcpj0AXXAA5eUOrLNmIcliDvRVlHmUF+QN16PHXEi3FkftBa3TQJRrPM6tVGadLPfAE1b1rtjyQPZSkk60ZrRcKhkxYTLjVVVXt0qOpq+DciO5coazeIMZgdhDhvl+wTqcJkK4MqpUEpBY+OKvHfYI0xEl4rOq7fJN37GvGIFAeEJL8xuynSjKjinI0oQnhiIYw3HRyAf/0JXsR2fNoWkSMHas3vwk+tPgOXeGsNdW7bkJqE6eR6VOC+aTh/vc6uC4u/Qc8isnwdF7vIjXo4ID7rcSx85clPZFusSDxM/tfU2zpMWZRAtD8KTWoHod3eEdw+1R5ZdDu1jjNq+XNteW/Dw+p99Y4+BPpuYDShyCQypuKk8TnAk1uD7V13TyAtan7IsYupcYtoq67vkf5zI3Ve6nz+LZVkdbwn1OTrVdhKBPDOvL3iHBnwzPDFS+GvhORsodceicuJpT64qgb6Kppw3D99kfiArT29xpZ6ttX37bBg+gzQZ7k+fvjqLMyjUO3JQBsI3Yl/fDMaheBMlj8WScuRBU8jghkRoFRjNvuK3CHE97YyeJYTCSVnsT5A5hR1NCXdhK6Z81ctPgKP0yg36hoH3lSGwlZFQv2KeEfe77a7jiyteVGV8RByJVzx6XnEG5TSsoBt830IP2U5664sOuSZVEqgU2JEfIYbQbaR8x0A9CR+rJExoa8C2PpX5GEsdDWvDCDyl9inuAGsFeuKaGny77xvHY5cowXRHQZAqzioTIV9aT7aXaDN5CZ+56qjY0Mg8HuioviWj9MLDzRE1fQKtZpKLTYzKuytfn33SFn9JndKWMqWzDXbAGXn16m+bZiauxPEaXoZPhc08lFqJM6mvQzY8qZ4IclK1CPam0YefZZnHWnsslr+XrOhpDs7Oq0vshupRaD6XBXZRduOH5RzeN7sApp3Y2KDxXzoClzU07cRycJqwCvxzat7S3FaG3ryFS9aVEqlDoXiv1KQBpLFSMHPDm9Dk5CSngT1kevbRbn5pIatYVND4bHmq7zewh0W0XReThng0gZtzVahOrdHfs+IaA0sAkSH71FQapUpbXMHZyhw/igwWoFsQl7IdAUJO3VD8BW6Rkyho9z5gOntz0dTcyugNxnBqzlrwybSD7fplVivVecLlRz6BJLUplvG3V6mPllp+fVk6XwDe8EdzBvkN217iZV48K56hc57zbxYuQRh3tsCO5+6/qwubkMoWHS/KMBI+giB2M1VTAyUTLt1n/BNRVicnK5THKqJCgH8nnyKoj6+bjI1zlg6hPaxGnsr4WOZGdgtjFFNsgdpusV5MqKkv19Tf6OcQZej/goCwxrsDHprqcj7fi+KRoF9mwdVsWxM4hZ1+dJ1F/ofQlb18IKBfaZyToUMy35xx4GRwxZ8MtoTt2NDXSNoZ2NkFCvvdtGuc+Ac98NYxQkG0ikNf9Oa3gPoX0ufTADyXpiPuTtmcdZVHzt9aaph9A9TPSPX/Az8EBNqBs75Ml/FebBzMYda1K+tlT5rsGoysRy9uNjETV+bVkz1iXIgtlf4wceYcTQf1F0Jz0M4R7mtfRgcRz8Zrnly83VJQSsCsPrjSu5QlvImfjncQ3/A4pR9vRVnD1BI0+qBYXs+LwgBRrGPlrMr+IdNJKCXo5xuVGNDd1eBkc4matjNSmeswW71DwVJMPHnD14G6Xr+O/saLGaxll9iFPzzTONx02G7QmBY+/Ih32xbaSLxp8uFcsmH9mN3dNpx51RF5iFe2nGnfkAb1wyFGma3CJMxqb7JZIrLVmWhkJp77ueoYlDKYtfq9mzhleixl44DtOg8hH/cgVvaNhxp4fLjk9DkpaCLYdKOqNPwMpDsKfX1yLARgeHOyHZxfoB33wLas4J5WfUiPRToMewms/8pw5sWzVa9bsm7txWVSLUeUgFHlXGyFwCZV4lnJ4TugISJuuR60Qda/LWEAPWHtXERbwyKKrrSE7JCLruGiz2HAGvtv1wBI9EZAXsv5OZbtfVsaKCgnCULRJlB3qlDocMUgHQcfvy/SBAh020Fby5AP/6Lo2EdCtdjtfC3f44tNBxE+LqeXAXP191GZqJl/llJds1/a9i6CPz8olSuW8TCV6FXF2I2cfYshG73weaGfYdvDRiGESoPB+N4OFe7rdu1UfxPVNOiaHK2NKjHv3lxTk4LKHvLz6SlyfXlEjzaUW1PmDb964dVFftPQKLUjx+ULJFZOtT7eWOhJ53PMzoMT+DFj+27HsrBlBSudmGI4kDPWqWKunKHew4xdMoXueZF2SxqPw7ozNVR/bt2fipvIcwfbTUYMY3TWkjm6uRLu0XqcouvUIa4vTGmLnFIpAy5knZ9ot9EN4Y6wvoqFuIZOZtBuhHZdkvsO7hX8md0cCA2qWtEt417UIzMmIUedBYic3OFx0ylpUiNNZC9LfzojZQaKff8SB/RzwdvZIJOk5tj59gJiHf8rJb0H+O59fNI0q12DPTe9HG2S/4E8K9CCtTVtDPaEMFgbCq6WLIfSE/hU6zLh/QUcMbx8yfd/E83+wdrl2/e4zOlKuymCM90FPhKUdc+cI+tQcl7TBxMoPr9wxrP0m4wQHv53/FKvFWHUGR1JA5pEDVMkBNXYHw5TG874YyEqB1jfAKO/x12qrlQmQslSWk6cUnLs05K1686/L+y40vKacne5ams3Y3CHMv7kh9rGp1gJE193S0Min3AeB1D+WyrD41NmbYDTxXUF1gYqUU17m/0E02Sw+7wrvrkKXPmjDhA4pu5wBnCTK7a2cx/fHjhKKA23SRNcSA02LrNgmeGRKVyLz6nrq+s6OCgnqCOVD4khbIwziFcEoeUgVfCJDJV4UwheeXfS/PwkqcSmsgG3vJUvZZzs12RMd5ob8thgvFHtlZtOX1LZjlY7oupTr21DKRsvJnLafQipil2ojF7/5jpYdlnW0begGLewP5e/oc1WWObWoqCIEal3WDjfeELAkRWx8fSYJPt7Mb4FhPpQh3ZOiiFy+YcE2SNLpS158Y3k2fjAVxexHn5WLGov5qv6SsIR4c+zEPs2jiCEdu8M4UlEbAK20dBBeHP1IZyYcvC4my4EDxat3qEADW/cLNLpeg+spC8t9ngqwai+69hYGSBZGZO8NHda86LeJpHgay/YUUSPBHqJHOz3psLkAmPpx5FcXvpZF5fp4bAozPwTRvD6JjefLGHJ0HijvNk42P6zOuMTqh8DyxJYut5ofDNCXxv+4M2l/KQ3iuI1rdtRcTVUa5Hqdem696YwXFxSqrJH2YEzuVPKucCxpfXIArm2wH9zjDdkH4+EX7b+2zdXdH/cjoNybmEfPpeFfiQa/L/VXTwyoFT3V0BXaVSKbMrqzm8bCJXvmj1lJ+qD9sKVXu/E8YPNURyBj27VJ3O0iYwV9ct29BuYmfkXBD4ItkX9ggEjUGCYP9guIrb8dpNXOX5x2hA12hzK9TUBdaCfgsmoSwf3M+KJECFCkzqrKbJ+vqhrrLCSE75ahHPqRG9kPy01dAGbNKH/Puhfj4AXY9iaFiFkH+AYXHGyypoM3hCHKr7RDR+TVitgSZLtgRvoRRpBsLSBoY/wRlTgyJtRGsbT1viBkIqIPaXmVgEQyacooKr21If1ECGaBj74zU0wUMo0qK+XDMo7NcnTltC4JmJindOQDU4tNLcZttASShSUTqNM67eSN31cPEaeiIdYCEkVulK6nvNgA29CxPOP0sjJtqGhJLh4DiphY2HGKYEezC2cZn2DPMW8O7uZinfUrRPTnEumoU1KrEVaymyGzRPGXM23fMSKmO03EVzGU8VP5hVpfFzh7A57YeOaNyhGyIIXBz0dIfYFzJZ7lGPeNmRhUyvAEgW4cke1G+Xj2tCAysuKS483tdSGN3QY4dGE89JBVx/REArIFYA3c/oOQX8ZJQQ8IambMZ3xZS/ySm2/IPpLqlVSuBYLPn7/oG9QPkJDlrL5W+xGcaa5bSLQTpnkz5y3kDjfRsaszhahW1tSPVx/TKe7uICZNg+DombigwCyFv9Vtl36tKEtn2V+CgeYIuiEzlVogKJWlVIMxvyrS7gGKnr9IF5SERY/0rB8iwS0XhQ1/l+DS6NPy5VnwdSSYVuVrDYuh1Xg1HSLVmuxss3yEuWwdtVQNKLHBrDaUMwe/43D98OXcpf0jxRqrKKWeqF9wvS1AiRjB5yiVBghmjq/LsUmqA1q4Skr2+2lmLDiT/pom/PJ494w9L7X/Vx541KVUatfR/emnS7BEW5cRj1qm3si+1+8qIgKjW9gcSrVE17fXYMJl7Z3q0S8ZV0PZ/HzT4hpqYBpU1dq2MsZI8TVxKqEy29U7TJDj2Jfb2gCpzzobqsdm+RklKgY/LTFPGAQRHhD1v3MRwHnw5YOlHT7+Ps/jiFoQ/78Mi8HNImUnCo5Y46MS7HXqmyhi1phoGHqbXEdzRTMwCAg7ngdDzWZhglgTc1+OR/AN6kIs5kjpZpPtSKF7oaohanbW2Je8Bp2xVAsTna3s5Iq9+8TSfBxYPIIgNOZwvPVyaJbMqoEoWOcBKyt5KlRUgPJbyEOLi0qBE09qrgnwZeD/Y0WYSUUsgn31VPzvnSr1SNhpnaR5U/RTGVlhVByj6+w7/Qe+uQ7zUbXD/wFUaYCKeDzw9U/JBLXTPUepFc2H7PPn0qFYqV6xjkk8GvSIPvHHTPY7RvINowCOONQjQqjnmu5SmDiwowIvA7zW85TD0dq4YKN2m+QTrrSzaTEgto25ij2o5tdPRTFoa9OQ0czYgXyjFh9xF5wY9eoDPNvIRYz9Jv0iCl35QNl6EFgMdyUd22D7fFzeZOt0mUiUfOADumK7mv/GwmO6u/GU0P5ciCspuvoUobcCTFzFGmnXGhglTODmgyqGKflUlzvfOTvnejkUVz/sd56JM4QTDgG6B0YfqiQR/+1kqeyy47+ibTAlfEaXY+MtCKvELT1WaxlwEvOe4BHrSIL6NLsPGG3PeZz5JgrUtyQxXmSZdsCBbHQKXwB5X4obFrMCotuHCElPAL6Cg154dSrLCyCRwHMw2YtxKBocxZuLUiM8wwNt4y/Xue54wVAIA8jajYNn/Ydl+CuU6jys48zynyzNvUMPnLxwAD+6MJGVIZFEu+bGLtFWtnHnSninzzrKeuxs0wyklvifybOYdayenEqwKFukCIaPbWnfNQjyRT91WT/naJwC+L6Nq7w1KdcZ6GiLBxor6tBy49NDXU05e9Rtp0ye1xoSRRhjpymEaN9j59XjpWywm54U3v5uR929FhuxOX0w4D3fvnnlGrvpVbMpHxNXfxBXXkp0FdvYPWxroIv8T6ZM168KHqIKrtGuJR+Brptbx2DV957krb9FHPCQvZKNV69lOPqR2xDkFcSCdisETkKkoAfhzPCIpfdcNgKOM1Zi4RQM920c35LoYU0BfltZ1wVs0OArDrcL4uXg/hX68pTTCYyUNvuvXTQFN2FigWDSu4Rdrq+tgU5Edxn8Na/RTMzehIIeTaMTNirMGKt7niaEVzszRV/zh+WRD7U2cUezppoCNRe1lO5Tvp2uHAdAhivOprcyOL83fV5pXxFBweTYILgZhXxVMddMfSP0rJKl46OD+0p89ekQo3XGVaaZcV2wPzkQ2iNx88RlKE5tF5NQU+7WRynPcLmIbHAhhiBfGjB0hdlQtx+ZWTBfHEeL7r8C45nvb8mQWY3dPyQroMM6VIu1mRnsOaWOkSwd/dU5kbWMQ4n+gAJbAxreljGKJYUM0CtZndHp3MlzhnAKcIVtTQzSeweIvKK47ux/isQatQvQ9VdudYu6rcnPNiYmDFvFKiNZ4Tto83pI5gI1Vy18xTYovwQokMQYwNFkbAUHm/wV+yQYfDbILX2ubX803SOTZPAi/kIknZ+z075E0S2uqR3OmWJE69JcBMuxVVHlL9RmUxcGsn/s/sjlndHmck39QxY0AIstrgkPa3fgkq00yyFG8ZUZneCy3JN6vNmwY1zGobzq+khrsYCdCMuIrHswZaPEsxhoFMPD57EOjLaClNBUhpvdT/z69XOrAaOsmAahFOehaKbb79LV3NqyED+wbY2efi+BarZsV0BqoyR9FjT8upY1+86JG9MhRtJCqlJPqmolFHwO6ZVAgbLqRb2Yzgj/Gw0bHiQeByxGrS9Is0B3SQzRJlsgLQagYt3YVIomsm+GAyVoJpJQdhdMj2paomAVrKRXTHL5ll3PaicjFGtnBbSqE+M7gS7o2eWoShXEBaJ/TXrKxPM0/zy1LSUBR/p9y055sjRRa9mT6QzuCe0P/FA+QngQKsyPgygv9yVUTyL2MgVEstxeRWH7TntvNkOar0E8Qr77unJIeovC18cxP9ymKuG+Mrgf40Vy+jcLoOAiwNipWczAkwlmx1d5qKZFNg4T6xArdMCysdggW4USpN5uWVIZnODI1qavyZiiIqPXUwDdFwvsPaAD/jYiB8ncqeQCx7s/41ftQFiuqv1q8L/TJKxYzDwjZxQ5+/ALesCpdykikjlGCHJTFT9Qc87l71JQK4HZi182v7DCbnFupzG+RAf6+bSHLBnuoLw7AwJWt1FEPPzmi5Dcn1PzJHSHPLhyNL5UPBdYR05plMBM9qTxWsb4YZwjlMmRxDkGIafLR6qMbOrmmVLuhjM7bVsn9qCD3ubB5qwB+8L7ThE8toOS6hn4eBNTukTDaLVBkvXQrcdMJydMdVC4j76KoI6QlcQmVtmdKvj4tLG8xF8U8dokg+7XE1KUPjjUZpfaFuECBzVe0uoPECKCKTvIinrkGCLN/+gu+roaEFkWLD6s+G4oHhjMNkrQLIAwURi9wHYV2KbxH8orcyP+n3FR09Q+3+mfRwZSaro6tUM7vZLC15faJ8UN2c5x4mFQF4xrga+wr6tl6dATej1MygvfPf2lJ38hQXZlKIOuxX0wtth51IslPumOcNQAt3ea1FQqoj+H77zOip420+wPQaoGJ79TrPjxey++Yq5lziJqvcNpUolMs2Y34A1nCfEDSewspljVaEjZQDXc7Yu1HnaPIMdPZaD5yrWekgrHLh9DLOdHj6zmy1+VFurdDNl4MfwfCIPNilLDs3k7iH6m9xCeYGz0SuFo210ccZkdGE4EnvKGlBivsbGZ/tssHFd/AGibUW+ZriG9FDBejAfa3hM8wHmllRbuhQjIwDMb9Ls4T9a1KHeQzh+ZtIowFbZ6XY5st7qrR3AuyLtOyoEMds47vBL8W8PJK/9QE22o0rSS3L97aHL0dnUPeFLBIsYrQbdNT1WCRA46W4hOYS8LM/P6uzcdyPxfkxcZ9WGmvDXU2Ik2RcLhXwwnZ53LGAxSC9C+0W/7WLzbzpJQbkAEQgPpr2C4nD3oEP/Hqu7dO6ZZYPNnJWylRW5lE6allpQcohNJ8sJvCa41Le7icqMae34pxuaVvpVSy2BAhyYKNPMXU1ivKLQoZ69UsrXzYtkK8B7B5G1LblK6DKmtJkhJd0p1UykxYVQsAYJej+PQ7DQjyVOGs7zj0hBd2nWINr/PZVgTeLiP1jbxj5BxN9P2+KHc4gwFdmK+DddEi4wDOv0KNcmTlq/lZO55WO8+QP58JRfURjJ3kEDg+lgqIpTtSDNOiH9URRUXh/UwOR11hJdMOGxwnBlCDajgIBKpRBkg5d5zK1xlf3IfcAvuFlpBn8SNyTc+fWH+Qeqh93AJLqA2F0g++esrI2Z4ZGVSYJmxJ4Vv/T+aPXOB35AJpmfPQbhVfYl9quX1kYFqU7Ifwg5xmmlxiDT6TWizAsLm60TFxDcBtb20PjvV/CJsEJazvZkumXRfOobWCqZbCalMg6qUQdO+YPY5U/Rmu3iLo2Sb4ZXUi/BCerAhu99ZbBLXsvnk15/oQkiHR5HSyZxaVaNQ/c9Fj1Unlg7+3g3LmCZSbLRSUK9uJfDwQZePdyI61Jnucs2s7cqbWjB7sCgDz+rFxKkdkTCRxqK8E3ZwwQbcChmuWHnFF7n+3aGWDHnisor0uivd3SyNZ693AopN82kw2IJ08cayUS45We1n5CsVgFrcBC4/Ind7ICb8aMWPtckNrTTOFBCYYWmCLlHZb02gSF3gX5TdLIS4PgNLhq2nr7nFG95X1WqJDGPrX6Gr/6trt3U7Nin8frpmd05NtsrxR/pAMuQY0kLDJ8IF9ce9LD6m/PmXFr6ah6rgzUS6fiyHAQoIJgPHdFZWJisePOnQwSpc5kox+OB5QgJb6Civ5DP5rC8H/4mpm6yRXef6zaE2U6NWBfOpfqLDlW3P5hk/yFt8y2x6K6Z+BGg11Sc0atsB2FRoZVMhvHNqHakZRIMR0V1hQrlQjqDp7GZHmhJyQ/CBrDaiF4plfSsrqFHssF+b6+l74bMWfAzTn9fMJM5YY+knyzzCBq7GvqzNuSb+eFEr1XQydrOFvlXLXH5RU6UgR3cefqfbdwjyhSFBGyF0h4zL0nOMeTYh1fnjsK6/HRGpBJLael/17zTDJyThu4lAUDjZnxv15/qEKqcmZ7VQG6PzsHVuqQbxhlkEPrMwoLm7ujUS2/35qb+68xvGW2h4s4rMeFhHr2b1gL5fPKsNfFZ511n89s7VqdW8rHF9vVLvahekLNw3H6MzG9wImgmiwhn9SWm2Jmbhsyj2GXnytnyG9P4VRlrUTT5IwPbDJT4sHU61Mr0uyTOAWvHysOb8L6483f8mbcZ0F1S2i1n0QowlaI8yeSWlUZWFVjTMQ639nzbrGOqnolWVixwKRjS/zcz8JBwgARSGtvAlYbrzQnC8MTzgIGaEpvprY9vSXq7lFIKAPtb6ol9zbTrOyXfDeo8HunBbj8jyO85NmnbWMi1Ibkg/6M9qkYO/Q5G2Vl2LelkcbBf8bTzGtDicxVN6niETqa+4lLesQYWN62csJICZa/6Tfv4l6fRxsx8Wh3e/pnkJUTNbXpt1k6AFhYEaVxiI5IajtCFAlXU1uIugdGqsi45qJLpfE/z4xPF2388+/S25YkZDgAFvb826Krr0Q8lsQycIZHtqK0i7enWuPoriuifqBSZWG48zSqayA3pGV/Gy1rhl5GYdgZiWt0He9v0n9iuFrLyjp2v6aKBWR7WKPN0x8MMoI8NkyGbvUWF4iPo76DjHJcvcmqNHVFUeQaZR6bVb8m+lAe2SOlF2GbwsE9hZ/ppk4EJpiSfBf/bAi++aMUZ+EIH43nxm82sA2ttSjUNzYv0RXRO0WvIMzv3RnzVMhZMw4K82x/mkvmfr6LHnCx0nHc84OZPW45TO1Mgnb+XS+Z+eeuwQo4Hd/dLG8fBQPDQM4pdTNSVmnofUV07w/OK53MNCroRarRtuqcVWXwYb3Hw/dI7uZOOP9vzXHu/ANRhTZdVvaCbEhKUyU2YYiRTfDs7JQ8suRk/F7n7xkJIMUzkJ3qje1Hk2Dqq7ps2BXibl+1BjO1QCRNN7u8iBCG6deHdU/eA8ySh530POYK7p8TlFuzxdu01m/8xVAmDJZghVn8egIO8RjBeAlKK9xhST17YudoRFXn/PgUKTfvjECJbn6NLoxLG/rYMz+yVVvV2+YPAdvg60bxHgJfI+5uJBVvk+uB5WsrjhpFpPXjYD0QPO29CubZZtDpJqAJXxE6oimaf67CiOnh9OY3ZQh9f4zTl9VY/iWuThNCuXctxSIUhT9hQrhCmBE4Kykh33AtWiLwLiCjQItxyVEg7/+VbTr1lfdzdzaFSIUnOTF3Fu0z1Q6sWF2gvNjuwkraZVbOeaKuHbkfEEXfLnj8aU/DBSeYWdo4oov+eoV1zCbsIvccKOqSA3cW7lV5bynPufzUVb8fjfFizKdZR6ebEZFCNE77VgBiGv6UK2U5WlkhyLJ103iqd3Kr2lIH8+8Pn9MZHCupc5q625BKad2FBqbO3+qGLipDv2onG4dex9I1HCy/1t4eXCXybRZ7Rif1hIBQUMcyoBeyW5wyTEiUTjbB3XFq6IKoKj35S9rnRkoSsq07EpI9FYZeJfvXXlpZsHxM682qkQJfQxZihnRnI6PRoFx/R71hZrYo4kryDnCR6Sd4etxBfvNtNIhEeTUQZI8XYOy2A/NVMrKrm22LdmHPM8rZ++k4vpnpKBmnQjt6L8u+k0J2aH8ChZhtksFdQfD7MnoAZ6CjvVMwqar58ZTr7wLJtOXM2iV1gwCPt5t08H2Cp4vIPE5mZDGmLF5MPxHU5OXxWQFNmFzkutJgyay0of79d6ZAshrPKqgFIuUktJ8IBRBfXNV1zaR2u4cRgDyZ/BLPTYtqmWbDDrPH3VeMPkP+qcTxFI76tzXAZKFbIGwUOyh30XQiJyLHD+aUTJjrArZKaOn16BqRBJohEgC2xtobgb8RUpGrSbuyYKt+QjvskoS/551WON7Q22ZQwLv+kirrA3/TzGRALPBX5B9y7V/34LV3gRC7nRXal79FDtY1AOK2wJDm+UjfVvANEeDPzn3MaS01m4hq0VjAfGhb5BDRSghiLX8GVt0tTc55yo+Tt6vZjEWchS1qSizmMGmUD1uD6GvbqlyjmzT0JHACH+WKLrgYNyhebXYJKlYy8Ez6PR6TAEaknqtaGQL6R9MywYnCLBmQ3Ir+CYPqUyMCd+vpct5fEMD569B9cWsj0czYHmtPmqMYaOY6kLIx1sCjvzZbtZoiEIx86iPWE+lBIuhwD8EW1bx2+pnRgw2Nntlglvr1Avn3tSukhp1LfQeOu88XtPp+uIkpMIsWLy3pGlQUZf4uePeOOiK9jt4vpD8ozo1MAmnWn/YbqJVNFEBQUp8x0IBViBgn/b10MJSTAOS1AsrYCCTNZJ8B7ZGx7gx/svzixulJfRgrGSEjih9AuvoHa+zLIUMUc1uzOtLl7wBql5CrnKFXAVFj8zQDXhqOHeT7h9Sx/0jgDTyRYb/Sjnwb/XDwtYmGkEjb9+jAjLwuqoLUHnHe367DW1nA70jmC9Ufg5jzC/gySmX+6F4HzgpjrwZD+ZVU2pQsNHMu0wypZ5XztOFxj/Bh4Ox3Z/RJdpdQ5GTMpLn368LItoi/qFLGohuuB8703Ov3ffVKHsbscZ5nNZsw4lhrFhbiVJb0t8YtAw7bMg2slj8cjXj5E/xIApgkw5x+Ah8PdOpA6Npa0IPWQXeBWYOFkcriZT3WPdPrlMKoSGFpSIHRyUSxJxuluuB2dCIpXV9RVO+gzUe88QDvSZOwKH9fiqrxhikt/pEWz4nV4JhTDg0xpOXJ5dyb+2wiPTqMuP8nSIclmIkReDchnEa7lqA/htNK3zuwCio6wX5ooqjeYOzzP7TUO5peL15pUP7hDy09SAwNQXo+d8fQHGsBILXK6QA+F6juRiEStc9iuQThMBRMx1bTXeA0JegqsCHc85HU06eRLe9Q8Dz3VUQgm0ZLtRfyv+znx+3BFcdTPgCN3QfsWwW8fC35orK4RxlX3w4GH3OY6RE9pYHa7siHV10zxNTSnBsnbeTQSoua1BJ3AvbMF0E+Mjkl1B+oA9XxTyYDq4wF+bI4JNWtqM8oOFo1vpIyX9zPbf+PK2cF7+jR9TJ4nRvzfZxKwkzWfj2K6+miuEqKSYNHmb+KRKbQvcx6IFD+XkeZ1bZP7lkOW3qZ13+tUAzwMg9gOEbXEEGtUGjSFZRiYHWPqcASzQNWuiJnyJdnFgAGfmYlHkuEk0DXII3h/1eWjEECu+uQ7e8MiEjUVj4NGDqwHBzIDc+Bc8IkEGqrxA2YXtsu328jgAfwmKi4jEsrGZKkB9XNDnrcnTFNDP2igzdzVFhh2UjxQ01pHMy/KSlxg9rAwm0rZqR+pAlE7UDTdHIraYSpXJy+y+Zm3ttN426Eql7jhVeTnhauTcpDWLwP8melQ1BpP+MOasncOZ8LPpUxr/ixJyvSFRYJ7/n8bQ7EDnAg0hGcccRPMA1fB2IY7qxKJc1SFv3xa56Z+QjjZQhOW1PdMDmV4HqBiyO2B7f2FgTQYoWF86TzFRJYK00zxWxBhBlwCv0ZbZbVVWH9Skiy5cn8GyJ1Keg0OxsES/UU6zqnIxCMIJlYJB1uGPOaVdM8vy70UOhGzKWwiW7FofD9r24Qwvl7wZwV8eDfD0hPVNmzphauMyQuGs+viggOyfXkB6yz9pVrk8Jd4RV/NRrg/fuG33Dpeu6dL31e3mzEH6L6gb0yrVj1qvWRwHI8ru9pthMUiJwMcJUUaBpsxa+fEcs9tSFg/Cm784pqWFZytF7VgYZFghYHHFv4WkGKy7qz/9ZrWQWy2JfFpPBNjWXjmmaYOo5iKEwxuwIT+AV390A9xzgEj2o/zqB3nTHfyjalVBJqayp+I3B2kH+OQ9XZsQrvQxWpvb/gPCLOVlbCSm1koo3c+Eg7cfU5R5OSQ7B14Ivj8Vsd5oafjlnQ1LZIsYaUPxrN7wnWwrmlV5UkicNBTj7mY4aGJJn9C4qp4KYM/WruPulKxZJKCmYhI2/2MRWCmax8T0wfiMtvrhBF0zxSB5VihSl3uOzBrgMYT8VNX4SSmezHpWCOMSdz3Yam2lgtpvsQUNA9oQl3mrDLPnawcF69tVjytbMZMyi59+JNzUw3I7gctHD7+dWBvpI8gcmeC5Hnob7HqvBiuEj3rxCoN8oNHIq1S3g4XtaLr9sB8eW2KRNSZnshtX6ydM2T7Z4Zp3nhUSHWNNKC5YHuft9KxCXRuF55n+mrno0SW01r+YVm43YlF4sPzihXT7Ti/BLn2WAF3oae6C/7wfl2wRC8kRupvepyMzeKsk9gHU5bzQnQyyxOMgvCa59AtCV02VzE0fN9E5xeOlIU+o5JI56kXnWl+7B3+3fI/0Mtb1kVTSe63ZclE1hubtZHF0XqYsc7KORyjA27q1DOJToVVJBys9OD5w5DZoSPn0T/7Yq+0THaUbdKGNs/+Oeo65YHa33BH2NIjjpGFPfTnTMoEPSVbirrOFejA35gQdE10/HRFyhSP5z/NuwAey1KKagkdNF4GPmfCKUwfOq5QO2xUgLAZEobF3lGD5Pfn56j25bFMvDas5JRojUt69TYCNxO+1inENVRl4idByD8dEPONj0KCsoQzZ8mtxbxV5DS3+TCD7zqd7YlKKIvo74w7mLj4fpJwa94iMh0Eje32mE8KGDuMgyhWRqFS0RlSEZMDNAv6QV9mRHlk3zuturDWZsCvDoJT4s8kQEqDLHnkfZQXRru/ic6+2+FI8hxiTBXzcNcwHA8AfQYaVxF0vwFRHEsUpzW0t1N4Ypq3w28NVqOAG2+5OaCQBSiTHDETgilK316F/3js3x5f1O56uiqwFCzoCioDP1P77II5zdb3XoN2JToEJsa1/vs1ijbkLSPfAP/+ZKnBE4UIVEoMzuSNU+0PMAIfHq3wToxuPk2dZiJoneTbmgaSXcCGOOG4rKObi9b30NjCjj0fKaSsGbj5O1ZUjL3V6jC5cAeGZUB3Kig5KstA94lU63MNj0B7j9HQV8O4D4pSY9h3kt5c3D/HX7bYKQ41vMEgdXnosPOGaietJoYWg9S10eYWmWG4hqTSKsSV0YBu3kdWsFgfz64U9kH4f/hR82hF80ovXsbWLrJ+hhl6MuBAFB5PNfSlNWRLlAK/FN9xKACftjtRaSm07RhmFISQQLoOLPLjITMnhC4F0t6Dq1qcSTYgqvBQZ8XYxOA2QVkc8pFXv9PiWT6mdFOGVk9jLGe1Ba9q+kx3B5QudsFgNh3VJlP2RvGVga41PJeO7Sv/b3xqqsjhfBemiYjOSfdU8a433tolw/D31k13dX/U0+pccBf8OFg5xBVI+e1+xvNhRMXSxMgNMO19tqRrqZw/iyVuNaROi8pyDmsI6yhRcTvs6oNGYsRnpXg9Yz0EFvO1THJS4b7b0kKZ8HAxSl6JxUE80ec0lAU9FiwKalWnh35dyG7TZYOdov/i8TFRRtqrw1lxnWYiZGdiAiGxat5itCzEPvS7QwF7gQqKrn71+SbQbAgac4hwkXHonjwp9KyY684MAfBgNKxbN6WPBqO50T+5BjND/LuAnciMtIcdho5N93ihauAG6FzHir0ATJbHuE3HQIuCPcuoOG25d9XPIqxe2qGVA7rGOudjqZWfru9PNPJpQgtZ9m/aSyJnyPWL5SmOaQJ0dnJvjz3n/RNh9+WxSuszqkTasth393zK/UfYnRq6yTIhvp1NuErbTNXYhN8BYKhSGIWmsPIBi5Gb/LcU4vYE/+98iE1+VC+1Sh2S+Z45evYfpuEu4MYT7NTKhXU/GVL797bfHzqZqpXZuUf7uirlopY7wQiwIIpTPMJjirhCWW2Z5K9OyvkFUsAj9oIyciZE4w0yUVw1NtxOpZAEQaYAnQYN3ZYxpwOGeJ3h5byjMMS1wsanmp5TCVRzqCcqqU9phjDTRBSmvmdZNnTPonc8oLOQ0Gf1VNofinrQ5S2JmWJpC3lKMQP0Ng0Z+X+39+nAQPdN7/QwaLYC+I0FA0gji3h8yipNGPXfTtMHu8MYpVyzmmvqmjJpRWZh3XXQm1DXeuV727mCzi/kiq9Rac0FnGUUpgnv20H5B3gQKgveIkbGHe8JUe41muorXW1YeMRFkxMva+VoUqTm9LklzcYU/58Qq5Wk7XQXlK0BDTMDP55LymzXooQChEMvGHL5k3IRY//3arale9c9sdMMUM6Bx3az6afg2djLlpU9FymtnaMrcT59a8WJjxnIDage0NZJmlLgXc/Ue42Wm0e9dITMadbU5V5sq4GBAx1EnYTxTokTeYttJPU+13sIAG1jyB7gCHInUa7fLaegC95Q5rcsBDpYzWguurXCOtWzTPD2uBq6hoz2sZQ8Mn9csMu2mInuiUet8qxulapnRg3xqnGH2vXKgK0mUaiFAF5TPoNcFwV9B7FFEzkzlaWVJ7K2LCX915dYepozOn/QgOXa1/N68g2DQ41ayKkNYEjvLZWcaLoIFFURUIXm1eQpfy63mvNoWPiqyQeS2xyUyqN/lx8iTdu9IqGTXRIJQv6m7ckDB0EUtqOEcYie+eIMmiXk+cgN/KJ+rwJAWlZPYMaS1+pm3Uz9dbTzpq4vSrms8JZ42GEBN07JPW2/5+JHEDdIvkvGyJG8suzivcAqT3eUhsSIk7Zr3bVc1cyURwwyz3IiO7atzfOK6rfUxhuGbE0/fqUKie5MJx7CLkCyoIn076nA64ALoMortLIhuL9gblzbKEL8hGIPj6MtxSVMci+z772Z7L6ZAyris0h/houxgv7WNgm1mJZxMPUjmVFAi+m6bCxykKyb7q4UWVmamrH5DGDUVJtE381uu6yHe/1BNSE42bHxvTrjWuKnklDoQBDEdExlZ/+oGExm3W7wgswJpIZI8HzEWEZzijaL7eaAvnrd4HINIyKWdXbhFTu4026imwInayvzFVyCeqe+xT57H2Moxu50+EXowAOIGE5dMHscfedga0jT0q5PlfGLruPxguCrQOsrrT3LNYhooI8RdmnjGjI1HNHUQoAJt3yJmHLr/VrzY83b99H8sRX+3C71zyp2For7xnynRcWxwsb1zgkX0ySmN2v+Z69pEj1lm/mxmKvGzcX4rwnazlIfZsoeSV7WNSRc93mN03FGFOVJbRA4ZRB7AKCWHMxNKlcdE6FdOXzWDaPAgmJbrJqTD8p6cVEvtE817hfwYOQJVrg9bpVg9e2iG35rfeU55atHSUKK/t5AQllnEsxnIpaxG2gASGB0MHffO1BIXMY0S89bbUyoT1XKu97DMilmB1HhfAZXQqxP2szpiQ592P7c6vFe6fWlWzkt83mvmUTRCMBKTkIYwUX5FvgvZT9Mwp8l+Mts4/jWJmt3ZxuFqV74axYEzk3IErIYtC+VRR7myXf1QMeD5Au/MinYFcX+G9Iom9CQ804uezkn7dyyofN1CPc8yQMJLE7/OO+Orc8j8wNss2Qn5p1PD+hZCFpBDuuziTYdVYA8avHkBE/NB+4vk4ZJyJw2kA8UO03zKk25mYQTDO3b4sNufsjaZF8nLOJ80NlwkCSoZ2qHTSCuDb+f3nqi7663fZQbih08rhjG1nVuDGOzvJ4ppwDIpXuLU7wOOiern7D4TecBGvBWKieR9BBxAe+PC+2XkOQuagBLH8w4hl4oAPXzh6Zn6bQeOPNXecjaEdxW+eLTY0OsohVAm6I7qOaBWVIqrJ5kf0LlQjAmXRakY1HZgDuxZ/SA247kUMYtg3weClsixmjj7CL60cdfFkEaFtMJUtqUg9FF9Y0rjOHDE5ZVoe5KbNDIjpyIW4lkHqVwPd+vcuk1TBn5kZ4uzOlohN0+EUVzoLKnkUX6+fO3oRyvgT71W0lxdxtKuoricFbpMFkgV4Z87PmnE0cxoMcmssWor3hXbc6iqrfFyFrHOIoAAeluaQMjBD5fe8yFB1IHn/qPImcqpPiXiBkuujNZIraAlu6YYAm504P+O+YU3s9AwasuW5GtlvMGXTIRVwoJ4EzHHa+dLsjJN5f/ohZVB3u0v1jOaJjOdo86fiBhiOPCPS39FqXHSp+jiVWs87VUgLGusFtlAJINJUhxvXoQpI8VWd5QIC6GM4DZgGi6j/JElSV2OmtXj7hmJIyuvGMjvjpp0KbTKC3sCvELbgFkl4ovCNmUyXaUN//0TnIkwNL3Sta8gw125NtdNVyIEfcbXUMszfJ2DmrQpl6whPxy3Jemx3SPrkm++bDtHOWFeb+m5oBbalN0ktOaHJZJvlcv6eM/xwGONO/w0qmIrjykNNExa3jrWW2wjVmtlf29YtK7E1c8wCEOmWp1Kk9Ikes0M9x4oBmz0s3E+2H9zUarpm/xivGzIs+7VRL0m2XsV5mFk+DNY9vCy5FiSAq5Ex+Ma3ylUzZfZeaknNQEOvgfG30QRTcYSMVKBTlPztADAD+CgrTefDBRCbutwrhIcWj4/AfrKTtBhoo1/6aUCNsPhYJALL+C8XmH+FbIyo1fa9jt9gU28t4XlXBNglWScnm0jxttNbJcpF1SLUQUeMWZJdJ06TfP0bmQD6+PEUsZPBEOt7nbow+GHDmUfMphvEFxgMaWf2rKj5qwaA0luL9qzRTapGW03NwxxRYkC3U09wvb5ZlYkHDoOZ01DYfGkNHiyANZBhWBerBEELL/tTXSWhh6cw1poWFLwTiqDTGYPiwXMVSUiDXcqRb+UXffl+ubWHjhD4s4jxTjstv9tYiDG+JvCHfUNm4iZmJrvEifUqGMU0683YuLDgGPyKr8AP83nETviNqMN8HvW/5NFX0c7ePOPPLlU5RBtrdqm5OV/QM9RrixpqKqNipx9OHVNgjbaF5Y8gxjMNlbYnpYPTNcccZRO8spsbHQt6P5eRSXph5HX90k41RJZ8qNwOLfSpViiDk+DuFkFpuYAPqv8IxjTtu7B/y1I9FtfoMmQtrXb6GvIStpDFnzwgFbgPjO7c7uenl2VOCo2l/4vyIYfewPWhjccrHJ8I3qCqU+XP7+HYugQHmizRzZ8OFZfFPRZNxsFZ0u3WIAXAKbILF/5xd7ZLqdebHu6shpNm7Dd2FqGRBsRC1iG0lE0B1pTFSTQaJ0ksfa3h1O5kBmHXNPcLvBU6qLzZLnRrzrNw9be5feSN3vU6UyRgaUnGoMZeyW6nh1zo6qLqVfMUP+uI1CvvuxPptJQTkZyk2VmKf1Yl+D7x9/SmQWtGy8N6LslMWMlTT5r96FRQvgKuYl9QiX4eTQzsEmp4popRYSQW0TVVAYODb091G3OWSX9r61xew3D4ZtfnR2Ivl+aS0+zfDwoeEaa1LSWZ5XAA4wnsYo8mbWX8Muos7HMEPxdMq+ZxS8E4tR8EBAbOZFUo/6e1IDWWFSsmoYsdq+6tEjTdRsEsxQvcjyqxGIVyoas8Wr4F0pzILU28G+q3y5ZdXsCbHGQKXYTr2gOlcdyH3atfxpPkmFZo6gORKV3Y6ITMb0sYIJCqdBj6HKj+Wb+Bt3dJWDAEdV8o9o+vVNpqXEVHzbRsP19VBVRACsPAxSoLpcsx39hUUOsYk6QHXx57H3T2v2zC136cizQyUl07N+y6/VGgh4IHdq0aRwxepwjCOmSB0C+dXF3JtOVOwCmeSiOthJDonfa5q2EMoDv6AWg4ruVjE+zBJbVr2xMzdxFDg6dwGlq79qhnG/3QR+rC+tcwzhC5m3lSVawlY6zPbBTaO1X0oqHZYGrEOjb37iabR+afswvXZ7zxo1aO6jf06dGVl4raaVF/sjes6XNMDWIvGk3g8AOozq/8PFXGPkilXCcwoNZv3y2CKKl8XYenRFpbSFgEgu9NDBVK2WqPStsmdaADvPJPB2CkykCWPj6JduWEDB/tZqv80WnsvTvLvntQNWusGKc5eMydTOKWBt3d0bcKbMvftSuqKjxktD6MrGrVo7Ghx0n24ImEOLzUwBfyVZbW8umcbRV6PUkvTFDTvBVnj7S2UeEf6sAuE8aScCogZRsv97JrCf3JFmP93JL8B0NYCrp/JZjJjpi1cBuGctzqYSANmg57qu1MFfGrpUSuWSwGxauivnPy9aM31g4k+IE/Oo8VGFsIACTiDp3BWxP6oEAZtllre5Hs5h2Vouh6SaoJ9gXZMWi6GTMQdoX2u2H32IRf/jYL7WZHYfCDhlXrUDsYZ4BgvRfMiQn2+NC1w7kNrDQLU/ofoJcjE6jmziWCsmhHf6a1Cw88stmGt80Z0Bj/r2p0HHg/u3aSsEDY7JpN+l3PCzoC80jPb8THJAmSKYLPaVQ9A1OR1Rr0yY6TnHkEHOWyNVTkV8PLkfc0X9Hl96O/B1WHELECUQkSFBfNIv6KjBvgjXmQpP7YK4lcU82SbJ4dpWwOU1geqSdZYnawEQgDy5MBo+sGTA/PqKZ9nQIiW4q0oE8p++WNOOYZ0kL3v1LiM2olmJbVY+rYRp5GQZ3/nNcBs0W5cgKZiR/pWl37emPME4f6Xprw5Vc1MHxjJts+RUs4N6qewNht1a43RyI2AdSTa4RuDCE7+Z8W4xstNgIIwhkAL/2n6sbAPPAEOEvz1x7uOHKGODk9kyaM+NKJHVAcX1R7Nl6hSRDkoqrzEXbBCHrFEILVyUvRA/W8wgP60vwQa7zVWJCKlt9jfBXYQGAyW5t/qaMpSs1AwoQgZC70+LCXLnovGSHXVvT8+ECI3a2O/ddM5hfvbcRyyn9KhKqlVhphLk171LWev9KkVwphFNkzSjrfFuoo9qFP+BxxgLSX/V3rFKL7QE6mmErqOi1BTUY6pFCf1K810Vu0vEFbhc8SiZSPV7ZCrJuhtaWzFdWwfaHzARWkg6EduwTl/X9VPJsJinU3wxbrc7UxgZZzQD3h0YMueyk+HasfyWDRtk/MwHHk1WseMsijr61se3tLGo+CK7o6bPT569cfP38J6yoo8ocIpVa8TTUuvNgUjjmbhxO5bsKWDhVIPFgfSb8OV1xegQsd3xjzmPXvfv6J3Iy60XxzKc5ppewJGv4p4/iEbz+GiOiyMW6CNa1noEKdPU75N1Br3s8hlLpsWukqFjHQXFS1UnZArMJx2NgqXnvhmM2sp8lukP1DDvIqR9dvT3lp4YEsy8GI82W7OoMKO1zQYYOJ6nq99mgrjb1uEUt0/mjFBiOVTpRjCNRV9PYZICfDDv1Hpvf7UnR378WsblQ3TKkCZpH1D2J92DC7A2vdBsxq3DXFjxMt7fjAUqrXW/mMTa/0IDBwlPCiorBg9if2DRcQMnWaMs7iEQHIieFT8n3RSqCXiNlBVf0x9afP/fJFAHw4SinW/LOdg+pB2Ko1UyI/tK/6uQh3J02exhtCbgggvDvW1hO3/NmQac0LxChtnE7VVCZstVuqVlEcGfWaUYUFoQ0VMEnw61aPKoumNYdq849biVIG6kEH5m/Z68FgodfBgxP5Ro8i2OsJqR0YgbAzHnU0TEcl4dQsHvTO13KRWflULk4ixKZfoJNkCSzvw0mdt6cVLEjjt2PH8fHMqNE8cVYjDoCT30p6En/CNmN3qSskBzJAHqqBa5p0FYw0mDI5Li9e3DwII+dMdXkZ7c+2MpL+GcatxDq7+5m6WAGJ4aqEGDRtkCbuieOsuUg8XJggUz4+AvJvikq1x3fQY8qPIdJUkejgQbMixCrSi7N85RRJOMFmN8V0a7gEghDEMGBPhdeeYlobpDqT28bhtnE3a4hggFhGQjGDAyw+kfImYaWimEoHBR9W4r3MoSUwag71sTPGVNqvE79AsMAlAZh5iQKSZQmCCMhtGAcoiEJxbk09tPbYLYoJVn/HkjqV8jiooRUVM/acLKJjHyGrI2/Ujt4V9Q7elj01oBTIRUMjT1xJJAJ/0aXd8H1B84prJXXoF5/BoQ1z+xLEbv1Rdd1lnndbnLuVxPhRJXv0ZLRszwtzFOLqLXofwK3kOtLV4e/JPjKuoj0yvg9QOF6bVOetCAvX5QVf+53QCyQU5iCIU3Y3doeu2+lKpmT/TMVas5a6CLyI1z5SdJv85TkSCG6QiSeUZdj5oFDVsq6UpY0Rjwn5kTOWZwEJ8hm9lMUJnoczZtm/AD5XLUjfU+Cv4gPJIRHvtizv2QTXdDff4qN+6MW2K4Ie7qkRtQ4Nkad9UgOMQEfvWYXdZP2GoySavxMpDw57U3vrZCV1uPmYrRYjRrDNX1v0HhA5hR+MQA80rZrgec9W3x9soI8B4Lx+6MRILvEzGRHhyLJlt+ai+JqzCunLZzYnGbbLqimvzCpwZYPQRL7+43FiSwl1958LKobp6XeBXdsVeyJYD2ClfIgZwfXshN4O5GXayY6ON9vN9tozHCP3zHOxuAVeffhn5Q9qS8as96RWDu3rlZ/nNUt10WnksZnFwFXOyrR0Ouqh/8W4SZ0A9VIeJhkSl5SM4vh9l8rwSXZdWkfIE9FUt7peznhyx96iD1Hwmvimwq/YQ39phDPcmZkrT8+PuYwd+eDqjUC/R3vUL+u8D5Z98/FHdwZpPClUOEY8goHXz0cQOj5f6bUNJfnF9tLL8CNmDmhmy+Qcgnbookn1Mkds0qyHVN8WsmrwnChEos+WS806wj+YbRYxnQfZnYdhzLwVrbiqLpDEnTrHo+z2xVu5L+ol8YN2I+b1Tss/k92JKF5aJu0pOef/kfhzDHKrq/pSWTBNKzJlljWYVIISlLani8xFjiuHSkaXIDQDccJmmD/RMuoqipDKfrSIKI9aTTQSH7tuPCxhIKiLNabSTdybu9t+O8EezKhZNS10IRimr/UmF0feCei8qIwS/UwHM6H4sJgXwNzFGzubXczZtUL34QAKs9WJPEdRjUXbM+3b71aO38+YU9uEDGwNHpUBBwNQFX4WBTuB+sJgmgWPTb2L9SNE+v6tUpL8M/EZJziFDPU3DKAu2dwn7A3bC4vPxLUy0dLPzSoYnNXXk+8ZhUJmQ/HawIB3Vj6mSBsi7Jl3YdnXNARMeTEfqSZ4iaSTQ7D1X8IZvQLCEokPZ8ktT5wpUJo96w58+Ckqf/K/YDLXX4n7ZFORscQfkp3YFnv4POLBwPKSwl+IFLXPmzEsqAX0wm+E33YZMncwGOVRYyVH2Ib3ELCjGE/MC13Lulq61sayd2JNqPKhRomrOJBKursXt9F0CrzfIzKgQfjkrg+U/qVpRZRlaUOfAHoOZV586ULj82l4MWgYyUKVjEd1WJrJyBZQl3TFmyCHRD7k+x1/uShNtpN9PL8U7jSlPOB6ISge7jnPyf+QGvhEybtEeHKdf2dNT8XJ17XdTsRDX9wVxNuIhdYMB1ahz/ZU4LG8pSKTsnat1IOPj369aUl2pZRYtG0kJ3268Rb2PyzpicsKURGhX263YHl9AbU1ifX0cS0UPKcRJSjETcoTF/rX00sovTtn/vui78Rz+nXTsHispZPaS4WxkzIC7qdxXRUjEN+DxfmeVcxn4tWDV4XNIblpbCvN0tQ/mNZB3i71fj3CM2gmeoZ24T2lcWkZITlVOCFpHuHDydzAS5BgXhLLAIUKsOowD6+7AaeTqY96hxaZvWbrF/MtgQQPM5DHHWU8L+6wOxiGOqKI2D/hxBC40ZjVhNmwZbBlOXIBY8z3EFDqH+C1hhduHPteeIBZPW91p4QNHCXuVeyXMm1of9Yg7pYMTHFzSGVTww9lKTzLBzkSVBzKZohEPDr85F/NUEsncOMTMzbnR9rRJNNhP66cd07lH4RXJtCtvigLoxuMCUXzymIhJT93htK7BRhJc/5UfxdxzJSNNOYvMQfnQ8Pdf2i8zFBj5xaYOKe3hhlepXI8LHt9SDIod92tr1dmMuyPdGxOycM7c8ECfksdP9r3b2F6jkBWeirLKQJxkDJfRwa79l2jBQNGXo6gyXcyZQujiWj1P6Gxm6upXzDPbp96qNFR7E5iOveGtzmf42zxNw7QTBtF0ByEhF27t2sAEdaqMMsmZ0pkyMa4SaCG65ZWYcrdImPmm14NWti2CZHGfuybMQ7TF4wLdypbJUsha/vlquS/AJ8YNvca0l/ZM517GO1YOgOblMd7qxPdJaM4Q2TRw9zxcYcUb87nK6e9CUUfeNeY4IGJwm7uymJ4GJLlsDNIipPNNAeGG1VrnKnKHZLVF3Oz174QiHTu7LPpizTKMB+/0npVOmIShla40jQaqCqva1g4nqBijmlItau/bbHQjfAqXZvOThq00aSVCPc8U3bUyOM3gluL4RcMaK8SmqV8qRWvn/Zwqf2svQaqTQmYGhM2KycrUP1BysGFuxfiKQg0cledPgJcXuTWa0itOjllCwoCgNsXQwvBrBnsO+5TMCxw9HoXZG0+V2Kcg7ES94UAhd7ESu7Qga00/gL0Zkyjmyx9/APEdg/D7RVkbOF4gRLt67USO9SbCxL1D5ZMB5oAlxNQtzTtSedRSi2Nx5oZHWFcAZvuTdssmFzFUYNZf5wVOutApH3J6DXYbgbIjmuCw4+yM6X37Pp3tpR32ed1J18bpB9Nj57dBlPbSbQBHOBUXw7o48V8AzoTH6OdNQOtCk4ggKsFVwer5P2sEEQtH+BaKpL8ISHLk/JSSNhmSa0Zw2w9+HY1n7DLVM76vXafOhtdatmyMQmt6gX8POc9aWmiDnRSRllNcreQizYn3/UnnvaoWBm4Ku6ZZY2h2cssQOm7TKPoJaKsRLpEvsmJ58IZl7RHmX/fFil7H0yQHZBLuqE4RJuWUU0sq4KGEsycYFRt5fY25YFVzKMVvhAglist/Y5QzY/SJ8Ras0rwtp7B7dZtB7/A7Nm89HkiibB/cHujbIEO0VXxD1Z4bL2mJH0Eea8/8L5jhBDsay/3CS8SgnJVnZKp7TAFl0HpyH4y+jklj2Nj7lRslFJdqz8h8yHzUTqgMvsvF5eyZrAu9rhuZI2SQi12qJL26wwJNJiHWyJ74Cwy5SHKxx1h8RzRwjhfsvMXNUPuXTXGWs+9UGOXGPNK+QSaWNarEEV4Pm5dlAz28GPbn0FSLSK1kY46fugvEiDjJBsYwkI4uIHo3yjHSESUVEPvmZKCM/3c9fNIWNHEzBsEc19fPKzgednaOZs3pu8qLTwKsiryQF6E4dULmwMSJZOnwXklBoE919cbSYbvPW/wfmY1q8bum0Br6/L+MzD+bQxAoxkKCzs4+Z11iMbwiX6cNoV6JGYSxvUFy0XTsII14DbPdaJj76c5cnsYO3e8T3ZN+X3Tm4yNtQkDDJ2RG1YxdMNihO7ILOBolBMe+vPD9UR26TTCehz5gQEtTYBnFCVOelIjEl8JCKG7IGDS+Cnu7h/bb8SQFrRk/rD2OR48qAlrxTEbeCkri9sOk0YjElgvGgsx0G7xcjsLKuUNAhWPWN7ZtGzQ2ytRVVveTFHB3TENA2UjOxjiq+dhNKKbd72yc+ZgUCS7xjJU3mwk5bwcsTK3UOZ55VHY30OGTmpXzJ1SwV7eK2fcaW2vVyTW1Hr60JpIhB8GcEFmSdMnkruOP35Nv+7SN+NxWTtdqidw9/erIxiXEZT9949qBDpF+L3Ixlkfbtl4hQ5kTftOu/QuxoP4kxMDuUowjSIwR83rxvPwbmpxYVZ0gPHEln0YRoAR6MFaQx2P7X2THaftIHPu2emwQH43FdTJ5e4XPKRcqAEV6n4acyPK8EQE4fxN98jZIJHeUrdXa68XnvZ7ltnV9/lOBQaioPLRmiCSV5fWuyiFf6d2jq8NfoKl5YYjdNwufLYbiJp9vQXZqPqH9bxCOleQp0/8/BqG2LIGtY8k3vKWVUOFWBW3aJ0vJHgn1jemBei73ZMbfuKyQTjmTMTXkrfGEmWSLzTD8bWnWuQtVeYp/wLsKL8+Zw5y6gLaKTlWEyT3gUWYyFrtSVwU/6aHVsNh675pwkFwAARBVbItb0hIgYVz5pQxV1nk0+PrYx3PIrGB7BIIbmB86SCx795mjpEWcZ+Q1CQAoJWDrmB3Jv6YuxRICORIMiUeMBtlXC9w/A77nltwoehIjlJd4/zKXM+SlR8uj8ei7T/y2OkldAV3sP/PRS9xoZwcGQEBKKtmvyjtgH+pyv5kKO5CxAb1OWKaMWwhh/ZuobpCe60M/WE7qkloP+bV9XTakwge5KXapkzDxYaAM2deO7L7OWJFLoN6UYuNIy4qYF4UEoRN6ICPrnQ4csR6WYHXd8b9o2MyRwO5o3R3y9ynTBCmI/zVsL/jQoNmjr0miLDWIsSxDEwFhGt4jag98l+94rfgcc4hivLt9vXC0inbYipsJ9AneZZilNM0Fha22KYpIHD34YBTEvYm3XLwbbQzJevqIXkmKMSSaGtxvDbtDfRR/Kf7UbriGOsXTOdXowUK+Oeb2WpFRKG+b2g335+efYiz+kFaZ373H0G0fmtrYN1DKX5jNZjpL+0jqeddVAnRmn3UTmNDW9McJaoA+buniqlHBFf9mMvx8KTeaNumJrqTlNSZiUtw+ZofFO0EPbTWXMf5JMebY34qT2iC5AKAGitMHSlV8Q4h56t+LaijL246mFhPAn+MzPkjIkSytICaCBRgfzraKo2e7DQDAy4FpLoe+vy4EQQ3wrHplqV7YAm8NWoAs2TEaXBHpKXrCO5LQqC4m62WV4zoYnqRBz9BsHTC8ruBvM1qcjvimnMoWrVNbZQrcQHYj2yHmBB7H/fhU9kWw5LbegZ1iDEcV8fLLMl646CzVnEyUDaz0Mrgc9SOhctG3QM8/dyksGGxQds8FFNF7c5fxqC+AyiZlpfc0OG+5Rh/AIo/8sE53wwl2g6ZOUuKqHEQeBBhfwj9Mj5hNwKWyxUKgQ/dH+68VbJF1QoqwhQP0VCYlw9IFX7QUh/tduD32d/cUuDbinh0QNfTiQ5sUng0lSwnRpU4qzGoxKpfQhxapI0cwlLwDTbmHpFf/hxDy2U68QAvmazXANEVJZXdCQoksHBhyiMBUyfA2oN+uadbp5x7BgohCzim9vmFHsHPYa75ibj3jfr1TfNi149eWz1jsGMQOcyrqxwGv0e5Gz0rcsOBW0ci0mWUzPTi/7USb63DgeGR4BIMwyZ8DadYcvfCo7xeEdE+YnP0WENjNACaMuif6iWNbnFmUUaievnJ0/Ng5GNNK3fQSUYlAbLSvgekykNLgo2DF5HZRVRik4tqRehLUHHGVR+V6Z+m+PARJnLBduDeVlv9h8alodLIM8LNDl4K6uk0Uw2ycKMIanetuTqVHiuHc0wju/I7Oi+ZThv2Y9QooYuog5JcdJYsoZjtgpBFLVW7VaavWv0nXU4LF93twzER8o4wd8Km6db0nBm/0kLOSBb+X1YMeG2Ko2YGiEA8EL/gFF3M24iLMAQ2keJpfk/ytENb80OG5gMYKlEzlEZ9SVspAlcHXG696M2o0V4mM7E1Yf2MCDE3rFrhoFyZUHszsaFx1KkjldRF9hdUpwN1VxeId2YS9jXIaIKjXCnuYJMFTGS/VcfJ151c/zOixyAhfRC8rERT8ZfhTjMgpV1HBGmCItW5L8VtFQmpmNxyf+Z8pMj2Nt0Rf9N7JLaPZFKPjBUWGZKN3PPaxtTOCElIzom6//plI0Ds4IyDq+LGTPahnJsgqHNVBwUTQQJCcheLwVi9972gIgiPS7hUYmMiPjZqxFmE6CKF0IP0jz+AY5Pgzp4tgZIALJoPzL9g9czhNIc5PHVURwyHHEorvXh76+fEpUKxy15TtE1iuI8xs80wT2+/a02C7GjJxBbk6eq4mLPybcsxopsFz7OnIwNGPUuRfLelXnhFuUf9L0oADqJwyMlj4x8XItUdTYwlGcMi+s1jtn79jr86ZbD6GXvrHB6CXZcJYWlMvps+zOgdbw/B/ggULboSr+0gYDBIo3xUVUyL6H5c6xFzwgb/nDJZ4YpsZoz1bDi6nBxT5i9FfSoLXxC/2SlrL9t3UudsF11capCrqvRhktiQoNKyyUdMXfnAy26X3YCmjzrUi5/lEhmhjLmBYHH13FwMUZp8UP0Rf1ZKO6BWmLE9ruTtIn6n12AG8kqIDJVOd815MniPeuQGnjkn7IPBr+S9x02OJkohuMsX0SGXFhZzLsGVI/igqXTEsH1Y8mpkMrwizBILQsOh9BL9IEIriNU5xQ4IEafn/MVLCkJMVs40Lf4qMfiKJ62jCbTWZJ9IJ5Kq4nivBSEbpNF09RevoxaLinN/85eAVaBRU5SHPcxLHKvH6mx/kiGc4F5izDlToswKyKzy0V5q69vpTBHe9DsyPQyz0YTAowRQlLa9spylkNgIkvCS10HMbGnGTBUbeCsDwmr8LPuL4NWga+I7h8nWInEPrJlQe5TZ8y7lpOMs8QNAf21bHsTz4UiKPHK/zebEN8yF6sM/F8lcxIQW3BvIPeIgiUXKR1+YnVdY1NebqtwRzNNRroI6d0UCijTFV1zKC29ZME7//hZ0lIJhV4EVZW0TCLwryEkcNYTZ4NWhQA8binodk63IudbVFPvmux6RFMRIX0SJwyXd22zGO8u/oDgQvkeLZhtjJzDVs87HWBdglTEAP5j1oBOPQ3G+u/R25p3JS/z5kj8U3FEgDh6Pp5+YQIrc4akulylds/liBo9Kmvjt9h3/b8eEOo9kXqnEW1RC5pTsxaL9CW1TpB3Pm+XtdRTsDdlklG6oEQ2XtkgZ2aTfYFr/hTHgTw0faSww/rI0rLdJjQfh6xY9ETXiGuG7VTW9+mM5m37/bveZ+x4xt/Iu77TD4ZLknOEB9LMRmHgEkReK3ANEkEu+qjmdG1vKZsC31vBcylTmGq0hI4z9lg9sfPj+IJsPX7IhlTOy6WmXtw1WoHnsrc1d91LMM/uP1x0IBxOKMUoHum8KEu+wzRPlJUc8MRWi8yr8Xp9MzOXeL7975Omv2oGlVKm0E9M/Wlit/9i8nyYfL1Q28MMvGxlc/gjMvsTwHQk5Q5p06mvWz1pOyvMu0guPFoXvyBQ4FJMjuGoeFq3mUWkjKufM7PssfVsuV34k5BBq+dKyy4heJylYBj+sWRFm0fzay3DMsV8StXQgJ3p1v9sNM20slTf1p+pnK7eSfQobNwUL6NYTGEIa19o2Q7309IeBUdq7bdXuDpishN7WzmD2d9e8KwQflhoXx1OLY9ER7fQJExcN9QYy9FjGeU0OVp1fS1mYTpRQX0pKQHeIO7L2reuG/REkS+d9q2RNvxD3byKDoyXqxVl4HopBc8sQprrhjd/f4/SKePqd/7iJEpsC7Cq1BVnkkWLnxuo6WZHg1Jvu63//uFgGcKVSA+6iqvkssyxjTweP1UNsgRVO3jZTUss4t/Ehc308zLYmWxpj4+bJ7Wvz+XBKhzUEXYOJwXrQDO60pPfgcYdY81JyeGvz34r982H6UYYPci4vUVw3DjC5ooJdraCkKkIcXMpXt24T4rq2he55kHlLPM7nfTiE86v6ycO5S08DcbYCafjjlocxDcPSNQK6WnatxUNXHON99X7a6FUWQAtiQ2tmsRAe5KqT1ZZPyfJ/i7TmfqIlUneH1Ul1i8kLl+ozLymy+QsWbR79HR3bJ3Ye1GNVSfhPxCZz5tx8LdGDTFVMEPPw3F+eFwKkEMTfCtaDNCeS254dxx4/Wa+09tOonNvdliswmL8WcdY9h50Rr/u9/mNwezsmO8R0c46RLwTYuZ5F/arQNPX2oJ2wuKRwGIIWo3+U7KcOWMAyIokNA/S5IUNE4O6ldcAtOMaK72lpSJbHQVkJweLeEc0D//fp0OhE0nOJbrBdcQHRtMSf+1GApfx42PXWALK96AA5KlQWcgNefEhcNMdD4N6hzbeBLutMpcpYuDVIjQEf9UD7KohG9RBPN4rP4gAPw4gQCX8tXBxevyB7GeYuDGMjHYSLBm1sqU+gmWjIMhMuXMrrGZaof6eQsIx9FvZw5+gDLSi1Wg+zC1ycZ1nAK5D4/2SwJYmfmzZPVDusJ9Wa+9qA5eQS1hYYcONCcf7SKqEYZhWLZhAtjyBPi1HR0y3K+ThfgXgwsIMVlPYk2sPveZNLSamIAGZdOHN13zwPvkQk4egV11Adzpp1KmgOzGyx1n1XVv2TG6nyd45h8mpvpLb6jsSmUVHHK+vNItZo6k+PvdJArNysgy+9W2/NfDdKv95FLfummK3u+Bn94txWcXPIgmbOyRI5PyVYB0V3t0qAUW84W40DEUrE+HfQaNIoHtHY63heK4fzEwkXtn58z68vY8LRBthAmObkyZnBOfaCQ+LrdKLWXK+QYVr6moYaWT11rgtb9ZpIw2aUxmfJlz/LZ0+yeDQ4D4lqOHc8EpoWAeBk1CjgtDFfh2sTXA/pxxDT+SRNiFqCp8kOu6B3AV/L5ofMXa3XHzAgm2aPAue9d9j3aiSm16bwOCVRM1cTclOqtxxlpcIyWpfgc95PJi4f9ud1W5kgsDaqljw2z9lBmozWNF4nPaP0f9w99FuVSKAUOKyZUNakNOq31SihRwyA4c26OKEft24tnIQK07enkRDoa6XL49T8NjZLD+/vQzi6C2BRNB63ZKpzMCSfSYqT7TArJC58qhpD+qG0UFMPVLdiwE2D9P+yHoOMj1Wj87F0St+Y1EqIg/kZr9idXqTphP6BPXz6kMiNYqlSGk0yxFy/eHGOuoxeOxjLC0wqClM6N8m65+Rg/dC5pyN7y5j5DlwPtSx39XtAOGbc28z3KP9MJJl5oV0HXxQXCa/roPT4B0whaeUvob8deHePbKUx5DqjGuD/+ydZjz0NCvu+sQoo6Ru437B3aE8fA7jb17JD9DN5o/jHx4/lgJ168XgPGn5iBxmppu8PbAjDXbzru9whJrYL19FN0ctRai6fMzsQPIedH1MaeGZNP8sBz/Tq0QXgmisngAedOtSE6do9+OPuQ+BbWr1qnQOtiDMkx61D6bfeRXKY/b9EAWLOZAjQVICvp0O0/7gFpiJcOW0eDQzLHYrW1UwHDwW5bBkjT8prSCI7HudonVZxJhM9v9Q5DICsnq3DpTDAZf38qscuz/lAKJr5gBJtkeOdU7hEULZjLUOtBWUWLEWGQqmqetUML+nGJhj3HuVi/td1iEbSXmfilRO3ViT+8GGjyaMk8EAqVrGpMITbTsVPZR9QciYQclNUW53AZmzLX0ndzCgSC04Xtv4tkMzxePIQ37nh4jlwh6AmJdeQTsDR1MHnVu6/XjiIszfjdQY8nMxXVzfLJ1mtXpMjhkliNQapDqTT/c5ZAFP2QvmvNbSIvJY57SoQUP6pkzviDHUrONUG1z6l6ImdtxtauNSRHVBF4FG2tzdA3y25SQRvmiXdUqpZnaouW2K9GR27xxk88U2ltmxbyG1Q9Gp0h/O6/AyflB9+y6rGm0Z2DVCh9nwl/GUC3mw4NedZqWk5PH3jso2rcSHTe5o1Kb40WXFd06+BhdMkXBwVcU2fzQoHA5DoCc3rp/Ylx66R7CXQFARV0Clew224ry1KSPprhTiDCXzdrmh6S7MW8EGI/6C9rWy/E9zVXIvCQGLE4ipLZv1uQzOnGp3knrth5SfStMygQnCrWUFE6PaibjlUW/8+42ashQLnowo9uMZZZqNbo018FQzRbgNHavPa1xgRtG7j+hAshxHRRBkTL3eXz0qJzoUYx8apimlwvyU8rbTHvV6fx7vgVMBdpQbovVSUturVVFfamrQRTmoedfuh0cKgZha/rft4P08XNNCqXW6QsakW+QA2lc2hpVsJWJopsWf0JeNB8DimE0DFnkDq+go+73sDBdFM2ssf3er1yTe96B4z4ocllRZ8DfdcIaQtcdDAZK9cVUNXsuiA3dCqOhoENgXutUXthnXEdekzisK17XWnz7dDz2EVfFQ3vS2C/2Cu+XhJLmGh1M2KfdhZ3doc8CO1g5z6QqgE3BGfC79XUD01S71wjjn1zUVgy20I1ihH4Xd/BmD3srSGduZwvGhTgakEZbghpU4hAOG8LisF+Er73qr1+O2nG+/uo020VI/qvRCm8ojelhcHCHfUebjf1jWhbNVkyUpVwk28viuLLqI5Z88+/FSeuA+Bc2NsJXEWmDOZoM5bLPOcw4OWApMdClWd65alaorGvGvuDidpkaqIvhGPVjA/VhGkP/SSHB0/V9N/IY7weHoPgLY5uXh/Mhnc98YTKntQYFPNbikl7b43wgPSg1iTSDFMWHyXKDYaOZd5aFv+/eOKquxLioUsv7EiBoTR9FSzHeHxhqFgo7a2IwCH/8ZXSR5ki8RPNKUvsuGA+GLNwzkVEWdaRgkl8wR3wFNZE064XU7Fn/JQPFAB8L8W50jexYtGTypQ/gXjNAdGSvgObUQeESTb5j4hrnyrY/p+zi9uLMwd6B5Z7+W4gYxS+tZK1FDlMjTk2sHW7Wg+yRrasCa+Ghptsc0gvw/1bL2wvGhnGxSGRNFJ3U9eckJg2ExJHrmv5MQNZozG/NBzefAPFMK2MHBjnfpJSRUrM0xkMfe+uysPwAb+8inLLXFXeow/J5Ndd9ss87sBROmnkg58bDRgVn1J8nsV5yvf0NiC0N0Wo81YLsQw3gvW0b4NgVg6qmq8m4JhPX3b4HGN9cLwgbBiYRU7XNLDeKiX2k2XIcOHswbkezcyRmtel1IRnlJT7QpbEP8zvwj0S2yEZ/UopboC5ctmbfSU0JAXApQ+7Ex7rBNhew+nm1jHLhfHewU+AEib8Z344YpVyWt488KqMr9QyA9hRsPJTfe2SdYCC/4KFpyV5OnawZpldRtowGONBZBt4bjXZnxbtM7vYf2uy31Sar/53Ca5L4wdoZUSaFJIugBzEJoDNZeMkVCJpzynX8Ao+idvaJGEjU/F2b0vvn5d6MqVu8PtKoH0PrmO+Zk+9TK/8CRjxMZCy0sbUxRENcy7GCpW0vokjBKxajkr4AcD9Z8M3f3F1YszhRG1NcMjYkA8UVh5knMPn6j2tRjc4VliTTi2n+7dVPckrLoeDFuhCfI9kATIsNqiFghOZkuzhCmtkJedO2NcLK5EiZXURR9pQHounk+QEvFK+pqsvNHe+BfxI/qEHLGG/QL9eRCFGA9BlQP0vQO6hzRVwTAVHbAr382+ZbY00bD1qnmT8c0kUdW7NQPZ8aVSVkz50EOYxbtyn05xqEM/q9D/jJpanL/wM0LluEyzbaoKzK4tezH4PEVisa5Z5Upwht3F7aLafR6SyyU8mlzmWD0Ah53Z7Jt5FZZV4ucc32VzqGcdWuLBzV7jgf59kTyArgY9jcQWj55MsJRfoMu/COeISIASzWVbzfGJu5IDDWSXB3By0FBDaXoYLZLZu+pJIR2U5o9rL3cVryNK7GzmIy11OHO6Txh8Bzong8z6Ik9OI8kQLh0x191/PvNstEKI6R8pptbeUS1Zgc/D5zQaKL/hubjrzXXKZwjReIc6Xh4zWyGde/YxWWUy4IUHe9SjR+mWr48HtBjGol/xgQpc1MV6ZSFO2Ehu8OG5ZxqDDrTCfF+MDG9o6oeCEtSL8y36p3xxfekxEJc6KA2p9YejIw0eTP2Uk6lwCTs8IT1MyT1tiR8/Evp1bbslYh1c5BlLc96r/SqNwMvjN2SJhp8lxf2dXw1eUuY91PmYkczU1edV5I/8yeq40uI2Gkj4vbENfFGQcXRfMAFVwlgjvk2DYrdy+AHOrPAhut3KiP+JfXAzS3fuwyuEYxoK3wD3Gj2iYatRPsfe/GhJDk9tvX7dfU1r1T+pNvqdmem14jsb3xvnYUPBv0n71phprCs9wRs+fOYosfUJ6pJ0MPN6tQnMs2M69SVM6sJc86naH5VsT8T07Cbf7nVzISI//oyCQbY+qnPlVEbmXFYbRINw05h1qbyuC26YzaG+WreZ3Sby1ovnTlhVcSzfYlSEl7CtotRUVjomNfA2ZXdma3jgfhETs0Zs9WMq5UV8LU0q8WluV5qccx8OVPJ+6MXOz/MqZfCABA2X4Nxrt5JIMaZfSXx0YhuJwNLXLIktsuMFLnGdSLMwDAeZxcjNGhPTjYmqNWwlbusjL/z5qIL73Nl7eJZLlHMcbGCHnZG4Dvt6oevf5p7sdLorX6EUm7YP+3KMeNx7z8hk86hvfRUUG1vJuLhu7arrCk3Pm2r8oI/oxumiUOXWIVstgpA6lczQI+WSjHG8xsWayRLo0rnRVb0U10f0bnCnZhezSl23XbpBhfsGnw5iZUuBexREbxEgDdsborU+Bxa4p0gXjLm1U3sVju7N5fOcduxI0FpWb8CKOc4AsFLs/I+Z+1RW834s5hIIHrimvNxzM7ge3zvr8O4OrvyLDFOaLGk99rwWBKz6poWoo4AkFtTIPpccc7pouIojF0seETNm+qh48ByxGlIULn10AhNOy0hyb8WlpMjJwZ/fTXSQN348p0onoCOejJYW2phPTYk9ZLHv4ZOk6NdJ/mSm9x+hJBu6UpzCVVj+T//+8Jt2ptqUETIsnMzg2pegI7jwddv7ugV192d7iWfmU3ZgJhld6QCxoOnaPpTR0md1bI2ZKzzb3sSFo0X4NkhTXobzFFQtG1hN9zj0zpbnJDZWVeZ+1nrsf0Zs93A24GSqbTqOWlfCfTBOuJAwZauLNnOC3JwNyTb17fL3EYa68yv+4/YnSzQIO8Es+KX6Lwa/x9MxIW3+0Xy6szlc5+qbAmDlgda8gNQQZKW7DPfdTu6mD/b+ydBxJRnsbXr3P8pdl5l+T7meDWrjsJ32Ase442SKkSIYmn5f6/hD8XUjepiYud9mfxyLauJIiB+bRJwD+FGN7/CsVcitPrt+zf6+2EQrIvqLkK1mpdO8oAT+wlREPY+Ns42sTd1bF2AIIX156slTvh9bWxLrUeqXNeJ7tnvWMiznPaM0ifqGhYXnN1wKyNRQCgjQOGwjcLbOnl/zn3Rx2V/6yX7PvKa9Gv0nkQ01x3LF9/CGRNeeZkFqvmmdBaCDx9BMUN2mUVNyv18E51oqx5ucntHDHbwlIIKPqTcN/ir+BskSzpV3e/d2GFWr++oFkaZRu/3veKKyDORVCIm1GAxP2lw0TsS0A4lKKWHCxHTQ2JqYJra0doC/D5/HvYv0bVvH/FzYBe+8Drx+BWPbNArkV7v6WGDKHazCDUGpB38i7AvaffXkIUBTQtaRv/IE0/fz57q9LbXvnN7IElbSNtnFh+IWfFoTjERzCrLd54jWd/ZaChuqJ1z1cpDlq08qpjuDOng113NAZOzGRapi0rjLFSCKdTF/e20rTMfOae8fyEripMlPGtKPctGX8WGH69OjtCPbZFQrVprndfsn5oTR6AKcap+Hf/QJS/82NDGtC/YQl8f46KrmGe7VlkfVMFh8UcAUIq5Rlz2C33Z467CRHbx5OF8BdnG4ZblxPNEmfGx7uUIkaC4mbzcO/2OIUlSMWXHq1fYCSAAXP/hEOSGXw8ZLeNL1ajB70jVBvcVQBRF1sP60y1GuvMLNEMa0PfInyhRE9YAjYY35W2O26ptRVMM5hX2GvhQIbNC2s+ffyTLPUVdYTd5PYuRdJJNC9QeTY8z6I/TG42Tk1AKk1dx1A5EGXWWyoEFx/lAoc86L4qwVrtp2Ku5+GMnKQlcZtNMtm9WZMtC5sohMbkjgnHOZYjJ7uCFOa4FG95F6hxFoAIC4JPY3atJmd1Yd7jiRLMEOCLnqtDH/0YLsoUc7v15uJHQuFn1AKy+UBrGRe8e/YSxLfYUO/SE/rg2VqLMSqTxyG63+lWkEuFhpkaF+cLMRjTRcoKtPJOTTIKH1p3rUtfLAqfOxMPrvsYkpnUXwfkBhWuio6yMJnNKvTGr6Oh1N5GIR81ZTGfQg40dSo/Nk08ch5apR8R0O40gcbpkOs6aKX8UyM5gn0hA/YbSe0d2CoNkiZZsCpmVMLc1Jpq4Bmtr/gcPILj/YZoZ8YoBSOrQ5pVyVPl8TePiPWlk41Tu/FKqSthBz8CBRoQWHvbp59tyfWwvLyhz0Zm7ZiSYT0NSGWgiL6Dpb0LSSzWUfiIR24UmtBdcZye3rw5OuJ7VguZTVB3y64eFgHTLdF/jAcYI/68BU/5ElX04fLiNKlOWQQDt3iKd2mj43ux4GOtPfjWsiTXyRDoph2gw1SoJK3lXO2jPjpx+BqpMa4Pz9ffj5r3qdZOmocOBQDZPvEstaVt7O+UuiY1ToTyDv0UldHNAZGhr0BQ7C8C+qBkrbY9pCSsRfTA8cccFM5jQwe0Fj7pZc/haicu816MwCR8884RsiEkuHor45/lD6FdDrJXXjA4ZfwVyon+k1mMHW+NADrSnmWiz+Wb+nrYNYy3CtmqqmHWvERyqPNyVQjovVe1doU7VfVBgJvdLd7nuKcVH15boJ+XGWT1fkHZzmc53MRLvxj/kp4Bj4wRUxN3fTNf8I7VUofAOZbg0fwScRae2bWdLl42380PUqzhwhHr4SVXsNg64YiAVIyUpqFtIqIEiLDzjzfQHi+I6wMR2cXKlgGYW8uFMZ5St+MrBuhfGy6W2c+MOjOTfYVZ/b024ySKsMA1ohx/eJlnUaz4DTB0wgmqaL9DwTC9bNkXrZCE2pwmxhMBYfP1Jzo95IJ7G/CEp1xe7rzV9i3uB4GanBtSCb0ql4rP0//dLwJ+D8ezOo7pXFBMLQCoopxBJ+GPc3P+ZZzUiA+KhOMb2Qii5KRPtFlPgnuF4+vuon7I2u+6kwpW7TsftYRsf5zTo4vk3kOvN/aru9eqMjeIvbJuo5ZevmAj8++rsezCrtwhWD86JNGoHUA/fJ/f2AcoYVIDQ4Bj1AKnQbo+E5JFwXjSTEuVRIgNnkmnWkw4mRy5fB0crRCUEz3c0AyTJyUN97jwThXimxWTCdcEzgvVSzIeO+sR+jx8U79hYqfuSd4SvuWUNN49aQNXUuCDFyEgBsmg6f+r/Z7cT28Z+eRy2TNoFq1xdQ07jotl7mkZr+BJq9xUVqkDZ7ATXva3D8NqRg1tpz/D9NXkQegfErAv8gkRenrLCSgBn0n4LyOonNiyLpd/gTGult4paZb0Q416tSj1EVxo4ko+rq4TK2STwc4tOlaCSVgaOviCGg3xgAHSrKUoY8sO1bgOvRshd7ANaxV2Skv9nHuXNOzPAqI29+xSbdrBBhygMJeQ+2Q3/al6X7vO1j6J4sC5DOLrpkt1Eum5Khaeum3BunRrSDG7dJNfFOmS5wG8LZipmEbzDsTwtijzJe23W60pniwFOJ9YucHhpHzntD87Mn/MvCrfBlM1BN/97hff2eAeTbJu+zxdjIPFEDKJC6rz0qe923MZWxEKcTkoaDDUHPiwRPitEYFdqfr5N1eEWePgQiFP5YGpWI4EeeRkAswk8nQt4fcrXEWVQqxbq2detWeB/7FobL0Yye7ubY0LZ9D0caNHnpSUTynOF2k26SRKGbNlO53p5cY/bbWhz46OyKa+j97P6s5Om5yHCk/4GF/ZnnY+rf68P1tWcflFfRWK8pRUK8HiUqRUt/DMvo5QKHg5fG/6sFHxtQ80304yY1GaNqppRs5kc45T74XYrCk+B+IJ5sIe0lAaqbkOAjuk4DPFbW23p7Ywncbqndd/LVLEV6Sei5I+Uxbne6UhKDQRqPLbzM2Fu/vh6jI8aekzPun1QoC2Q9Z0DJu7NBnuAH3ZTpTcOF4Ov9KwF17NwXlDUbt8A38wuXTj+3imV9EZtY1RQZp0X2K2YYti625tUurjjCelsGhT8KqkUdnyDySmsdiLSLny8TXKWhCcbaAimf2ZIewUqd+ALZLQHOOdSBm++W9/dis7ZOoy+pzqwEjDmlcDu0KeTfT3ieHttnDPrkjTyV7ROAVB+jaHzseY9Hl/GiA868OvUXUjsYk1CndDJe4YjCXf5+UZ5nRJ/Tl/RoUR29hTVK8JklQNdXdB6K/onXLNnh6K8qA3uGXAmbvJTgdZ3uhKYFkUnsKHN6M3G1aEru4QkKe8oDLdpTzS4/hJbOxyvhiuN/8H06k5Y4IEQ9m5upP3yjwnQO/Y6ssI2pcolC9ypvPcX5Ya7qum/BDTNTlCbtdGRol+vrT08NHloYYVtSfuW7DwJ+mPSErRZ3HQOxp3mu95V88zt5GU5Sjd4MVwJWUAZ8OgTgWHGUTVNwSA47CsZlEM2VwRUseZmaZzWp93gqZpWK+bBSfio+I+rwn0CnIDDv6kHKZlo5HlNE9OvDFTQWa5587/YTYQDa1pXywnJw1h80eRQmXZfRdCtEeXqsS1bugLzsVkPrY5P3mv5KnIrVUgi3iUP/LVhrfQ16lYaCpuc+gY2cQFA59wtX4WrLT5sxrNrMvMxpANoT6CCFqdyosOWF62BZtpQPYW47bCdgksrFbBCCpfvGju76iG5MMs0NQKAL3MZ5UYkg+jaTHARYy9fEgKtEUppz4iPJC6GA2j7KpynPfejS5E4SLiRAcslnEIVnBBAv9Y8MkZLpEhhtYyVD9c4vPENvDLFgprgF6zPbQX+jyb/CbtwaFngUluWmzlbLv/qzNzZP0cMPKq1iKVS6KckfLrFIWX0TikPlJMqzvGALahZsWSaUhFwMYlXg0xu5bXhhXAnM5l9wq03ltpE64TttD0u/NzxqwEuemp7boCz25q7wsyodzaTXa9dLtwY1sTdSe5ywfMi5BUjZHxb3xkm4JiSMwue/RXGgOsMNCaYtoSdz5J9E4Gy0ZFToGNy0rLdzZ3GToLYvwukCM+/KZmfGi4NR/JGdldVeAF0KnmHcN673N4ZLVMpfdtmtCHMRS+Y0MN0mhOGH5FfRdd4NDykATvsKidTTGfqE8uSarTylNAnrUmMLYvqmIAD3pTg2M9QaMfOdTgQO2Sauqt/NJIFaPCdIjuPG7ChSddxWFRdukbcnXOfbWffq54TPzPjm4hZla2KkgbpYGAk3uqO3zRGqIBGcV0KkfXOHyknjvGw+WdIvMwcmM4+iFpigE8d4UYW5SVui5WrlemMEusjXT9CZ80WmaNlYR/NuH9u/IQYoo40/fYjZ2TiwVmrDVGOVuS5s6d59BXMUW3mYt1Mr94zVm5ns989nq77+vwMy2er5Uk3e+LcLWyUulRGAg9k7x/gi6Afb4J76ynVU+ZD0e9eJyYJ7WqZ4EC62krn7hd3CeMTahnTWyyEUcGZc0UUshG3vyKAAJ7u1nNbTiNawWrxnP8XKkKyjSte7jdFrY1dwLkrlcMRfWNbGjsbf2BE6TwMo2fdGMaIinNbactN6+rikxbPjRKnbewvxs6gLwJe14MMLoumji+mCXijGirt+CikXJNfPm3/ti33t0IQmEDHHrPbLf9FVbI45/1LglGDojWk1ljHZJOH7tdCMB3qn3Y3gKkysycN1yH43+VPo745N70fq+dlHFgJr0g1rqJMYSp4mZHMGFnJZiHxrWMt+bPuMpV5Sqo7CGWbrqGu3/WNTGJKJ0bZhX4ND2I4tNwUMyEKa1VUOAFmDwphY4n4pYhPRAHwhGyBB3dXMcRteZ77Z5bFloX78iCfZzFbIct+ZPhQAp71qaD1IN7TYWM4pvFTxYaPv5F6OV90qobYvyR8TjAGSZnXRqU0v5i2gJXoXLorqEczcZoZteYsBKSrovEIJ2OZOtn0WyWvo/+ldDs5+tUZ4vtF0B1i+9lmn4dMATi/eRwFNeELKzxwqxNgAIzlMFG+SwnReFLFRW6PXIhUoLY6ij4cdl4OtiAZQNQ005wCHll6TWfxkpPYjd/zItdKscBNEiD939XxzIQc10rMXd3Q9x6c14LD4IY0/KoWG+RZApJd0GK1uRHIGTnIC3+t5L1uBahApg33Z95r37dhD6/vqYDN1X6cmSkz7o8MbHXf52uS/zeBTl07t0rV0ZEPy1HZ/HhavZ1FxJjo0kvA+t5dvGhEoJ4AvJbPIsp1NRiZp803Y5tMz6LcxJcrLV4Mc0hSZ2nCzgcZsr6gDhNHwemWCDqY4U7m8SknPETh7aBl0ig+XqkeR9Oh+nrcmNlLkDrvWqD6W1fA/6Br/kPDKIWHI3rJ+lkRlsELchuX+zt/8NuCTpztQ0mxTqxiHz3auw/KQiZ2W6w0yxBiJV1eNClgGu9pk0kKYgeHR1AcVn4KYh5f0G+uy4BaNXEZv1nVZX8MOeG8a/6lqxfxcwxCplzG1XFfhQ2FaOn/otBMi0yB4QLiOIVE6HSz5lvZl6CwreLrLsXPxy/5Ia+iK9DwuR48cW8YpVHkwPiw680is9PpaSIiYmCLU5drM8Zhzdj6aPmqnBTosbPMpQUUuje7ql4Mi9+i9c7DO+ZvgxoCTzM3JdeFeh3FXNpTZuHgsAM9QDB6dgaSZ7R9MHO95zqOsk+mlqG0JWjLhEUCaWakvx0ewxQdh+F7UdHPuatl7AilSe5OSOHb+WT6DTdzwSA/cIH6S1lgwBV9iguuCpHnvsQbPV/kWSjnC0tQ+yW7IP62bjlbbuYgurF3caHlMKRaL9mYXgAdkaVNQSd6EzAD0F8tNySbtHYxlbeaHcqhwdyVyefA5LgYPI3sY69Ijl7+dt5G4Rv7Dw3meUwDj3WGTRJwZLAEnc/Z8VmuiVDJ3lyZjoj0SpXzhE6ZipmqN0E7j1lgTarNGXkkCCPnrOfMLPkPhI7qInL9ChE8swgS4cERNxD3N8RVPjo2dPzrl/c4Kvaf6ipW+M/f/b41F3CXGftu2q0fgJ7Z5BFLDJcQPU4h2bBIVM+F8JzE5WluvEoxDL4/APuMFaAIpk2uft9Tv+5y38fxwyPv/39uK7SHK71hilTP0dCZ0CTJywy7LXGUzQZrAOXf+5sA6O2ofkTOF/eVl9N9/6Hy3ETMy18i2ZTbzIHqY5VPCuzPgnvhR8gWZnMunxJkDGlCoE+fAYEv37Ljyjtz0SO3omu21z+fd3ociG2s1aAUMMTjNgGImz1K/QglAjwMbOEFQPdN9U2anZsghqIY0UEHUcW8N/IjQ2E7GBdwzlRRfl/9U5/POYUV7hEBBz0KRsmKIJwkfjdCYgPGEOGM0nPfLRBuhhL8OJKFQgBfaiMRyRd07scOluQPBk5ytD0edQGHiX8frW/ND+89ud4AEBpOpKSbDOk9juY3VvAimQ0KA0vUSIEz0QZROz0giAKj0klsCWIQYNrGZNeZ/HDqqt3VrH0pFM0eOw4jGe2cx7uq5j5on7EeeT85GIXmZLoCx2iu8wtBN0w3vaVdyIeZQ2WNB/lp9OElXhGMRvfJA8UaZ7zbPFtO0WZR7zqQipT8FgCkE/q7YLPw4ZbGdRIFheYd2Y65NzlYTZOFJ9G0XwnaP+QZexjuCGqjifHl2Ujb2pK4TUd34Q09+z2EAcll91fHY78IY1e2ewdtz9Mjk/F9evBsyJBKekgz77CROFKvTxowlsxjQbV/6yg18l1pKWyVlxyJSFiI4nB/FmHsTsn3k1aFoV2eKG/iLJkzCcWIiQzft+oHAPXjkwJlZ+MGboOueBwiOi+ZxhpQwbBj4cCD83ULqTSrkja3sCw6dVjX5TsGJ3EApogv+6RlHJxTCHwvlzP8EVqO6S5Ys6+pllXcCLRNFNKPg/OgMJbamxWT6mmkmYVJeRxCxCJQF1XGnuW99ggjx+oM80Ii9PX1yE+PQ6W+sAdCCdSh96ppNG0HfYe88kj59vpPuaIvKM5PxQ833hD+4p3sWxxGBq2mbbSO/OwzAiv42OaKdKYMlw9xbNyhyE5Hdm6JAc0IBpWaMXL2khvai/cR701DPFxRa4sDV8JRoj2ukbbi6t0Z1mwjsHf/F8+tqDimVM8JD9ltzkDMAPJnCn7uSoRAZ0QaU1d6v1XCs1cYVNQJ5X4H5sY/IL2LqGGW9Gb2uMAo0ZzKL+Msuiy1xVleZqe13+lUcTz0UIjx+Z5jxDzoZddlyrO4hXgEjRM2zp7iuCNi89at+Y6vsXz7FVbutSq2qC9cNRIB3w+FQzNvsHihspDEymH/ry9uj+2D5m6k7MoPGfUzzLvnp4i58ACFB29FUiZb2lWNCHYkh9i8MgbxtDVziU4ENpcHTHxpV9CjcyO4Nes3V+XvbT1eDiSDDGXX3MkKdaO6toOIWGmVLoXAePRAsQBiM8ChyLx9oZfBegvIuggvOXjwe/76yIc9/t01SlF+eGgkHvo2PGu9I5hWwEAZBAW3a1Q5iCXsPW8hu1OkcquCyJLooX9KkFXbFzOSn93UeesXeh6pDNyViVH7SFj/9kujGFgV2PeVR/cbErwvQEaW/Mx87OgHtNMQBRuykOPMM5CHvNTiWA/jXWlMSiTr+UbuQUU9MawxcI3wHVj1fZdPfO+1HA4i8OVJU+Ph5IaqKseDmGNBLFw9MTSdoRnOBh8s89d9eOw5M8r2DnIG36xm3tFelbnjZYuJrYPSQ0XVYfrfA82k/6Cygw6isBlkPl7OGAhuhq21+f9nJ9QHOf9kcudNVySx0LnCoFr3OT6MKbpLqRA/jz/W3hFSyx/SaUNn2cai7cyd5hBpI161WgQxez+t+FlCfyi8xSdNp83MK7OupfEcgzJmeCywq1FMSHYepMNsQMg802Hb3bKo62XHOL+aNuIQyOAyyBN8XGI/dUWrWkUibvxdiMF9RxmV7MpvK0OBhnU9xcj1rcFAj9Thj9EQ+WQE3u/+Cn3QNUnNFZPHfJlTKTiU13ce3ZDajZ4EnKeGsiuTz3A6X9wrpMLbvlWQRUf7ZTcTLcdYgwJ9ojHE88K4wPLhB4zigK979aNSUaiCIDB8rPsSF55shD2+DCeOCfWMgzNHjI7HafpHos7JSnHn7tav6Q3F47wgil3NdfgHRxL8ipBNlxLFY2jrDQxrLNzmX+QFw7h+u1OPrrd7xaxWSgYNd/N4pkTie7vz+DfJt57KkKYK4ZnClSKxCTUIABADDekW08/LjjakvQix+30liMH+LJbhEe+fQFqYRiYxPvTDKn3GX3/jn3TzibhSPKqW7gY8c3R7X/n9UFAaU9xjda1R+GoYht3uQwNNZ1OiHxMKyiFfkwP5a20ZObWyWUED+0sjqqukjvELIsnvsGUC6iG8bOLGi+JnaZEJjJm0qHJ8VPPvgwPvx7h1+vMzzEFzIjV5eHIY+HDT5H74B0g9X4bhttklJgA3/+rjEB4rnNNow4yU+X9QQSTbmEYqNBZUBNflTrZpuXa7ng3rlGNm5yDE1QyaVc0D+Q2qPlpU9+bcHBuyblcVi+9sXD/PhL38ItKj6h++tArh4vFsrQgSqX9GVHlwjOLjpmshNY+yYczLbyUMCfKwU2/Vm/wTNIrlwJ7mj/B3cWQjUROVCHy5dbMUz+BeTErF4V8bTtMt6zL2n3KVG6VphM7YvDTfUW3n9K9wgEZOSIysMBFlnLNkla4cdAigv9ErJsz4jnu5cPZfB7TXWYN/uh77jky0teZ4CxJq1pWlzehyZPMhhNmk2z+AaVwrAH27TvzaOtVhzY0tj5rrG5cIStTd0hUTRuMGNln3ovlGQO32TRASmGy1kkXItRSVff8sbWepWfCur/8FU419yyrYUWp112OGXJOUHbWYpIUdZs2txiHCLTqiXh5zBLTqm8D04xGC0vpJJ/upjJEbKXT5n1rd1XedQQH4UqXMgtBU35KIeeVKhbLOyBGrpqkr6Sfc3YJz05IDoya9ZJWVBwMWG+/fFpx4Za+0jOl2MWM0INqxbozTcUGfNJUIleQawmQvlsTp0pWxoV8nGIL7CKzKNpeNATSXhvefTT12P5MT3ZumTETLbOs+Rbc8xw3oi+iLv+S3aOZOPCV2I297GNaco2AL5wEUNVm9GagbSseGPtqv2L0ah+dId7fVdCMrBAXgrraguduOnoR5CQXWGgGHzFbnthLLW7T5qvZkVeETpaTPOXHq9S7IeaB94htDufVreRr5MfED2e15LJUCsnfp2a4W947pcr+se3PZobB/Coe/AwaAKbZVpL6IfKCXKOGa+40hqt62+RKYbEtZ/XGWlbThV1GhWejQm7P8xlFxXWEcw0R5OPGC/ZPsBedNZyM4at+ylYIMYb140svy/U2ytmuqIY8XE/iKBQAULrh8rcyP/IEQLHVujMMpQEQaVzAonO+voWGrCmsb/Ys3BFOKj8SLJSuM6BWWCcxiYwu3OL1ISRiObW+esUSbnrzlzMpoXjIc9Y8nNy7IpFZvAuvEowcp2sqgcXrAPiFZJUyOJzD4GX96qcwmZ+hKZi8K/Ntfnlbd0KTPB8rq+5FfFX8YWxw9CLUaQVxhWosBXv+cQLmdFYeuCagq2zzVRQMUvQqyGZO29i/f1ybe0mRryBvFD1NAR1zp3pZyzFzAczBOSzpDQwvOsFRQLYnzRhOIxiF7dAA9ne4QLeYmKXPvyUGTwNCmw8N+j1JS6W0P9Wb7ubZKtmUmKRIpb5qcsVvjPZpe9A29VsS/q2JZxmhLdzUXObz0TY7KSwTJTy3lkS0sUXNI1tYa9n3cXACdc0pljK23iquYHfwJDTRqJrJ6ezKaIXdcp8b2cll/LbGAIGoJLczRFdFHWWtKdgXi3oC4twvEixXZS210u3CGTJR1w8SyqE7Mm2L6DCmXrlQae+IXhPcd/IawbcK9E8jCOd7gCBag2hLSOMAIAMDjsVpo+20Lb/eCxEem2dwj7Ux2MnT+2eyQWVlUF9QuvctRU2v5kNiDyisnCa1Xl60ednOgoLTKXXZtkYX6YM/KTQ0O7EKPOx+tcQbFiKBa3BtLJR5VISjDJhoZP1YpAfFz+Gf4Htitft0M5nGf019FcJVhycb4G0fyRzX71rLtJ/dRH8hw4ULtNu/FVpyySWWPoawRjMd8/SXZExy/Uicy7LsSLBoKenG9ePEn5MVj12bu3p8iXhayIGhQmte4TTNybLejpF42ybdddn4H2+FenRZr58DlAKGgttzfxLwX3Jsh6pZ793y8/6147H4yu315nbNoXh+aiC/fOFw2kop3oCtUuJzIt9b26jWEXK/whTPuMMtuafXqGDXfBJwRmANzJtM7wiCk0B2yxPMaOSO3mrHaJOyBC0q82oDTWN2mci0IFUSTz+YsueS51SAyPXz4lHo9UCAjx7QSlXg/Jb5kkVgatSqlw6iEdWsneGP7K4Y7s3pZANX226/4yvuzZvAms/WI4mWhT63N+HWN6gL/uYnnJtCk2HyoZ1wK5F2VcqJO3oMiIwscPGaLo0pD8nRgpLhK6ND0qLxmGuH8k9oPcAAzmma73ebkh/mI4i7wHSNEHLdy5v/SYMEZ6m7NnAy0ZjtfrAuhm3NezCKev18sjdFAKxo3rZ9/j5QEH/f/P8FPmoJkwQV1uDWbB84v7OXq4GBCMw2nP9lW4JWVuJij4CRe4+i9VWkjrHnI6d/rqNm0y9VHO6OxhnUxLIrR+Yf0SK0zGD0I5jo8idJ6MwSiWbD16yombCvKNDMUX/x8Vbrk1lFy2OIO4ZOvQ57lGQrhp10ZzkvsvQahw/MYmxzBj3rVvNi9boxhZPqbblGCirUscOowds3hRm85bvQNkqggtYeme9kG3YeseQzyg8PTZrWG2TBop0cbj3hyp8hE6plJeXC6RW7HgSO0uSIHcT4cZ9bRg5hNADQDI70mitejhHlJ1aQ/znc1AgeiZt66pxDv/ULxrp8sJi05PO+DvBJZxuV8LJ+YgJjHJpVgbDyposEWXGLX88ri3vwhJq4NGN4TzJ94x4keyGWjQ0KxK+hdHmOfRPDD/PngErmXUz3FVSvVGNL82XFxkP6C53G+qyJzUJipQ1mE37owNnBrs3pZBLVp4DypjIg40Qnn5ORfdPjgI3oBpKnHLtY3wlHfrfXjCa9WvQjIicUG+V7v37UOPE52pVdThcpWfT40qKhxCkMjhRdbCrvi/8U19SiI3EBIM7MK7MSo9x8kxVNfvaUzb6V/yRPBu2zX5OwK+H9tNtloc5pKAH8B03h+5RWfvgsuetWG6IrQtBi7d91yesvarpc/kauVWimEzlIco25QGlEIV99r+8pEUmiRDbPVuL4wURmdylbEHXTKOiTenL6zSaYCJK172vfrbcr2A8axrjpM60ItWBaZ849gbuweAbJFA7hYvkuWserto2P0hcmkk+Jo7cqnbTTSBDCUrPy5eAkgiqeQaCIbNpYuxqtt7sNoaf5RREObJu0vriLKHUfJVBsabujgUax28BEq8yLQJPi6UACj/AecsdhOse7SXAXnnqPxY6nBNGzIZxJrfGR/ua/woWwOzL4gXuvOG0aIEsr91fT6XD8AXMhTVOBn1sbqEz3Ye/JYUnTc/aj6uCrylgG1lSQAxSJ1G0cIXsARSiiFaKGMJV6UwlS/F5Bd88Eb1ES0HnZNQFH5xHvrgBKzftyoPmw+7blpnKKjosm5e/KYBYA6iBq8Q8Nd7AtCQ/SGqcNYzifTKFTIN9/I6H+7++PchGW16gOFbYZMmBsnNHKno93vNczvkF4ysSoZifj2Fw/RnXeFyM6Sv2pmCrvdNs6ZHv+SogUOzLdwT4R8PCOHJtE/ig0E00aMxBleWPhJ1vvWOij6dZIdg9S1SuEDwSa6+E7CZ3Yqej1L4HKR3T+VnHOeGtf/evhmBkatDzqG08fyqPWkQ2irkVCLer/04Ks9Q7F4hp5KMKHVstDrshkvPkzDtt2HOUBUX9DZvlF6nPCUa2o8xHQc0C9AMmLbzBB3+7JPOifKjAYPZyL4R8gd/Ig9iOOCM+7/XQRbQ/q87paKkPq33B/aevfp2joy2oiRcT2yZc0d8SPy9NoO3G7fz2br2n72Y14ldNBnKgWIt0HJHkyrk9MUnyA0za3z0lvmLN3h+Eo6PKjpDMw60ONTuMxzZaNV90mq8egYjPfotp2c/T8R7kpqMdKDFLMoTl2U6GbnGVjTctgj74oyVBtw2y1boUZdz6lcSEv+TZ//bbS+Q6dpSksTa+gseP3wVDGrbPbSxWJtodvCBl7Z7JKwzARw+BnEOzmj/KWQBf6FDdsRSjy3tLWlCFzU7RUqGb1MqxeFUSDJHXh4qUprirxfAaW6uGVFPhoIZL35SwGyE1uY8nPa3yB42Rk8q5SkKDhBqDh+UZrBhnFiAhpHgQJOWbF+epOAeJIQlZwFYlYgNDGcQ0q3GXur2A+Zz9gbR818cDSpr9ig0j+Oijp9Ej2MGetfpQioLK668XXVmjz6d6ztHA0/+p13kH4asDQTEkf2cXggPskDj6uKVkmng6PTelV/ufzvGHwOmlIvRDvsdP2NMzreUzFDM6HbuYKLeGWG9QdyuOXKORqkmWTDKQXLDwHuh4KZJa9TB3IctbtXVJh3WtgAgYJLIAtw9jh1gV/TPXpx8FssQ85uUSHXXReVC02P5zCzx1QgWmkI8GOSMXyiDv6TXj5PixoiJISxrgzG/lrUyz2ewPSHHl2m+9y/FIEnVL0szUlEu1TfHklg2egZ8FRBvV/l6igI2E6hlnxGRP/syQxKzLf70LNY/C7FuBOwPC/kk0UAjQ6Tqu23GrSVxE2y9RlkNobN5Byo/yepdFqoKWHusLt2P556hIpN59paFA4rpqUTY4TFll123yJYUH3syoDtZAvHG4ZEZ7PQHzkgALLw1pgFRqwGOwvySIbFcvFOLaf7Nlt7Nc08h+ltdK4rU2nGtxTaZ6WCZr7YnxHj/4fgje4zLGvVQTWSIMO0xNHB5wEif0R/HOVj1CNKu5Ik7g+1hSj+x1xtuDknTqKNNOc8IJOmr+M0B9VICUqfEtxKjoAHxnWj+Aoo5ySrUh8HOyBjEleDL55PpdnFbcFCHK0eRyf5dCIfatyq6GJ6+zwu1P8GjqoMayKkxVDZkzAqcna2OZtHRHatwn9BXxp27WGxSzjzdtaO1O8IWSGQZolKdsO7mI5sN9QZYl0K4WR/WI68b5XHGIcME6lt7yhcLCXjFiCcGwRGKs+7yycOlaUo+bPX2RsCi7E3iiQjTJVJGdMkhTCqwFlLoDAcptOqJU7NN/xmwE19t4XbKkufXyTR5EDZDPxingWz+HuoAq/IXh4vef+uBkqnda0FyQ/c4AMOpMXnoZd2xBwijW5okTVZkQj92dtV+cQTD8nsEhjNnZmBHBSE8CzT5Se280j0yKrMlvl2vX/6t2EQwvZ95VrKU1crEXp9NiD1HBZeEFXz6ZZ06rmPx3YA+PRJaOA/hMj0pckOJ2ldY8zqVHITfQVmCwLrH3/A61L6UY/YvX/86hefNfwQOzxhblQkLipqyxicwPG3JvIGg67YN0WjoJnbdW3BAlSqE8hvy4wI9YQSnUoasw87jnZhCNeVfiLftc3J2e6b8AcHLWiJ6uPQHF2bjbG0L2dyPUGCw7MwS6swZ4qjGujRI/EMGGFv1FRvrGKZx5NapciamOdiTV7kMdXWACMTqk/zHjsBwpbJ9zG6SAfyRmRMfbXCRrnVjqQ/V671K6KwC5WbeKgqR069AmTPJE6RrOZfRX9ivoDQc28P1BWGuT6KdJ3c6docTE0kMhQJ/I1VkHSypypzvlbyniRnpOaXa+nko6/YbGiaKNC6gb4cp6ilJKF2c+15v/uITh/ivkMo5DhJp4Wq7af3SKRpRO/UfiL0CeYi4leb+PB6h114U1m8fid+4hHo5lNl/cWvvNslsHEQk7qIFV2U1ckD6rq2B2GowylaC3exaeQGkcayA2CGghZLMCVDVE/eeevV5QMZt4LQjr6dw1/f+KiflCRzLMzPTJ8p7PKhuGQcT6saiP7F6rx9Ur8riOEBbnxqYGJDiX5rRHvMvedIyN35FTmK7GwWkP/Sfzcqul/uI89QdBozBqLaiFa04MBL4fZrrtr42Jh0jxPH5XklFtCYAGTIKPK8lBjwwDQaN1t3hTPNYmcC3nFkdZS5jI7o5j4TzTdxC79VnfU1rvG4FB/Qh68trI2OWwilHKHQfw5ZNVFdFdqhsmfjdiDigv2Vvdh0jXeXLOT0UCWHHeOelx9fpxBuu10qXTNukRt/3WYYs6H77Y5QzF+WtFxaVFGRwjOC4K8xlkgmo2sBBQOs5+CfZly5OKghLV0mUNnN+MSrbOL+5byzVrpsS9nR0F2jyBZkQxtEThbizi5tzwmDYNAcF5rRs7qE+tK69QFD9yphGD36RL7HmVVpCaw+L+P/8bROc0xfjVsZcLtth40ocSb7DnqIB/zw4+EGNURCgolJqoIqnmiKtXu5xdVqhA2vQp9rczNCiPIPz9vbaFn+qX8BX02E6nUFg4Fn+wkkoRSIycm6N5HRAd+bT5Tcm+soijuoC/fI6JNy1Ezqs4GMEuJF3LdJkUJ1AsuJoDUuUJuAaDbRXvpNvrIhMYpZ3tBbcazYqmerD1XR7E2dIu54RKvLH8doaXfJ67mBqJmRiQSd9fiqlUA6gCqeO/gli1QOyJhnXbMKF9B/KXCLTtOhk5TnlkNFZLnvWjt0WswVP4CPqcwmbxWKFGD14H475ZgWrWw94tZAqlKnoIDs49Ap12EESiORHPizt1ABlacp7e/kR44L+q26k7Mj6wXEyc1PUsFX+jSHuGMJO3OZmdIl7dHwv7mUnaFvQ7WqG3VNeB3cKXYLAWukpyT7SERS896xUjt7mcKvMCDnFfNuxooafHdKcrtLqNHflOLtfyXpfEbSCknXrLM7yUj6LW+mmAW7j8V1mJDX9GC9bWyfqs43NPMiYLtLrxoD2/5VsHyc/Ln1vkg3gfQV+ZQrYxRFTasfPdDL2iCP0XfWpY7U+PDyrDxzA+m9FhqCfhZ0bZDgwtt4nI8M+hM0g2DrsUJ6c0SSWOG8F83W+yQJG+RJF9z5eiWCIEWAxb4XNVs0Y4MQdRObU0ugF6z6/1yzaYpq+P4lTvOHRSHExV5OYRDN5OJ6cX9CwT9jgSi5X15h7pPDLju8urbsbiv+ftFLNMayqj6ri/ayxpbYbCOhgYir3PGXUbCa2Jo+vHX975aKiGOESGzSgxH2GawY+1/fDiSqyLc9z38pun+ZTC2f87Q5f7mMjL5XZSZK5s/jVgsgDzPirSQY+F4W9M4sKGpKEWOvthcB0hTvlZXZz63ATUzsxxFNbmK9l4vJwOc8iAtSAztOyLlX2+3wx0M7EkEO4SPBiL0lTpnS33cIiBew/6OMl9tGD5WHq6BVOabk3B+9OJZZhSIrHzuKOUpi8sJSQaAj+l2pkxW4wMn2+TOZGeWqBg40+WgT+oQCvOKTKz2ZXcxIpqjNPxu1x2GM9+iOEGnLHPg1l/JWDgk7y3Bm74W42E4dUaDLwv+I0UEh39/WhvUjkFnx0o3qniHNO0lQQCSkxX92IyHXs8Nd+AIKPcU1qYP/leKYB5Bv+5EIlhaRPoiACm6+j/9NjeDZI/CcfHbG6ay57sNuLAmlgAgEZHgvI7+TgtC9zmRk2Td5IoREljipPvU9ZrhcecF1vIl/jfkYRAuWiPBLuN9AyGtwuagwg3VLxVBxJ3SDrSyhNlxdHaO0QBHsFsNhmXJz9AhOfI5YJBpWyzWQccMjGTNiSXM9GJO9jcTHpDvnb1RcQP4PiwnPhDg/Glq1lMUEHwb6hHT5eR29qb4ZPFLgmq2LrEvou/z0Fq+zDDE7yaNFK+iyDsV1OZbeelCp8kSL0o0Zn6AxGIHrzCEhmg+vveXlSjamUNljzHb+seLNV5op9+qoWVYbmENbCEZ0Da2it+li+cKVxpZAGO7+fxA9uvrygOgSTaGgA0LGyIZjmYIHgilf9wkFBpQmPl2vuaaVhsGVqSQsoge5deOpTem6m5RDN+rVrruTp3mwlr8rK1IyQVOnD9Oa7zK4ON/sB0hENPpI65ziVxozlSdJEvBYjvOL47+oaZUImD2KVAXqLhc5IlQs6C3YzWmK4dY2hP2ABnkU2VrjcwT+jeLXDxNn75wmzFvJj/sPL9ROpZDK5pki+7RHMQSVj43IlCPyyQJcXgpFt393E52aMZuLy6gCmU7xQRheAI4K6AePEGaJWG8wgx5JJtIcikvHW5mEW1vq+P1S3Ibs1AogwSjtuHUJGALki+E0Ekwi86psg1ImNU8SSTkxEGq8ZWWq7yH+qYQWr4fuA1y/NKYxFo96u49wexTveu6lfWBIixMfY9LU19Yitaq1WQcMvqq0cboUo5Q6iosISfqX2saD27esfVcOWL0toLNwbHOgdWvvtsNSoudqH1jYMIjAM6kE947gmFldwyrq0KWrlBOtvIvqFTNt98xWrRT+IecdOxLtUSA+WHuJ4ZCw2Vr0roiduGt0CyUwUZ7pMD7VfKnXDbS/9qWmdm5qrFmSpAI9b0oY63WmuuWcI/q7SIO8B2BXB3akQBiBdYATX8b7qv28PsFYaIBCJJQVnMMJB69ZJQfpXnBH0c4/uBfWNFDoFxPdQzmyMA0YZWGcQ5hyy5G0ioMBKKdOrr4dwFqz7wOHDDDygVIYe9p4OxGd+0eFjrKPNqrz7UyBqjPWKgotRFrF4LTAmKIRypijMs95KDA42SLF/02oGEpJcrlwlOMyavYQ6bUp+mqvruXJLHGldaRBU0vXQCjvJdm4sHOhSX3SsP8ZVY2GpCduTkkSu5TCYx9x5sLG3zZjWUTOnCpNwDoNe9MDVhl/sHYLTQ5VaHD89QsieVzjQCf7jaKt+E9oF3FGFYDY6vr7dGhOLJpwfJ6wFjBlL22JR+u+fVEhnbFljiWhVhii94nRiPaFe38jmVeOwy7GS9ShRTGv5KJd08QdtRHKWJwXqKwMfaPGSlhdaKJgdJIxmoIBLICaXALteTCjiuCBnUTUBActscIL3Zab0Ps0xwGMvrfoMAs7+3R1MOlT010u7D8b0wyd8wmCQWIZLBjzjQPR2BYRdUviroDEU4wKVqEjOkTXZSTLGMFv41A09qyfC5YOI+tGCmmMtOZYXZAFrE2MZU2PGNkLa5LLfJZtZRBi6Q7P5u7oZ9tT5leG2FnqrRu2tbOz/7+Of9fJOa7TsIM+mJgM1Qchlf/6GkxIdpLxxlETST03yEmgOuPypuFHZEQYBUCCzqKWhNfN6pXu5Ka0K0EL4KBRwS5wM5OHyj/1CNhTJpLAYZKKIFq2YBtMGlvPBhpa0xhmLus0wVBE82nHtGb5KJB67Po0UVdpGAEDocJ7Cb49WD4yzJlcPOt1Pm9W6GAB3zToEUF0HceZlA6o3WX+g5Cnh0vYhimiV0+ZbcgU8Vsyeyz9ClNH5iA1xlSIeehWc9UkEffnm1au1woZiSBqQv9I7fvtl4rDir5Ar1Q+l38y/rjp9zrMGdM459zGYeDKS6iMeuFZGYE4jg6ClL7lhMTfPEP6Ki1A4TeaRVJwM6R5xejTgFr98wr1oVQ9xMJ8cWz6ZQJAWZbE1YZKRB3Y2QnSXuP+vfhyl3HRNv9zhKcS96hxISaAzodijSep2uye0nTWX/oohE/DGvBud+QiwyP+knuasBWv119U02ddN+k8+4Y7way4RZ4DUgd5t0PpcVvs9FFGw0uw5yIHhCvy4tGo9QL/2NUWMINdcy06io0nJ6zUMSuTvR4Y3PhhOSYkB8L7juFbFWOFLWNQbVwuCwIsCIfL2jua8CDKt7rL+Zmvr9eAr+jV58T0dDvvc6+EwkHdbBpal4NfIeJJHYYKn9VwzFMjlcon+04d/mOaxglqvM/KjK3doFWYVovOmGUwCNgdn53E+ca0tnkpMmsrEflru1fCI37k1Thwvm/metSvjpW4n0NmEMNrOUK/z6Hkn/n1jVL5XkGHxvNnjFCZnVWoyDvubjQlfsk9sKOphqQCFYUm2vOhNRFgyUgCJkRWFUH763e+LANr38ThtzmgJbI+VVQhmyCwzOlmcoVFAGyTCa0bj2xaOmJvBgOaY0UIyv5vlQld3ScV6E+ku2hBya53140KpDT66Hr2kr76t+1IUvyKjxCRWCiBaaJL53Z4/gw5ORMt3Sy50gHxenUjkJXHW9oImeH0MS5XHK9Qb1xlx6mJ321uBa65EDd8/CmisNlvNJ2hT1vi/pxmal1RoEqn7BAiHFIS52+ze0QLkZCD54fC1X2d0EeB5hZDZP1y27bamMeO2sLLEHHYP3I/aDwJiYn5FGCdHVnQlp8PoGjGWjznJU19igpk9RBJCmsLBBEL9NBk4pJfsWFEvdUcMCmECAPa+OizEcSRjfhlucxoMuOiWyzGDR6jIwVNVHXs+0aLJX3oJJDdbPr4ZfeaPN6+glAu9wFKsxxF2EuGPw5fHr9Jd54gNNf0MzH4vDeTt9lDp1nZ51w2p1LxQP6s4uDdKaYmX87cE2QdxL9VoOrv1N4uzZmwWh4QqOR4mbYSad8HJvngaB3ZE+NvbkYH+XJCzzjo0Um0mEQdA54OJLjdGd1F3zYcdsOuPEOZOjGVxDS5W84q7MuR65VV3N2F05I/FgufU9Qm3Iha9C8vxrymhK8W5OpFQOSCUTPNrKH4S1tsZ44T6RfE6H1cI9uAAUyUMe8cQysiAGKFFuHYmFWPxM6igNFybfVPMcfIUfW5x3xW+qG4GEI/9a9JnNUNrkuyP3gkDd9JX026y367K+UXFx6re9uVFGY9yJQo5DFfpzlVVj2XsZ23zZxcM5g5m0xVOFK7AvmWWqfwQ6CNUWhgMJGdoEhB9OhuBrerdlqWTK8R1cFtG837LcdaEuoqbMl+aMt84+Ms4d0I5w8hm1fwerMWi8DD67BBSZARExlhe8uGpt+pqDMG8/udHCKEydXU8W7UEJRxn6jRAfNDnTaIZrz6WvbssIU349Q4Ns/46ERJEfF2Cg6QrSdeahWWpgUACXrP+thhCdYZg2JFooLTXYSJoppPV1kvtGqhB7AJULzqqF49le0L1SOxXuSWUtIgNfaWKJ08bwocW+krOdJHKYsoucE0XNbid6ZOee9j2Z/p7KmPg8M1TEKJzIUgelmyDlcWRSM7X9rgddyc+8F4YmL+PJ7nWVjSJTpaGmvpsjlJVompoPWqxgeaac48L6Q5O2pOke+ZkHCcZJdSmkiE1xpMDlfbekXEdRbOZX0o4VP1r8GIMLXCq/t+WzpAgXIG8aDnEO1zMgglQM9CkdCGWCpQZ0eBUHuekwY0gK+KcYzAwJlZaiNY+VsK7yQEjIOb/1B/mqtH7R3eA+gdUqjdHCBjfYK5RAQXBdXCKn21RM+qVp5UkyKWHLXwIYRLAY4GJ5OgEyI4wHiTcLtpgKLCaRdPrtNIbsWzxLasrz+4WfUXH8/AS9MOL+5Ayj9rjP2VJ3b7XvXx0urUzSLO09AePzPslv2gfAo9IeQPdwIx9YldfNJdoRyQ1xnmo7JLlmColkuhqOOaZkhYrdpbr6dgJHvihaAeRk78DwiQA+XdiCWsLn5/4FAV6bGwbD8sA3EM8Vq1/EiSBDg8Obl+kGPHyycoXOyR8486e7J8WZfdZU/jMocOEh/KF0NqWZfXI/qUmTQ+lYHXXnerCLodFq4A9pPG17KncxxK2AUIPObyBnWywoz7ZStxXgmj/7LAi49XFKvB1CbjfVv29PZzFFRmkx6YbJ5weID76vVwurN67laJYK0lZ3LLUzdQBi/aZLPH1ibr3LKwdwG9NX/GHQuKt36C63nKBx+QLtDQNtNrBaLGjBKFGQ3JbC0W0VxghJ2Udo/DdZHugcBITZ9yRjHm1vn+WLBwpMsi0S9IKCKCZ11fCRTTCya6PRW7TuNMeX0XjHewzYbGNJ8aICYk1fs+nJXo/GywGlyyXfhOblGpXEkbDyKI8bUjivyM93jfllqvEjah0eCc2eV2OcX2J1co0zF7R5zpJu9vYoQHXA8TGIamo2Zx/18ahd8qAZDf7X215dfz7FCStiCzheT+vuGAbOW+wZ/0eKlnjz+FvqorYCboBzbarFq/Az10pGnd5XWPcoR7BW0ITIK7HdOOhMuGnDU12r9C7RNnKGta6lJz3csBtSOWU0PsszhnC9uJsx7ePuk7FhFKUP1lhFOzp6pS5C25vKXRNH4RUx5GwrGEw735BeoPRLcNZCEL6DIJcdWV9AtWfktapJrSsHvqctTlTGxnOHvjz75GktIPC3iWIFvvhag88sUhEpy9/90mmUZlA/m/GYE4cCQjdYM09BP1YLyt0O3B8FKQOnd5xq1RHI4nBFJx3YN8+8GKPuMfuBQoFs5vKduZMjCezNd4Qmk/HK/Y9USAtomXyqNVaLwOTi3CtOl4XOCba7vRgP2VPKPkHBZNuJ1BX84dQ9U5FafWtRhjHElZg5P5BDfQvajRvQovsDc7pWylAXs1O4UxzOJz4hhJCycWDV7MV/KSb+VbFdU+hn7cJKJI8mfJ6dSqn5YYP4mU5solFWtakRsY3dbMTqFMVVYXGdsBKvLqirCJ5tkcZvHjTHCMfbmXp6DCTW96dcZ/ricqLLVkpt2+JXHVzhvM7ZzKJaWR9d0XgbsXtw7wArUoz32gwNTGbJ9eIkEjYL3rLpWYieHlYsOo3OMYr5Ckt8G+t+NCsctQsbq11R0c8pOa19FZxBIbgjhSc/unCysoii8EMTrCJWlhHR0ww9gN+guJ7t7hGjHvF3XRB7YRu56mrY8zyR5MfsBUidPUuGKIl/g4LR0EnFbpvTVsH7S6mGgKf8OzHEzyn7PtymQ1xbyjhrcxB0+gSxyayaYU+gqE3f/oNmMbuI3W6kvg17KkThiL0Hkzlsyf2mJHkW3CawV/7EQRNKYqwEFMWr1M5sZgEfqH0Oe1Bv2G8Tv5QhQg1yXwuQGLR3ygnRkxIL6ssqeLN0VW2O88TE9QO2b+iHsX8+EPdMUpUaqYG9ZNU9USIlPmoPn5QNHh1eKwaCfUIRwQgGaB4R+owR9ia3DyUpFVcuGENbiLBUwA+V148c2oYblnNs7DVqGdjwaRq3Hb1n91X9u9QYSXvL+pNS6EgHLPgMWOTrsmpEYz1Y4GnnSloc2iKoY4PW6Qjb2t17xl2o8PkNT0k9shSnzU78Dt0nf5/9uY/pTTPeQyE4YC/jkSTHWy6UpVTUSNKyqCNm/3Kqe+aLoE5TQyYGcMSa87/mIqRRYR6ocQyagtuSQUt0lw6vvoMZPGYB99aHRr+YnjUkrAs0M4Cmn7vLmQg39e2iWZReQ8/uRGz2INPJF1PNr8ZQ+VtsWIfSfbiwODGG6h0oEGXCeUAB4i8ueoqOdf88GGF7iFA4L3vbMCuAkKf96umxNXkLTheM2JTRfCLJEIRQbbx5sPq1Njquhw7an/9yPi9+peRtelNoTfCWF1dpnURdj3lhswxTRp9aTCoQF+xAJCOT3FbRKN8L0RWV5FBL3TKY6aENzOZYh90gxvYjmkPgsbcMrhdzU2zXt7HafRc8VCoOLysCfD/NJi08z6+Zh3bUJPNQ3nPp3KEHKJGFC3VgW4gnx4YkXI6/qEtziQpNYIoXPdcvd7f6wKrDtlanGLqeYqudQ89tIWBHlQEuwV7xLDWc6kUC7PzFCpUrW7POIqxu6zMENDJv8CxwxdNiandoHNjVFVQUAOcdSydas7cS2Q3OW2g3EW0D0/PlJqW/mHqgCgJcn9hJXlRm6cUIyAZASoDEvRfSN4wiavrnJjIloALdBhESBemsO5piv9mWSWsj8OVqrxiruJXMK56DwTE7FAlRsSLh8fj47Vln8Ps1wSD9HbC21F0pkftl5v4J192aSGd5LWsQgjASDkZNGbxtAaghU3CzEOCatjyaXyo2K+k9vF3rHb45k5sFrjVPNxU2eJrTyyLoAgekr++wZa/3U1ewkKPzrbGO0fUrX9s97Hph8zaoOggu+84FANT1KMLIIQHBO6GYtbpRevIRYD0auzD8o2f3qYVLhQfOgb37gxGQr2HM+Z89x2b+oZGJ5VT7LORr3fv6b74zQJsIlYEDbRE9OElLSTfiTJAizjXrA6Kw6OYmb4NcqFWII+W3EykhGQX+87o525d+oUn9W3nHMm6ECYH/p0IgY7Tg/UVe2GCBDH5+hzjTg0B58FdVnIoiUgG9yVqh75eiTI9B4mioIGm3o9yerr5EFDZNSmKqPuYftFGw3cHMGhk4HDeSP1fWUlvaiCY09l15a0e8Lwtrhg1XT8N5/MJeUY7BVs5Km8hXTY3w28ixj39FCVPFhEGwO8wc20L1XVO5CARdPHtzx0nwDAJu9Z2zQtD9dl19d3yPUEROujOEAB1t+QIUMO/zWUP9RAlsMuBCbQkymWFYMUAEg5Puzst6HfEl61u3Emq7Bnwo106uKgnOVJbS3eXrwA+RLOYdp8zaMP+o97AUolQzIZwHL9k2/3BQ99gS0xytIvbEdS9VCdBLJqeNE+EncJySvUpyZQlJ511obE8qvDDhnjPMe9LjZTT974ZyJc76pz0tZDd3zIiDXBLDTonQwtx9JTRi4qfKE9/ePzegddOx8KLFkZBbswlFa292eJsvrWo0aJagBtJvTjZoAD7Uf1nJx8+xFubTJE7Lt3FnIJ4RUo8AhQC0xfiQFWT+NbIH/zmHwczgRi/Y/c6fU4+ymD80HXV/GNLLYS7LtRddnei0XYLj6nnKkbpDz2xeMsHD0+5RWInGSxS4gBi50xmnbbUgsGxFCsiezxnvlyH8Jhb0fAXhcRam812YT0MxuRiEvzRJ6NQilDq1o0U1iGAzM8QCmIZ61a4mvfQpS1S3bzetFNstx2CloD1Vxup3FE8z28K22Y3tmHNDpTHIxrdC8q4C3rJ5pI9o3wro/aupK/Z4fYVBAASVXZ/6qEbgwC/Lc3zW0J4aNqxYvjtNfE3FbW34tJVU0LbtloIgeSLa3dLoNl4NQKkDYc47otdj3tB78vIYlUfFlsNQdUPtkbfBLFo3r56niQOz0MqSrFOVEdIm6s+4lxU30tAhwpKLpK0X+FUiX8GEG33KWnUHg3SuVm9jh9e/CazWNYCXP0nJABbyKmBiVmf+bSN+BhtNKLjHtSRgJdhG7pxk0opTtMnDXaDynTxYqcl2kB0KY7hVxTn0fS0rWx6ZxvuMm84yd9vw0wOSWzBJs4G0IIANcNuUhpxuF1MtyaY0nCM5a3/yvkdpH7+2iO4Nb+VnIkAQmvn8aEQVWrSNC9f9wlgKUFVcBLuPIl+ykpL/QkamV59i+QCpjQkmYkWAWg3b5ZJITER9ben8wDd1twA0C9ure9OoLAN28q6lse2cCMV/lCBTkULubT9oEepLz3w1OS2xreOfMYGfPJ5y+363h0BsPAmsQew5qq2mExbm4muNnBMoMGLuGMg8PmJCj0a4ufpziAiD5hG2NoAY6x4Xf3BcbrqLc7U3XosJb7IVipRFXIdO5RQG5F/1aC4+jeC4WPxd468HtYj7Rn03wSay0Xsrd5e4vBsTTH2CSH9TB96/LskW/1iMmkp9FKE6/GC7b8j3XdnDnTmWuPXnJKrOTLT2Ysaayh5gDAr6iziN+88dXdXK/kDXaEbCQ+QyKi1XluR6uYn8PYrUKmPPC5N6ywF+MLJl0lvbmrHuN41m89/jyvjSa6akspRUJ8jV7cca8vQc1sOHBsqjO79HOr3hwXfbTUSZ7FWSIcmbwdxmIvvwrzXPGaEmkvGTmafxfg3/vP7H3JEgn5uab/qv8Cfnbbe3wNF6ShOMo3YZXynOLQpUiGFzI1hNd+B9taalRSmlVsIqOP/oPWSSVxGXo/fkgCJn6CvXpRx14QEsoD1uMlWyq/8gaLrfBFm6zJxrhy2lMt0s6XampQ01TbibFvYHiHNiv/z+TU4kmmOua7L20ydsENec3dDp/YlUMw4kGs9DKRA8wPcz71opBPAnWVWLc5a4T328PqOgg7/alptUbAsqV7mvXBKJak4Z3sG+pO466H7V/7fr5oXHBn9r6Y5ZLNtNwSG6fVKssN2RQGmQcd0pwmbuoh88v+qTHP0KMEqnnr0LmalD2NoXrvOgDojntxwosqLrtuOQIoz8Qq+cTOKjauEhz8NxfpcMMRYUSrrrtS9VNvknYtlWrE5HrhYKcQ4SG6OaQkPUU5ZzlOzAtS0BKporcjsRFdmpWz7zQ2zqGLsQodf3mnAn2yTAXSX79rA1y5Xe3MKzKzYDPZ1wucEkye03k7rz3u/jyVDzwIgZeDSPYf3sKL8WvJdx/yZBmdGRT8TAzkx2M7qLVDzvv/oOqnGXGy+pgqMt/4bMTX7ZLpv/4HxMCWYHF122m3XOPqEjEOtWJd+Gx32XRUEhegBaPN/YG1xAcB+s4W//jWoWr1KHBWnWxtJZxX/uj0MbhLh7+nC/VLqjvluG7mc/p1BTII3uyJ4a4g3prR6fDyQglKagCOxbqQZc9u8N1sEtS73K1hOaZOmehwa3gub9AuZxHNRwc4xQNaVCYo0KQfv6x0886jS9w/ZL+N9z+0wn2mNU13kk/F9szeim11xzuXpNUW4IdLTJY8iJbNUSfW4VvoLHn5J1YqPGeq2+vH189U+u2d/rNnlOk12IgdSUSU9BRPqTZWKJcUf54z9Sd63lgyyiBwKpENkpsZ06PkABwrA6RwqrH8wqusrjtOd8LrDaee4yPxiDf/1BZvM/8+d6w9XzOgil/wg3njyXSnXSDYU7W0n4BYTg6lIYCh4A6O3NnzM70hviyj6EfNWiOf+Pj7fMO71ydxdpF93Yq1xA0+w0zZNxlMCegUyfYBL21F/9yS14JO1RWXWpLQ64cryKzsv5n0jRiBzc4EBhbFT0JOoiTLXfliwM+aaBSB8Rvrm6RMQwgzCi7u/nlHAAd8jdDTb5R+aNBdbQzeYD4HZoOUM6b+A0+5wZvjUzvOk2PV95KWduJEYibotU6a+H2KESij6zQbs9wsmwyw0U7tuBriJkm2wz0eab/nTs+Y6qUx3jHnendYvGGkfhSpUfpYc287sOHgZC9cN0/3ut2nJouxJY9Zzaf7dS9zYSEqYp2F3o3Kc8DlxyG9PoPJU7+fmZB1HIJmbwYSsjt4Hfv+hulMAhM+sqDu6BlhUxdQB964dBlYlYnOCIEFemKYvnr2ekbsac7BeRxwYLyiw8tSfB97OQRv4gZIe1eeatPRGGBlxX42Z/WpGeV4y490EvA1wIQ3jTGXTrPP8M45nXELvxGvomEzd8DATryR83Wy/UOfwN3Bb1uVirpEZOIRWVDT4nVsVH8JV3YwUKw+Kk/Ff5sbdfu+cu7YaM7u5rqrT5eH84Aw0xKCs5hdtD6L5KJJ8pSnRDwQCBv1AS6dvQgH0lItljHKIYgY0/umPR8QOeC2EqjcBsabFB8pAiwcGHZ7/TB5Nx+lHnyqjjU5wZJLMK7mLKXqidkd+wTW74uooQhRbgl0C5CRKZ4ufUp0HwXZCFv3xBDlmS35d8nJzsx6GRdfhjTMFDBurB0WT3vRXgpQZADmTZ0RFXzaZ7Vy/JFVlISKIzThpgBmTO3KmtrNapiB0VDFOvp7lju0/1Mn/5s1p+ftAyLbqTuolmSt6vGUKyvMYepWIUT73Vd4+EQamQgh2QICBzvJDZpt887uKYB7t1fFbuOnOC8jmJMUcPeKb9Y0cEZmsBlywi6IbeTfn2Bw/G1VaSGF2lOPFMdDo1txrCYSdP0BjHTIv3yUyc3EVNOw7o+SPHbbJr2/c3TUCf7S9bP3mecIHbgmvxN/wqBXHloQ54wQ9qqn+yu7idgM3Pai3FxbencZJl/C7dw5hc8dCu/S57AyrDtVvp7g0Bj9YdDEB1YLvR1/zRulcp6ICUSDRDTqlX5HHtDIeS4qYJhT/REtMCJnYlKi21z3/yfRsLtidvCbEjRZauV+pni1KTYgfqQH9HQJhwQgjcw1FcxS8qLaW6qmpwAoFOcXIYbRFCMZ+AOsLDr742ABm8g0ffkaI5ZN7uQ9nI/DKVtC1bcpHFCl0YhMlJ/u3X0wN0nOG6m+KTGk+IrsqjUSTRJSwQMY88XOZ4oP5/acBfXPBo0TZqAJT3/wBTPo7SKJuDwp8u+ri0JaS4q22Gni34slWap9nU7hAj95DDnHb35MYPmojl2L600ZrKHYqi1FwmgDqFXgChL2CYyz5IuDR5yoNeLSRWtL2Tm8wkdDKQm3tqy/q4L6iGDkj9FlCyIPbfcWNaYTGfUjDxIZBeZAEH++vJ05itk/6NJCylkip/5/TPCFkF+v/RvDRs63bHQ8WrTCQgHhfUuC/7E+ZB7CiFpKg6FIHWnFjaphIZaLArIFIj4oF1G2+kDJsD3YXHRrG3VxkSghdbnz08kB65rl84LQRvdh7sF5y+oXKJ9qGWCKjbQksSUW5HD73+kJC+cSjp+zu1o35363Nab/cMXE1OgXvC3ynJn7ey/VZl7OIEcRrFZqyBrCjY1xG1eN+Z3Rj0gXpnwNCghAv5FMgNlYpGov1VT+wTicyU7wx6mGn8beZhLJpvkXBu7S61jb2u6ZW650E3r++3sDsI4KB91IoHQpFNtDtmB4zns8/0IxDTqDlLDEsYdk5/0L3PNHMOQCmAH6auNle5Shp8Gf/fImR/bTEU+ndoaopMXH4ezBOeOe7we/1ektLpwUnfiAil2lkJt/Jcf0aIfzjnaPfGPN5eUe1+aAdpAIKGRweQjcyLOGiIpQvzpf2OlAxx25GHkG03PFNxkJH3k2fXaZKDMnqmlylbaC1n0piBAjXiNZfamFH58Pmh4VPxrvn8yOApZw/+IHnBop3/9YFMtQJ4bGldi1pcUeCQJquuqQIF2eKtK75hNtzH+pzuWPglHYf9FOCS87QqZzYdiv0owVHhqLsrlf8XuHUUO8kaQMMI9srvrTQV3MY24qGz3ptoQuwCztVSuoK3k/XrRr88RLxs42betg4JImStF1xHDUdJdJd7jzRnVEKh3D416i3HliU37lky9QalLY1E5g12YtRQcDsRwiBAoL7hEZnVLOJlTQvRm69wLYJ6nXSNiwPYpRz95m/toBze66mSE1iw2q1H1Zsp8Ga8U3+c1nvSwhZJzNQwmp7GKRiW/Va8yrp5GTIAPkp50DUAHF6lkXfuJWVFmQggAuhJs9QQYFORazuj+63I+xBsJKk7YUMtt6RIFEN7MLrg6ds5gyuMsIIb1nNXd4qQT9msRWm6qTdzQD+zJhxVFGXDLTYZWh7z4xHx7lB77CD2EGMDBLDExmBRtUmkruH5t7jPwi5PPYHR9yH9JHC/NjkiCKgqxrpJzLGBhbY3PqQmQVt8TFFax1P3SVnGiHjIEkXDk1UxtvWe81zYdLmMrcbUuzeNYJZJtdyzhj9obwa0bDhkdNIEvV4IMW5eTracMoT9fbXsQEWGCRgwdL8aEJphJKPL9cprba/A9cc/Uqw3xr88i8G/2FM/U3yEFtTL7kNz94JmkahqLLU1uNvcaGheTwOxRwa7oc9R6nQi6sY3s8pS3IPz0W9Nen/NqtqivwdPnKrPaBv0mbmFyOZY4Z43DCVKr0BYur2GrS82Y4qTvw+o8OfvhkcPTu6lrvH1APKq1pFm9cYVcBnCBoVOXVDJrzFv0StGs+Vyd9QBQSevgEy8TVL/+giZ4BctTBUqUkzBfuQesRc97/h3VkVt7+w4BievxRYq4z36m5lrSSFdmf/FF0vzw8utlYTOFhfianGLoCXyW6+0NagCO6OVegnSU7d0O8olm31HVYy1l2i8ZJ+iTaAwb+DcxUkGWh+AgCyJ7VXX2ML0xg5BswU67QbaleN4AezYkkvSnXLoV+G6IKroNpPVnVFF5WgOp1B8RW4odg5h52vj9MCCUeCxRbmVlxOs8xVVfA234RTpPKJKGhXAebg0T6xaR+xFO/7HzQvkc+xEx0i0Zc9cm4+rtO2uIpWP96JoMMO+fgApL7ZhkixkRF47/SLxg6AqWxlGrPgxwGr07gJ/51TC3Y+dyB3/kKE/vkvHVZN8ZUEw8n+6tQLVsZEATz0T+5BOq8Wyx5T7RAFrWoHoQEoaPf7jETzfsB/MvuG71pFPpLB+awFhxPG7MbW7oZZkWSFUGXH9+68DstscxPPTRAiCl5rvSpvPWnfz18iVxbaA3+prL0O+wpR5y9DmpOaPik9NE5d0qkMSb7iF20aDXJzxvuo1HWOT2ENdECKET1XtwXaB/HFLgX1MR+TKzOxAmYWMsRLxF5AIMtk7uDGLWMBWZKgGlRUadlsXIVrQMqO1oNKkcRdSw5F9GXTzkgV72LvnKZ7EdjYW1iw3Ym6kjgb0dWcKFVTDEJgAuOrUPSCnsyCFbzH3eG5Cuh8Ym8k6xy2Ub5+5nHOcet/faLLQmg8APDZjdMRXiJjuIKuAoo82nb2ae3bkCGBfouL3feXHb8wEqPjTrGe7056UIUqumiwTJKbetV4dL9IMcHjaHDN66xZFw8JKM3Rn7Al70KAHeAMVZTpfLn7QEROAFy5t8Aemv9Ec0cM8+U4D0BEb1dv54h38z4QPOezaBsnk26Pcp2UMKVXJ84gF/GIC2YjebEplyd0w57Lm9PmENXhUYUtPIt1Lkovv1z7i0J6zELXjE2Q1Y7vfUSKp//AxbsU1Ta6fJWq2C6RUVLUHaTGeK70ZbbI96XySu+s0d1RcfHf+NRfLP52KR/lzmmgvBsycFMtTy9wOm5zDsicIAQToznbUvPQvFYw01zbHL2bGLXIbXLxsJ4MF5uIQvIE+HvtOJSU1G/GDFESBYnNtFf764GMtK/jKnWhpTzFACQXsAsBJmxv0sJWeKwxB7f0gnOiREvSqav1tTOtwaUScY8WOcpOkp8YHZk7jdUKo1OT6n6HbeLH2xdAvda9tbg7cES0YbkDCT4rWSvGIBDaETP6GNiO7GNtpZybdydT9Yfgun0xASY9+ZmLxAuHtAT8YQjVWJjM1/XVJ5JXfywlTOGckrBtwXB6I+w3WJLUYaEoRdW3TbYHDQ4yLcrzk5MZ9URYqL1FT49YnwzV+cteWpRyx9yOfXtcjW6Z3NccFAjw+wror39+yVxrFJwbahHP0ljC2JgC9oKHCDrZp1IY8leYkGQ0U3z+8TP3cgPVt4lQUMxxKdZCSbDkFceinegEnLPPi6ZFOpec5N97EPpQcSaJ06f/CP7q0uWHorLn+E5eprrF4DlcIUi1Cx+lLjyLVhKl3g306q1fqSC8++vyMxAylM+TooCIk8U52YpZVOI7sFM5ZJsjezNTM3Hw1JTuGKnj3jYGhKFLQ3cKK6FS7+umHEoCbplQNM/7csonoaetF8nN1CfhV56ER/XHlw6YuAbRpTxCFNgO8Kj1keKGF4kYOew3MBB9HW8TFK1RV9XJb7p88yrGnWL/pT99gS6Zw79czSQwfHUdiFQRgKWK6uPEbskpUMOBQs0BCKgCuy8OGyuN9bTCtyNbPBJVOrm33ECrYPcOTVshrTyca5Dwhwh7Z30bwD52bYUJT+3QoW+beotcj4oySnq2Ls2AyKMW3aBTCo6ibF+QMEVrOTt6X1VvivnQaOswFVhWSMasThUvlAiUTQFu6YD9sHfu0AHWUmSAfBVG4YZv25xfGDEBFPuN9oRWKZTcGRRj+tGQcPt9NgCry5U+TrN+Gjgxx00Y4XJjRr1SxUI+gfY78bvF15uXyrVB+Zge39jrOSkhynJDG+oeP1k10B2D3lDeioGbEVA4D7hWeoJceOQgUuXbRGAdpV8/ipe4x3mGUWEDAskoFuN798D6ikwIUZTlR/bON49dICEC94cWOddafghi3ed8eQewf5M5UDl+iMPW4aVE7lYk4mGyZYnnMx9ZbLuvBtLfbl6Ap8i4Z94NTEz86txIZhaVb+9xbwYz54lXBdB3PHJSa/NLUCjPlbpA3zfUShSwC1aFV//MnhqM6BYe0ZCLcBJCtf+zLPCEiDUNGx5opcraHuiKGA6YGb4VWPMSLVUSZbllljpsK3e6cyS6QewLTWB27F+qgXdPFxkHQIXsl1GbK/ylpwpjkuiCYZ4aRUn4mUTI4/hAteNGjNWrMTw6X5mXr0FKycTOwZyv7FJdgHXrloaSaN56bTyKOdzGbYPNNHt0bPZ+wlMwELP8+zFCI75qP1RlRtMLBEOS1ls3jkeSX88L6vFZeLUOwDt2z2eJ4Rt4PUYL0XRLjyIxfhxE3S9tiHdk/5i+j+0HGKQ1KzCW4JbyF8/wSUCpH5P+HoFXjxM+BJjXDR+1TtfRODDQ6K/iXCIR/RCDsKjgZpZIUzKBAuf5CXeXnK4d5rF4u545K6y01LDu+JtBTw1/ENveuHwJlHaM+CNFgkIOExCVKz0SrA8MqMYj2109zmOSfZnIpg2RebRtdKRF1/lXtMJ7Gh0UvAseL+Xk2mh2B72WDuptrJyDCEF8beZVXjhhRlx3wuQ8rwXA3bL6CZX4PIleGoUsBn8bjhD2ElKDSPWQdYgJZgg4HAY3WKff8qFwcBXUrISyCnCL1rOvjEC3ZuxelSGcihENWmCa2DTSSwo6KJmmKR37Wv2MoWnaO7WoYTBS9jOL2bbXns1reQ00mOZ8ZNHg3PXM2Ug6Hl/6ftX7sX0vKwhcB5fhDi+RIEY4N+p5S2kx3DcGtrA5UIYSOP2cmjbd3uKNUGRR4wSjZB+rEuiJw4IBc22qeCh078uuYl9oDNhKXQGkXZhLKhs4sJ2EhMxayb0IejHkuZBkBqUPfgMYdeuQv2q7MTfwaz5aj6cRvkw/nGc8xn70e/1/LBOIebYoYoszgj5MkyijeoJRRN/TgVEX25I5vFcqt5YnXWyEnDDM9K8kF0OdZoC/8C6XdttX5xmTkKhBdeAu6rFMdwi0Ok2pc8SQlY8W60ptKc5vg+EoLwMT4CbYugxogiPPGOKYK6liFQhXWNIU+Gpvbpqeh6YhxbUYTIMN0ZfHhi+YXuzg9O8tT0plKH6qknfHQAWy+WcM4jfC/3z/4pkh/KCEwGK0gcQx3B3vg+Ak+Dv570aMu2XTGDaSTEUhjf/zvG8VE65FEuK1NxNUZC9/vNLapgSmUFoTCmEmptlbLh5EijR0B/dVdo0wsbmemIK0tQV5n7ivcaIkRttKi6Rm6uRVPG/FsUpFhInDmxD83PpHrA2j0uI1L6hjp3o89PogUpCGNoG0+l3rc7xOJxdQJfdX0JBActRHQaLz40Z6aYO51ajTmDMu62yYHzYiA+Qgmp1iB/75ex0m7FBtBRTNtJxSOtcFKYQ4rvfcBG7M1/sugk2RJ9vi1F2cKWBz7nEHDBHatKgmw3/R8lO5vGdW5l9VvoyrXSDra8g1vf0E2kvVJTi0jolGLSCUlFKTspRUcMyVZhPz0pqTkJVw04X9pI9M1vfEHOqcA5Wsvhm47bjQCYGsJPDymhefZGWvAxhdHKrsFTmeF9TG8WVrQoJSQRWCCdeKwm0mmJgsQ3kfDWYOHcO1U6d4RqPnckMpJ9o24n3EFyQkXYzugzhP/jjtWTSAjVN4c8KQfI4inJkpcoz1lMszNoHErnPJNM4V0EByJINhUKQJo6vG3sd34UU6GQmt5Y/HVdt0KHy9HDH6F07QFM+2DxtRhGl/spRKGl/1BZCP8cS9oU8vgHS1Jdb0c37Min/fBqiQl2XvaGPzCMRn1d9kuxpsSEI29jIifodtVfzV8ghg98d0r5FZQrTkYLyBG0H1UPTcUPTI0CKOJVpMmIvToofXBE1pWqtGrP2st6dppscAIYWoIU0Df19HXXPzQT4df74djhH1DK/plUyQ2fSOr00JDpK0dew/NbfOPqW6cscviFxugCVgCAmIx1I8Jml80SKPL/9MxWQEJ+NUbAA4AOeC6xKVhMDRyVOwtYDdJR+jKY8DlORWIisbTEziSk0EyHF3lxdgRiyjMOaySM56uhmvVs1R0yIqTU4gc2eBffTmPuEZqwXAUHgQ32VJNwgD/PF2R/UsOesIr4QnFKHj2Zi/6KGgjYPUqR3jLwUj2k8I2PCNOfy5a1cOkICq7KkAXhauTpMHH4ROZxXnQJDM+TYJgzi7/aj+VvpdEh0RZ/bK2flkasFSHRRLhzueq3lVxFz3iAJ2hurHj+BieMSzedadAniUv/qb4MSOgKYz/4cP/s2Ld8Fx4m7qqxOHHnSRSBVrqVdPxnChMyMwrC912kLZ7ttnscJ73140bY7e9khIXivwtF8138PSgekAkm1ZTMhAaAinxkHTRQ85bnpQxN14GpxiHvWdwvG76eYLBmMDgJbVp1o5WTSdXvvC4M6IG8pDRaTxz4oquqBQVvDW3nsPywqnMDcnp78fmLfMBh2IPnfsMZ2jHvKiU5eDl/06PpjQVLaW4eCXtwrKlj0b+DsaTJD5U+EaQMfl01vH1tLpF8erfUElBu9UEn7b/4VAQpMKB+3m0hXSxa42PL+s/FLR1uzwtd8XPCwdDRTsPwyhJ15bfwoYNW67GEFryf0F6n27mpmcpr2QKqycqqtuSDu96dUvSc8Yn+U3ZUYQ6bObLsRBjJngyuBYOj0gMgYN0Yvpdqm3GNZ4WT2wNilbLFlx8aXsyIR6QWfTkbI+I2ehXNgAfdNgwkX2J/rvnKllGI9nqICMMaM6wsHUjJDU5LvzzIsfna1KNGh8/QAK8GL4csl28Y4SQuf7L86+6rCj0XZ71B3YJk7i2dZ07vOWnOGox+Gmah/k0exov3iWou0DxJsVXaeKczKm7Ov9Cpi6lUyTzRsq1nEQkTPPHpEGHOzdOj7u3ccY95QW/aHa31mp5bPPo33u32gOJwSemH8xWmjbXiI907W9vPmDL0PtJfMMDLjnIrekyrv3avu0dXDzYnDRcmeJvgmVieBf9YU1YqGEOulFzO8LmNCiSiFPX+mYtwTY/4f22NXgUgyg4dYTNruXVw5nMg1TeHA8Bw+l8qQ7v/YgTTbl5Av4K+CQono0Rd+e76GuzkjaUD7sTHnwuzKM+Xdbj7qdKm9340DrcKlrDxZSLiaNoU/sJzwBVTWVVKpFMdh2FCp6vBfzA3xKjLhVLX9PKZGYOEx9ugy5ANPsYLIX1eWrFtG6VBXpfNMHNBulBlBoav13rpruIYvblghnS3//s05xUPIkKwQgFS3Geb1avp04M2jnSDKJp3+CQRiKqexYRQL067C4pNlLCGN7KLYxk1yp+tL0dU/MeTug0Nd8GaWGfBOp38csu2wyMAQWyLS9HP4lqM9yKDDdvtCMzYFz01s1oOIPN+dpYA1Mus48uyNsWY+ryvY8/ASH94C0dXQJiqBa2TKI541ZgV/K3ahf+H0bB5J2Xj12eRP0Gtwi/2ktxWZ8aac3nd65eFJEvbEHNKTfq3H7/C6lZbHrxq5z/vnLOy/164EOPj2j21mDrFEM4sQP/oCIL7f5Kox3qknVrH6z+jB2KIbgi/uhjjgOs8ayA9r1VAoV6TknQ48GGOQOgPqGdt9o9JT7s9KDFAuYmDe7rv00BnX4iA+Q/Kcx99XL72xHdY8ZY1ZHMWtN+sj7a7Sqhrp62pmBJPDQS4Gr1IEI8669SeE8GGQ+d6JGniBeIMU2vZ1j+m0i4btF8yathl5f2MEM8idC4UNdm00f30dQ9iAKI9L62BvCUFibdiKClgEOsUuRCn52efLTmj/bOhwALJP+h34jfqaNQS33Ii+afziW/E4KHMr/f9TrKxjqcmNX1Zk8xizi616OJgVuZUfPRDyWCukwSrn7ybvnSaW+BvaLPPid4X+A/j3Py2bh2B051vHF9uwh7XoMyDig/rCs5C2kVA5vtBBJnZqPaOD1rkE2VesKnHDkg2uColhS/TgtTFlvsU4hKYXpeDjtJ2fnj/5d+diql/lq2ZWRiWzxn0aKWg4lLhTtqTEv9+Jl7fyCZIl8c8QD+NR5Zo1VhiZc3Tmfu9SWnPvcqTRSy+QxmBp85dt+pPPJR+U5H8vP5xf16fvqXbjA1KKjZQnN/KtudnHc5ZgOdlUKx4C+DXIYhvI9w9zgwllDRwjPE25u6kmCH4RPTqhxOfUS+B5y3aodP4ao4O+E9tUgtpjyknSE0Xda0Z670QittQOYRtY4NMNLj0eHkfPepUQ4obwC7hma33XFlVHvLjH1VzLdbYeIIxhFJjyqS/ZLkAnyKxGOhl6gp9TrXqBM48gIy4P6SSxIk2vcsWnFhGnasr1B+s8XtzDgIzoeV9R+vdibyLbSQL9NhGZ19b2XKNfXUEd2PllKashSVH9DfMybrxU/tyvPsCcVx5AMVToOdzoFVwhMArk804ioDedAzusCIZfrGjSlynuxqPMH1dWlcOdSoaafJuKpygbqPQDgy76Fd3Ie47LyieDBbiAxUyhgKmOY0i8ORoKQnz1F3/LTXqDibpNIuNZF8M1koRyRBeiPADML03fFJIT9sBG4IpvlBOTIscKT0BPS2wvqL07tszcfyGrGuiwB70w+qmux2dA/m64QnvA2U6b1EMX0390qBIhFJZEz9JAjOHJYfK0V4mnHt0Epz2bGlErwlj6jAfZFau3G+TqAOBZ9KeP+0Q81JSJ2RUGD3cnOtAYlBf3CTknKCbDk45WGsBLTKJNfzi3OhugJ25ZvOQ9azv5N84vp7VkQ/InvfQr3RVLsaLDLGf7uGgeQfdeSxIv013EZG+8/KfxcNCB5ViGrPBnEimOI2lNMD+mi961gjum1XG3psqNI4ZY0TjyR6Y0M9SwgoYJSgXhKj2JKWb7GIZRcN3V0epducEVwqnD3SzG+U+IlOL/2K6TzcSl59AWBXmkRPt4sHkLe7NhbHuDD4UvoYGYIc2HFzCYnMcOXWR7EP0pUzkenqxqKpi/AaDANtuXsjuSZI/LXNbYw2i8BUH5PPMNEIWPXj3NwCERJJ0zdhol2zC/sxCMXH+kUfcNV9N7F+TnaQ/PMf4He3gLkf+fCEvBhFDX8KybEmPlWhCXlDWmNOnwrCj3CVO+0gewwC0hvtrwcac8OvfODmjnnMZ4uqvFkEuLZ7O2J6inQHDLWDjCYk6eK9NbH75BzY52QlSnHg89S+X1F4w6lz8kufEOxyV4KvUHNKr6w9YwkMrpDN3Ae6wQudNjmQ8rEaXHVj4z4k5wmzIUAAD/ypUZ8y1HrfY86binbMIhBdNpEifgNydynGX29CvNgAlndRWGRa7o3Y8K6dLT+tzBwm4wFPqJKSTSGa146uLjnv7Y8T+Esye0N4gnm07Qjvs7j64aHNVjj1YyoXYPHY37/ze4EcouENPNu51wKpQJnMCdxbT77UeweYPAaa+dlWxo0w88FnXKbsFkEv+ZxDvE8cT7vSEqU1TwISWUlv+nCJHbjlGu+dj5Y5etO2usqkn8ERnlptU4sxf6ynagoDkkr9KLicBMiyNVddKsEwSZw35yETxRWGACNDh8n9qY1pba/170F2ZSlxkSpNcHkVfIibrlyAqSsGsy1UuJhD5Dnzbmc+67SREzj1D/o1c+zzoajU4k/LlUNPTgy+52E0ex7ULfIIx6P86Tkax63s8SNYfDRX4BF0i7bZkPCiIgUKhkn3jL/dLXihjQOubZXhrMvNFQ3fug4LM03TMuNwg7QkWFcWCSQ2c3sPte8y7CeodEYJcDdZaKonjl8HAzeInWBvvhol7KL4yaimk+eQ1G+QmuV1zOiOCigfV5cRxNL2Bcpp4U8WKlCKdiJB012rRy816GCiN/aSx1XdjJyl0uZCX2WptNxlYLogLhmOEZHpP8Pdo3a4elZJ0jD+MZ3jyla7ZSyyJkzs6MayVBYDb5b+qkXAPwqrrAMcPtYqS2g6l3Am+IRM/Ijm7opZtRaR+v5PpTACZiu4MvmClqZ87Ic2Z0cztWc8VxGBglSqMFzrGpsrNtuY9U/CM/yfk+h/W+voD68rDOh0U3J8nWmoPGpREDJoRnvlruk6v6ubYouKsvsAYUYRaVZhPMTTkDhAIgV0E93cAMDM12tUF4tqNHDY8mMOA1uMp4TeaqfxoEpKdQ87+S4+suzDoA42EsdF7SLWtPf40FaP30xMnrloNCiay7C4+evpzprsL1qv+vXRy9syZMvNbvsxn0fLi4HLuH09WW5DNw+iqlyz1npJ9yEGj8ynWUYmZasIJdgAz5d+SJzm6OfLkiGYVjC0GW5GmJxCoTAqx6QFKsLJI+fEGU5Jxq41/ww55zmVMfhfVDnJDghTvN6zjEnyFebYaAJrZXph9V29UOr5m1nDDyXhW7BSJWB3c1Y4rC4uhUae/N/pH/VqZ16mIZBm7CBA1IHq7Fcfv1XfJg6uIyB0s/uh+OX+UngrjXTgDqg9teoQbB8tL2kdKyeY/KizBo47yWIFrQK6lIoLlAIKMxSsDHFuTZNylByjTprl/i9z/7lCJBF46PpIF2bDNA9n9KQpcLn0LH/zPSDlNZdlJIgacWl4HHMyu5ZbURIDqrG8QYwinHPJDc0xeIOSTZIPiXHOfEHXet03JsXRTPrtmnnM6U2gbbrQKnFa2uwXw+n9NWWAAReBIKepSTn2vB/H6yPFDjKlw/ZNjn9PRumIQpl1/NiMOvdWydOGiJrF/ag8TDcZ6JirxvDgEdJThbv7ZeTc6PsGG1qS1kDclcLmPpcIX5YPSjqnL7Evftk6prAf11uyvqfNvIgnvk5+I6dF6ltdfFtfwzuHFYcmOUahXHfujveQbulE+WtqYG2x3N+7RnFAegKj9ESFdkDF1xUsg2g5dO2ZK1mFNnlcULkDTefQtZrxebklnWO4J9fhtrFhsoVV5YnCGd+JzR6lfiudL9c7/FFw9o4oTTopNRefgkbrTf4vSmcZPhp29ZKMcKxubTjFvsmy/KlyWgm081K16jBVoPLOPQlxdKhfQFD9VsCiOLtJghoJ7j42HQRGbrBm45BkYBH9mybAXettcOZKfi1ttjiWjR3oB8YpeMIUDU6/0H86UouJc7gksSGayQpZroV/cnBKuRrrCi4C/HY04woPbX+qIH02AqD/pSmro5oOp5H+pOpEIr3d4GZYaV8Zv1nIYdf/MHFWtbGzkaEmg3S1Yk64A38RVUP1Q2xq6HJuZgYin6mOU1FiTT+hNrdGN0cdE4Oj6+U8mFZqRCZL+zlweWEuXr7TvNXOxaynFIflO0XIBYqa/EtFbozvpUQ6EXFhQ7f8ntTRUCS72cLcvkBmuaQSpGSLBODyI9+NljEqhrUb1dIfYV0m2dAv2ff5IA/6C7VzMUC66vsbXC38TW2GyoTiueJndja1a6XKlbfDVBWDsKau2kZkqO7sdBC9FVGfGimLqmgJajlJnJ1G7Q9NbbIKDzpwdyS3FsK07fwRi0ipCBdTiPbofoyjh4brroLEvjSzfnRbAtLlRAMivemlazQ8NWeTf+bjFrVVDMQyrGQqte1jx8eb03c5E4YUiEiyHpOC8PEx/ZVNS21G97TMRMHWq4FOO9Y+xrtWepVFDvIEqwXwykW/EFS3CjR8ulwJMThQKoPVoZqeUXb972lDBCfqiKyUHtht3VzxL786OXfObxYqWYBA79HKpQ9p0kuK6BRdvxK8SZk+rIvc45JnSK/yGlaSleWMHDgayZa6l7T5ynhLiSet0g3z4gEvwD4cbTUDatk/5AoQRUfO7vVBePQz63iEdKwHB9gxrAWHICAPAg1jsMb8yyhJuCfXwUeCm39SG8hqDJa5/wZIRO9x92cgdQ9WG0yjxidwwmPKzNrLQQ9n2EuumGZ9Xk9YQpOUbVrRjf5mf95VikjVdo4/Tw+JBbe3OveukhhNotSvyxnpWNaah+utKnjEAhVCMApkfAa7lwIaBQcJj7XF08bjeuvEWKholSWttmrxhrUv3i81DsqNMAE90cV8msws4thisDhrMEJA/83M2UGWnx0H2J/YWW9Xt7SrvcSLGLCpMS2JPu0IpW4Z1oVpq2QyvdwgoC8Wg+mLwbF1n0wNv67NJuYxo4LLlQ7Q/OetxQWz0l5vpDsl9ADwiwM933tnVCUyrGgIepMBxx759MOVNzElW8HCd/mUNZBI7jRSh6wT1r6j1oaI08lrnzZzkcG4mWtVdB4n6xSwjhWm1s7OPCj9I59A7ZtAPR0BQGvT1RrlFxRfYqMn3dpY+iyw4ERQnWyAe2I2d5KtDlEgBGxA+vJEVO3RKq8bYqihVmrHpEgGpvzaIRuZofcGx1OZ2ZsOBLZK6Z7a21htfdBXjmRi08L9+tFXLtSLR25w4sYksxeAhKtcr07RPd3q80Y1JqTBOl87HNbRNffWBjPpFuFIXnh3q5B+0qbyQfZ22Q/HqSGaVD7nk59ZB6kel9c6Py6T9Am/UT/vQERkdruSHNOFHmAuGDb764OHDESlfQQ0mZ8JsIFXsWc8PzYUYHMQtzyLTxO7Y6Ln4XFyLyiAjnYmn+e4Ar86lWBDR21rmkv5Z7g1jKSuo3bcLce+pO0szv0PA4+DCGxMOWJl7BkNB73x88FFLUlHTXuzw3URSQBdwfDOcZVfTyNYHZ+ae0poIHiaTHLz3hV98+FdMYLwAsbjIsI6o684aGA824gbdsd+tJTS56JFljWSvrs0rHYtfXA//2oiSRidxkfAidPpvejir5Hmn4kRXMqdN75JHx9J1I5ATXG8fDVQbbncJDbEv62WSE/8TmRqKEFC3J3M08MVIFQo0T8yjze/WaBsrTPDmY+JQEQ1RefkKVMJHynMm+cnCIAylhPejBXv8sJY3kd7RlqrGuHdv0Xu4B8oHWwmG36NWBLI8uVU4EMdLHEyBppV0FA3e44b58u5q2f1SX4GygxzPW0mA+DGuK/pzqxrrKvNomLMx8zJfVI7CfcD64fN/VnkxQiHmKZ3evC4pL/HVuiXJyiEz4QP0mqovjjAukig3rInMVM45EviGITmecQvTTa9JWSYbRPyFwx461di1ibHYGdODsCTMw2+kQKn7n92odT+LVUL//JCIog3Enif8BRDCGjwIyNIF4kKGTMVsJT/tWfOyuWUTTU9eThbH/LyxjNW/YhlaWjHI0EO7DsZNmjVzFsmOTfsLi52BGMc3lCw+EkOmDYCcAfXtOQaOQjXf0QraYSxm2AsI6WeFlh2tM/MHoeUBWzv3jvH8Zp/xTlPP4gDHwg09EGDJYxc0yqRY60QmEBC79nQBb8GfDOJjEe/FKsQd32aW4R2SecHGbaIyq1MqNfrEOqcHBw1RfkankM4KCv2G5q6JYDYFbtgLpyaKns+ItngVv5V5vMUFeBPtr/owY1B2mvZptCFi4t7IMQgpg6v0Af35j/lWYJ16Hq9UmoKqQVk9YV8FBjL8d4tT0PfNQfQc80sywTwTHkqSR/k3q+WxwoV8bTL+3BJWp+WLvxtJ9p3IyJYYIBQGH1UxFjaBHaq+dz/TQbkLIH5KGJVIE5xwDaEMPdN9TUVgiqqZBIyB8N1ckP9zOcWJ5EvqgLowgJqkMhWmikiKgSVvwB8nUD15PcXNXJj71HG2HRtujfl0YrxhdFmgoXey2Cj8noh14/moWhl28DuLFYdOx74x8cwY38SeEYwhfBboSKZ/4XvxHEdAqCFfj5k0+X/lTbZ9hT0lRsEwWv+99yO7iEkGfKhpIJSUoHexo5rJL+w1TdkHq8nnRgws0S7YBCOpBP4wWa5Orzs6mvcza0xtjR/3Vr4XyRDpE32VwHXBABWwSJP7EmGLndsILVwPTuzjmE6/ofxGcgAYhCRBaRUV95O/PpDSDWyrdNu1eqZBF6PHbKZF732I3GHCGdPTWb1TOOqoUxTGgGqXR5vusyumSt75CRDKZ9O6ZUOKXTtv8B4pO7zDgBAXejEcg3oOS3NsTMWCo7GZaY5pA4Qrou+biwsZq4V6DeZ8veDbTD+8jZvSFjRSkSmTuShRWXZCokVfRkvtJm7QsVtTdgdjeAwCibzSFKKL8WhwzO04PUFgObNDkbQHHp8GbDpOLn7r2KLv/4mcQx8gtBe2QFAUFgv+wbZxNqfsJBfR60gUJgYFZM32k2eVkLF7OdX4kCowknXledeqXXLOawASIcL6ZwZ18qofAcvM3Sl5GxdpNXiHNltAVp0Nfz9xEagit4vOpaxCv4FhU/zufqTvN3Tdcqli9d04xTO2L+7szMk/CFOFJkWipkx9PGXc75EE1zLOUGRalCM7wPDb7+H1XyfEdpjZ6es2CQbNZlokluzHKeXAPTnYHTDXU9fs8g9e2Pr6o2NJldAdUDpHoBQeFmMSkWEzW1c+G73GnbYFkoGTUzsbVuOkLo5QC7uBiGgTU6t0wBqCepZ53pYRGnsOITLiH53gT7pQWrIEA5+nzUraefV76J/SVekbmVTDU9b+i05s1d7WTKARvpvnq86NeyILGsC7OMDz/aBB2IWGHD4iJng1Ee/rsiFkIyedDbyYygBGrqwnKO/ULdqoZbtql791397bRnNbOAdyr8vrWxQMQlWNsZz7KBVg+ORvw9idct50SU63+Ph9krS+tJg/F6adHVwKjo4/248iJYVk5izX+IeDhc2GUTeWc0mlobWp4e5GnqJJ9Pfkl4rpX2XSPeXPqBdudnLiF5/pJ9hiHBFhJX731HWW5xxhoLGS1i07wIgXcanNtMaxPb/qC31rs24T3uLQXa5zrDSi80Bj7RyORIsvLd4GPTJ5Mdtoi6sA4wMgaMaA8F/uZjiUvj4QtJN7Ldi47an3GPu/TrNK3p3sGTGxoxX0dER6p3m1Byty7WT22zeEJM01P03oqJ5ke2JHLrJKTSGljTbnPq534hUzKurIrxqpEvsQTUx16J4VUG4L7LSapk8JhNaif2iBO2MljIiiEQKV61kgDHUUGL6PhRZFhgB4vHDmWFuVS6R1B5Hzu6BIhl5ND94H/bN/9TDZBn4rLFV6hjNLoOuw6DG1GSoSR27TqjiBsxCWQZWq25mkYa0AmnYQPRgkv1CfBsx7waqL/6Tsd24Yzka0EDxLP1c8Avdc2uEGgYt924dxn6yNf5V0QeyqHldm2/7ghBOoTrbofy5L7kUy/MTY1KoMk2judhmonb3bgCSP7fbZy1rFdqCf0tZA0MLkwGB/TKYDp16ce7Uvejf8LskBjM+iIgbF0CzIMkiRAIf2VAv3XbhatEQ03yiFTKajidUNI64djCMNj7Pm0Br2g2kTBTc8WXxG3+M7uONbwhfu3wngq027BMGyEP2A1gvhrCrFB2LMTRKNdEI8y5DBNGk/On0RU68p62stcx7l3aJFdU8XExdECFeroQeaQ1eav5uYlFGkql+UmUkOp6j8YzKaoekgkYmtCHL0MLjiYeBmPbrkMLfOuU6msqeE9brFVQ5TiM3ryUnAURcBFCcVeYThtifjDWivFj2g4hSyTqeX9tk0WK8ePOOChtGnSy6Y1aqGitM55MatV6BQJgDn2ahsqcMO7gLybFNjYTLhIWv57MXW4EStcHlx67CTZpB72nlSUvPuDtLuNNIUWVgKp3ctDYclXkkVhHQEzNV0DHh35UW7q2nE8dH1PNvsRpfem0lEDZavh6sv5l8m3tjCuCApoqK56BU4SgRi8LKRwN1uxxm8ysJfDXq3himhjYb5mfIKYbxZTzb5jh6BF58hy9hRmFyNXPP8d+tHMROLVBIm/jHDf46N0l0oua4nrP3Ul+sooNoso5lR4YcE+PDJJECoXhcoo5aHAduhsgh+mwFVhCMdODNCb53qYzFW0Tl6Wjv2fE10PRxL6N46C3CzSgcLJmD0PMoFXHcx6ekMTpp5pBkD9GXz6YkSjx+owa82CiZrunYF+1ZRirIIoRXAip/i0ejYw1kODHyGfee1icGPkPIik5g//IHWC8BngQDaMpc7hZ43FGPQrYmxKHCsmwRG/hgfbao5xb+an6mPpsnHDFVrwuuPCwyvNE6m+lktc026V4hmzUhGWq4JmfegBR00E8pQICmfUyW1CYDsiVzlDkC8FTGvFfrgUdS4IwFFVmFDuY7+gvqMZgLStxZl6LyWnr8Jz1dhvBH4DS8a1zPgrUVYwNfcr7GinidbOzg0blm+V0GX6CbLD7JPb5ol7DrEnQWmPIPpgn11gae5ctam2U80FBSHOmYByUGv/P8tbwWPLpICAoqkiW1VZ2IBRBJv0YhE1RYo8LRmCBsiDjy5nyHSwHbfmXStqAIQ9NnNVQGc+ngMDs7aPL0S+bsC34OXuhQ1gvk1qAyVpa8mgfvYxgfZ0QMdrhRb6bYMYZrStmhNASlGZE1V7gP5blCJe7MkiEk0/0Lm6I+t8kE6OR0ZGCUjzk8edGNO8g2jV5amaY37GDz22eZ2tFu7bKBKcKFBznimO0ghQTyiy21GBJy5JBJgviC227vcao/TBOxeSX4r2bg2I8+IVlD8aoKRKT9utDfIMCm1e7jHR57EZG7Do4KUTAwRG1nh83Pt8iL9+/0T5a5+1zrtyAB8saprYhGuGlLrL/s5ch/YKYXvTscFoMz5q6KLwDejFbfH1ATjdAi+QBvxcKMtvRqF0+uIiLXUeisO5twQZFaH7iAcJZ3z7tSGF9wtMoE3CXodT+AG/Z/VnhIJ6/k624PFetTaO0eJN37qT9uQZZDKjQg/6qzi03q6iVwI2Ilc9kL/ArYONBdPA6zmaPljGXky2KLmdKzR4/q8cZf6FYA7OPNwHw+w2ybRdN3GFQMBuJmAHWp6Zq+tG1E9Jw1w5COLrcg4atoFCFuz40IhnLm+8p1QFMXVkX+xx7+5GEp6LfwWlCuCUEWTRrL3IS8cgZm7PmmiwQvkPy3odE6LrndK1uo8JyO7bUrJkrXjWqktTC3DsU9BImBpp0UsYYQU4QKmwaEu3qasSv8oJsTsyClcL9pLk5I5Ps5oV1Iai25lQKXeX0OiUtTOLP6aMoXEzixSl1LGFWCKBPbgNIPrIxX7VUXk89BbesjvD7r9DX6RfwYlQ2G2YQ3VhxFCkxZxKbTFTYDb0j3DLEp4I4IzogC9qfh7Ju681+9C/QHAk0fsF1SBto9ttl1Cslid2TQPXc8X0WZzZIwxze+zcoydEVYLulL+VUEdMzvcG8IZH3LBvgwj7Op36R0ugB/93rZ5T/3y5r4jU0dS3csW5qpO2lLddxk5sg2nCSy4I+qQL6aLUf3SyfEHvYG66SLMim5+luCNmut1c8tWJVJDeoD3RQMTCFfWr9PUe+qrrhjycgvk4Q3bmMYFzsBN/0iXO89u2a53Ke2vVG/IyfyYK6m3blms/Z2joM3VwsJADoPXNsVTTRM28P3fM+8CEwSVEFsCxkoHnKMZE6NoX1xMxz00ktelDWjIN7m1gul8k9SjIUR0k6i1Z1DQNGpClkWEcajT9LlIMI+ZCmvZvStDlZgYfgGmW3oH1L8//qpiFuVHZCd6Z3gg4j90ODecdHelPPN1LVtza5jJG4a8W6c8XRoOyxYgD4LMWeeOn/aOqd4I15MbGMKHNbFcaJ6c++JRtgHnDvPwWCBofv+cOYXBoJ1KCnnbixO2Tp13Z82oQqeLogFoLtahhq7sYO1FB87+pfvDf5KUpe68MNgfree5f3Sw+U1vsUI2BFl+tc0RjVkOe5UNReIXm6KcW96HLNJkahxUVYaISq2Km7AnHvj/SCoUwY4gU826Cvd3yW60mDEdF2VHQ7fJ232w7EkujnRxe7ugmxaLigU/kv1hd1wWfu25DuUt+KHsCI1u4v04Br6SDiegrsHD1josBnQ0OPeNYPnlzn4HKEbtIUv7NghlWOazJgoE+4aZcR9uWLg/RqWC5VVND9v8h7KEFXeAS4cE+Uy9oNJX9G3yjSXxwUlLvEOu4sn0pLHtMe5GU0l6AHu9WbkVUUTFSgTVD8/DkeATyE70BTFdXtirxS0RZTTiU/nYWTq5jBMMoejOej5Auo3+DktW0tHWXkq+Gm5fVs9RW3YucfR+6eB6zUpJW4DgYGBZv1DZqu42zRjDXsjd6W6iS6ciE/lrGSAl2ud5UoXRyVbWfI35bABJpN38fntt88w6C48nhyGhBlytMS0ww6cxkfhOuKsOK2Y/WTzR2P+eN+jDdb0TpTs0LvOJszMJ75JuD5qGrN6h1Wu0HBMIdwG7qB5cTqCtMCaaYXcI4UHU14MCp+zSDnOQZJYitNqUiKmUFvW4QIERV3cMac88wf5cQIMtJTOCKnFbcplgdtcdL6Lwp86vG92z6pTJDE+Bt36FebFV9VMYNdddhzf4beiu3Mlm8YMd4adxIPGjpxKGEvsvNerh+Rjd7uHL4KzJ+OK/aTEoJGVcBshLtEOM7euzIocruguKfl61fLACMuDXT3ygjrf628QUbzbz0NNqPMC+EEMm+GG/13wU0vLemSMjqGmBL6XS2HIlbGxAnTFO/G045N5VkKmyhqw04SeouE/LwfPJdULXWuh73zFRnkLJIUWRFmdH4x3l7kHogoaudrs6fDQRsI+Onc0oVEeg2A1uBHZ2U0ULHk3BxgBKm9L+Y3JGOzGgBF2rSm+Q6d9MLrP/ON+qUnuzbuAp4kSqFRwk7n2dk1CorNGfuadXes3DiVaqJUN803V8a4Cq0MWNtgUQzmcXvf/XEHrvW5r7oKVyPeuey90RsyFjex11hiL7+icdMaOoxLeXcIIrfVqItX91G5iHjcezyyeww+duLJQhMwFx36c82zNAHeKj8esW6oT7RJ8GiSgoP3K4DmOJ99mnX0j8E974qF17HFxwJt7DLy+CLKS68TTZGxweJaOmOsG2D2V0cYpVKGWBSLb72sS39nTqUhxXDrYA59jEg5mTw5oY5KA2FwfrtPJMQCaR/6xO/z2L9/OQlwdDCkYFtkhkTEOTRmMwVMJtSdl5M8VMpAALnrIRu3jqR/XHeeo/zLJjGG81N9GYltrxACMVk4iL9jOgkE3tShMx/32JdYeGPHvtWPwK2eFjzK6ZgkcNzYL6PxLSpJmq7kCwm7W3+szpvrmSrxplhL/44MMps36vFMeRwMiYaXTtaiv6tcfHZAu0Z52uh/yES7lRZs1B4LGAoi7VxCMncVqK0tFjFBWfW/v31drhoDcLz/bOq+I3+q6kQKhPuFhwmmWtXvS6bd8ltPH2Q+SWByqcs52hLAznZiYyBwQu6eQsDggWFwCGDcqPdFsQxfa+pZ0zKf5ud6SDtk0MtNQu8wYTjJGLQPaTYA6YcPtHYcGyslRtusyb0St3r0+wDA6fqDygrDBCubAwPOX7E5eQnw72ao8B+9IQXKak/yrJfTYKqZKTfWVmymtUCge2ee7r9S6hG/8kneghco+b0gYnjkCsGDtmBf1G8vqDTgeW/kc6gW8lCTu5CE5PyQfFFx5g8+AE66a8AkVwjqOVQKIUiG9QVUc6/8O1uqgxtDp4E+wxqy4mhXcS+KWXncehDTh+EBC5atz8Mig6bM4HcXfF2YfENarYi5FGSm7BpzQrtDhan9kUeTORim9ei8/1ltb6ZmOXO4Z/XbC+7VrskMyqjtVAv5CUqOy30VL2FMe7U9QAjK5pR68Sa/30ELBR8YmDHLGWRmf0fP0TdaGXCjdgwWHhkV4GKOw6f5R4ZLv+zl0YEHe69BFqPWxQkm/e9V1tLgjoXuOdWK+ebooPmtzYq4bIRsL9t0CAgtwHqFVtyMTfxszeKZAzQwHPDQ710GnTHUmi/dVm3WkbVoCbCmZ1prc72pDV8vmL4Li28OKOkUhjgqSIyrAj8M5JYswMF1vhZBnqf1LIcQfh+ZS+gtO04ixPE5yIS2JlvvUBEQhJu/sNLtTw0uefC4H8bUKKVKRhzlaOD5baIgk74/3NmznqtJPzIfOSDn6uxHi+PWXTIY/flK+I83Psmbbew7vNT4f+jH/OrArdunulRQyXkBdznDF3wHSpjqEK2eLEumnVHCSxbfSdjd48KP+Xp6Y+bEE5Ptr4ZuRrlzid8/YYe7xO0vD1XmQ+CXaHPCZKAFDkUQqV/I1tYrr82uszhusmmFACwiujDIPSNusVv0pnxEHzDi7Cj16OKv0hU8SGuHZtO9rFNlDZ8DYE4Odi3nbs318oqn14+q1dk/p5KSkdMiAW2gT74kcOGPLYWDm+JlPMh3bAPAi5DkOqu0Ns1qj0O1YIxJegGkiVrJqOQP+Zhc3OjFe+qUsfB1EZSlyYVmTSPv9H9Uvz5CI8q4KcbuMYcyqYriOwqAoL6shyP8UbpMGWLxsF4txqtm5puBiyeny0cjmZ71OPIoDkElQ+AC/mam6KMBHIzXDklKaQvT+imgzLqIKxuou+xZfCVfpK3Ubx5lPpaJe318LHn0ohTUrsmyWhnO1zjsg4t1vWFL68sZ8uGhqdhmUzeINgssFXvMLMUa9IFp/s3+rbXKWYnbECbyA8llirKlFod6tJSk6hnhhgRxwwoFMhmURQwmY9297HXNQEFAdNqHsUIUSGX5PAHgGk0MsPmRm5Qwpq8qtJmIdLW+aXzupJkqOZPRCQ3zdzsE0jL6nc5vGV1eXw44VaECw1TkDVxDh7TSHrNumiOgtyc+CHzvkRBZLwO2V0arPWBGA6JFgeCge3WkEbSlrlEkHjDrm+SGDFlG5k1B5wSMUSNG042JnnoGCry9fFRwCIZYU4ZwNZdXFgM2vR4I0od1Nj55+lY6281fINpWLmUedfUcTP8+pkwFIUKubjMqNDsaeNkGbCEM0NImt34pJD1lE9zA/cIhCYVqkXWicWkeJsfdpTi+jOPh5VQy8VXSZbODWfKzQf7yUt++zjdydfrey9rq+7QfgMkqMkI96OvzZlctzjQYFo1vjKsLu1BhcfQV/XTmLcI6lePUD7wWbmkDjsyrxnhUtM2xjxgsPPuCbRGJ02n012uaiLlUqJ85AVHIuS4TboHIEXIc6vdihPf1w+LHFwSFO3m6UsUIgcpWE7CmB/OHSdALAtCSuAXpGCGf41g93iXFkuS5Bm/BjyN3Hoz4Q8JmsROJ4H3Quw5jEtlz8vC8xNjMHCqdRacfIqdFYouI3Qg1Sv6u+jdMKuTRZiLTCoudhO4zB5UFOVDaMFrdKZqbO8sNSsaBdiyY9kDclXbQBP0VUNd5ydZGcnqcdOGkCv2BlYLMBNdwmWyE2qtcFkQ5TTIvaPlvVf2D0ttlvbh+DgoOfxD3kvaDKOXwuSN/cOC7c2tQYi9au4d+ekJDOk9xQ23ITJD31T/JjS2RslS0ZevL5wCCxwtupJKjSYbEs8IzU8f3cfBJngo6xFMhqeUZZ3/ewE3uduRNO5yj96gFUN9jckgev1yskmUpLY4XeUY2gywdMSkbeB64QHRbzicITehdpqngeyc0BJDBSDh6uCDILaT81x8ovvLMcCrbET0lC0Hvem2V+8DLCbKWdM0nk+3WR4jzFRxZ7rxDu6K0hGnj9MfB4EYen3Yh1YoM6jgwF3ZHTN3bUKSq5FBsoxxT/N5JWfVdXfcftJn35+UPs4P0RMjbNxRMVrh/X0i1XG3c2vnVIs1PURtWF0ah9rlIvJwj/PVKzPto5zyOcxmybghHtCIbryx2m1HkErENra1x+fzPLXrTN1X1g8ZR40DpHJc8BoeadfGwV6S1qTRhe0bvdymituJY/ulKeGU3oqsCwZ6DMlw4SNBPyX8/XKMHPADJO2SmYqkdoNkR+o+/Z3dKX6yWikLckVbsLnuY40EsUv/pyJO80QOsJPLRu6G9OFt33ExPbrbBGyO7hP1wG5YYDaUIH37ekwtLJvo1D4gb3o4VIRvEQqY0IQfiGP3YZJ576h6EwS7xBPqT1zeQNAgorQl3YWIcHRm7E5XcHdgQWqm0uQCOw35wnGhPF5VAeknOcO/HDvdhUNX7lCEzzHjuFPUHmWlxFYNJL1ed7oiaSx4e03gXsYriaCJBRYk7eZLIiraBw5dUMUJSTDA7Q+a3BrRAuKr0470AChAyi0OnHlPfb4P8hjctiT23Bx8T/nmH/jsYfi+YLPfd8hm2R+nRPqSKVfO2pPfAadOsYZFBwxfInU8qiWVCHr20p/Zx+GXXDxAFb6vaN/b1r7q1Zmzp6JyDElsC45eUgKuXR/+m0HHAryFWiOIB9N8DnsHf0JSZr0SAOku0OQsWhSGEa/216DIU30JibITV7dd75VsdMD/ThGAXatukc70HVkwLzvjSPbnUe6B+Pyff3VYrF7XTUGKlCYeNaf2Dx14a+OJT9bx8OOoJm6TM2591cEJfWvOo+oilS+2+ug8DdVylLh+VyTb/vmxDIHAa2fKTk62Yz9+sx1frrnDtqnaXppkzqKxqyWC5daTGXSEQhL+AW7P7yRDRMosXQS90Eufv08qaHs181nvdfAhBENCx8AXeUkE86tJFKAQx0JO5dJVVvPcVL3qxS1YLMUuxUYAHvFrE2WvJFe/1Fn+J/IPGlW8bkOmy35AjLXpwU4GZUJNbQ8AVdZWS+r4K0UgOCUg+NvPsgt0oh2cUhyfpaVXab2icHLxv7yo/sHd7DfGZreZTWEA7XiEM13oL315OrDCIYDnL4G6TXJ9zeAYWWXucnV6NsJCfU9gqRTgUeJc/KzZwYLLTE/dEEoS8XglsHbh2NF4nkdxXvR1eaGy2w55veSkFcuvlxORs/3SGUm7gWFA6uVU4LPYwH8dCl+MLKBiXvV8RACK2hTGyFMkEHRG7VOpitMvIvjPnUSNh160AmIA69lARnOrOduIBAPVseFT3nnIlHm1o3Kk0QFyQlIMhdcnDdS7CXIZv3JZF8m+ZPwwEg2ztwVgB2GAXb0G/G2eQhpuysKMZoF1AbeUOx146SQAgVcgr69Wqok5GMsj44uAPZS0bgGQAmzq3EdrpUYYoXf3D2sm6JbKqzUFyPjCD9p6VODSm/Qfd/0Xr7choX3Z0kJZznE9Wi5Ij1xW+9odweN2l2ygfCIfFaX3VCuOZa00G/srUeAXW8r6gX7FWYqZakAhTb5UsbyBAxsmNIIEbDM2Ljh8cjd3pYoHG0uWwq8k4mTmX4trB8v6rI+LWUCdcPaB27uhEBk/XkAcS7c0skJJL2q3fFI1R8mBt77XaHMG524pOT2KRfQJAW+YdQlUk7cEm1okfclSG47/jzDdbyryJdDV/3talt/7c5yNU2yQ6Qfjv+YAZ696ywPHYMQP1dW7P/t2epcinK3qkzdNBOf9GsIwXlngBRJoVw6V46OQFN+9hqXUQCNjZpuhP2oWMc++K2qUB3wITebWQaxReigVUHRu3JiBSzXpAHMXXjOcjlIngzjCVXXdU/8lEYIVoFNCu+6ZTNWm4poNo6tTMTVU2AySQQMFNricNkNWiKR0gO38HBXehiUuUGbBsZCuvPRaeU4ylGJy3i2YTh7hY89pHZ8IQeVxwMc2BAerkpHmgZfobbIMjTmNNS1bZpuCW7DDm5Oc0lAtH0gAdW+9EOSHJg6p0xbFttDIG/0PHjBNMJ/qlI5wt9ue9/Big0Hg1IHFvTQLgIQw1Pa191Rb0kWy8pzOCU2vM9csVo9xdIBl3jRe5A9cPvXGVOFrYCT/06dvsaQuxlsVepoZY7/4KKSdyz2rfKB/ggLzMp61IAsCWyafyMRHd4TESawqmsxAPl4UePAC2bCkwobdUvBJNTp8OZpvwfkLlRAfostpEO+gok1UGWboUbUUkbgQV8e1MH9c+MjhS2qpTTg2OjrBfyR6L3LyJy166XrF018/PSx35vhhuy700+CLadcjdU+NunuA/j2XNA7ig7RGA7IC0k5FmNL9vjhdCuUvRfMN+EPvP0GtfGKZ1kaPdxf3p+VweINBQ/sjmEKjamcsIgnpV/iEylxzmaIoW3BqZ2u3vQor0desLTnipNNi36IZxcJ/o1ZXcR3b07zxMmQNJK8r8aaCQXe5KR/RaE5akxkYqj2v63GN0DDwSipIPwMYorRkN1djipvjcJzBDFOGa4YRyESd775RZuUl9DU4aJckunVlr4QZxh1zJEuNTGg2cIuecZlDdBBo0uI6alQS7NsELAB2DKjymgQkTqUHSHiCCVa+Q+W5i66r3HV6w0+8xDlrSNogp2CXVOpRyPJisAft0DToT62hz5FTaonUO5iXC6eqpWsp7UIGHXz045EUCtspCbrLiQ7Fs3zuxl8fhuXRTBn6dJAYG3sS0bpqR9+EXyA+GUj5gkF0hVQ14SweXDadyAoH4i/kkCnZkdqFQh0i5HicBRFbhmESjv0tQPJOSNqvOJoyqzcW7yf36wQKhKPgV6rnMXPzadsYatF+70H8HsHRtU5bhJXHY/9zgcNS59FV/PULCD/NzTZQaqHsYqPePexKkuY34ncNXwkiCRhk3RgHEFHhS8MF6moNe4Q8iLQkZiPFKAk2JSRO4A80pM4l/vzrx91r/cmP2L2TG8UWGg7V/yQUsqIoWc23VaYKln5VzX4daAOUbVZPTwx+8rKpwI/MyZj/RZCjA1qM/X88Z6j0QfHb4rflEbppniCQrRj064k5BxRsxezq3PsfPyeYMDIAiwnxvYDqIbW5j4rOe/dUvfSWS4Vx0wmQMkZaTfmrcyM1LttfThCb/VSeD1U7VP/4nwlsUN4F43TKk+XjguCiMdujnr9vGKWd/8UOn8Sa0tOMprmiiOlWkwy3zpv7Im18/XCS4qD6Z6CBCuvN/e4ciAfax8Yq68PhbJDAl4Jg3yDXCIE3l6xtQSLaaIjtj719Oyy3ChCHYZRUVvPpxQ/KLaritv4IZl4kixsb7VZHJgKvsvDaeZrqY2OKP2kbeNMAOsehi4nOtDn3BL+0hwMIPBmx+jg4MNVoRCWwRCDWFAlOdTEB1EEmNkIhv5/N+tt+qwN8zlqCJjJ2faLzkl4N0t0rTrK5cmfA5icXSVuLwzU0++nOHqPuHdlwMb8BRGYqA0rlVvDPJ8jjs2ZbWX7PTizYjnSdC8P72SXGpcGBFdDRgEzfh1rDIB69ElKtpRsqZFNmT8pH8wHRR3Dc1+sI1CwaBYQ3EIERx2vnKbxbSSFTneXsyOANFFxF26Uo/u/TkxbHEltJt0wbZl3LXw+OdSK9yEl/PKg6KBiYvb8TitdluRdvBw4rZXRCsSvO0ai631Nq3e3VCU4Aysz3CKLs7cLuqemK9ya/YCA3cLq37AkLbrqF6Md0lEiTxLSrkqbjguxPahrzJbjSt9q72i7D0xr3PQAxswOKrU9hSmG2beYfkOmRh1bVRb2AnRkmRuOosRm3kh38x0fyAKnTw0P4+mGa+g29WgmQkIgJdnokbM3lSLFYODPq7++cySe7ka91bOuMKO6XRY58eyz+qdtKLLM/e5ieXqBPe2TP420BwWYOvWl6BH/+os37jc+XlFm/Mh1bSge/HOEpm2roqe7D8wuZ462o1IGv90jxL6wBLNu8zv0OhJZj/mf5IMH4PTVKOeo1cSTG7Vpyn92I0SoALeZ8lw0wrc3YTW2qmlEgbG2dlZ42eAIdBCraRBIdhTH3x46gyw/+j5YDpB1VJ4qf5MSiE1lVZSHonGqrau8j8kMX3BKUj4t8S2oAuEeVi1x2R3GoI10RgARsIbin3yYYjvdlqZGa1F/PU077/E+ERet0x4EfR5CaKEvAD2OXT2MQ5MdAXIwfe/0VUXiGi9yhLdWIHSJ1J34rDpsXZZ/HJfKmOssHsZlb0EsMol3XUCHRiso0QxPaFh+R6ettjNL+bdT7O52s04gn4UchqNPl+tw3AthxcrGyM2y8Q+1k4n+/mT/z6lrzrIsvMvkfBd/Jvc3Z8HFtJZwCyZBGLdc0j1gsb7PSBnwfp0e/Xiyg1ULzMJK+8wlCMiZc15LAiGbBGoIP9EH+wCRnCA59CiKO1prtluVDqmosod4GQhe0iM7T7tQ4SUS+4FjGVhcUCvZ7lIiwj8kgOq3hAZnhYus+00MEnFfFd4cQJWCYQDyo6VXCNZM56ffsQZvktFdxPz2RpKoYARBMmC/dObYEapDwffjMLqhMWAgxiXggyWDi9kuea2y3+rEG3L9vDXnSQ3LrjishaeiTniZMxk7Vyj7bI3VmVW12JPaWStEt/sLrhmt7wx7p0qgLOlEMb8By8ezhhoT738IN8wvuodvy8XHpzFHndJ0RzHg8knV9Jx8EGHVWij1WQe/mj3vHXDFf+tm6wrKz2C/h5aIRNKqIwF7NIahQTB4DnBEP78hzTrs6gP2wnASEaEv5KLf58DMaVnf0sMsgyXFls82gwxueTALglSnCpvfEGhyyQ/Exy+rzgzooNYRhg549AnkFDX2Q03gDCbxAC9fFjCKs7Nk7rnhg1ZRz7M2d2HIw/GgKG2r9dN+KVNuFCdUTJD0gIsOlW5n05ApiT0ROWmI/5AFc/EhQcgE+D8r+bkILvqEOOLYCEuI3ubTp0DUPfEdyn4vC0SSPE7Jwv2UbC58Ht+yrAATuj2lQWqBXcBPhAX5tJiCwVuYUpFq7nNJSOmMSrSIMh2MfkJ5AxRuMg8/Po6logErPvFziixatl658NNlW6ALqUl7Mwq0st1ZZN6et7qmzeHB35OPNAutHwqwhQSYS0dOvJo4j0YQsMAjFQvZ6vTg0VWSzIYw0YXgS+RuCqMBXo1pkKMi+B5JhxA1QoEP8QK+2sOukXn3R+Rmy/Qa1HPs+aXJUS/0XzGIugaDLJTtTnQ9dkSl1mQBq4HnbfIa9zkPSDScLgadq7EhAj1N4G2kRkwNHJxwDVtRT1JCRqbaRxVYFQ03znjFVqDWoX7LSUGY97yBjhkFNMynKO6qtMNHhWO6/2qaT6Bkrck2UrAAXGh0OatICv9UR4nn6oQajzet+vHjrZLBXnvieildZ/savwlbs8yVD830deWDZdRKD17Sj9f32q682cXGPnZIf6MrkcJ72O98CZ1dUVOCfiyCLtB/4ykGG4IDjd4aEwXnYhRZgbA+2urZhWEHrG54uxEET+Fbgul5ngXVqJ7v6Bp+yXcvrYfX72sCmMXyOhIa8s//5zsPcWdT6Aka2duiEHBqoQDU8HHeqGlRuC9OPdpoKc/Rp2Xecp6MqSMIwVD7+4M/I6jVysrg5M2LyhQKDC+DXbeNgpnVBYFBFbaRGVGoYvqPa0/64T9gpOBQhiWnZ0OEs2CxucZl7ZCtK9wlQINuSUJ994/gMAvLtzn3it9MaiTVPKvoy5t2Z5LZIaV09h1+zEhwekR8A0GlMtA7jxMc3sRT6RAhAsNq19kHlS14Rmh6xqaHK0/GtqaBwWvEf6/iq8B7coS4R9wk5joq6yZUJfyELtgmy0OtctKC/DPvHE+tbiVePTVvMMZ7zrz3TZtumeua3gd/dcbHuYQNyhsmq2XJh3trqJXUyd+hYVC7SBiEsMv/ppV4gvyuVETNR0+Soo9BKWIcqz24th2P14UHmGwcirxm02sEuSqe3M2npQJelQgdO/sj9ButYKkDxJGmAyWXMTH8ZK6D6OTJjxmAtiaW59T0IJt5MH4Iph1R40w9WoUzdmgXP0JsmQkcXVB3mv6kL/7DeymU7KFWYin3vu3b3QjrdmWrmz1/KhngWsuYeib31hobb3CQM09qaHdOmimn3L7kJlnuUB70RxUQVU8EmlOeVpUcMUl6yLO01oF9Xr4cMQ+eZjzcNIfuK9kfV++G85HgZMdnHeOIm8CP3hYUuAE+hZ0O/7LGDDrtsXNs/2nm3Puuq9hwFZw36LUk1vi6DibZI6mt7gmco6x3FQmrTGwFK6cBY46aQitrbntQC6FDGxY+Pjd2RGpjNE1yxUjBQZULlp/Xs4NZRclNUj/9L8MORbopUVSq/VG+uYNYvmu9qH18bSMw58zP5Hm1R8Nf6iRFYfgNUNLkFA7QjohY5APkmJgpFXZKiy16L8eWivCarCAbAOkGPToQhrBF2rr1xhnL/28RW3FdmvZtPNq0VHb37nq4g8tPdGwtKDYKlLc+rSS936ZkJtinNea/pyRSjLDAEu7MyfFrF3ABSJMooFp7I9Lcx7CgL7CpoG97iiTFUu96/Vh7U8dxTj2gM1VLb0bgVqH3T8hwvKdR1Ku8cjmCcnrR9u206hkKdOn/C/NbshKPxpt5AYC6wm1bIM3WOsCfTj8JRdU7XvkbYnwDSCS4hfbqu2NorQP0M/cQHGTzrpGt27fm+wTyElVCIY4Wgfa1VtcDy7IX01AnDZLwFMMVxyy4XeMBopl2TR+0kHoVtlf1YLhhDCi5WDOqjpUZ8Kk0DMJUcqhZqNgh2vSiOl9pGvYbGXgOQ5pYlC22b9tSWg2boNP+pXgyC6yH4t4tQzrr8YvwPmHcmN4wU6Xkoqk4uuMtRzZs8IOb539qLI/YvmQlGUXCrTibh5RhKUW9cbSqsZp7CEb7nUcqUzTIWyvVxHHo8grezSqKa92zMljj/Ivi1eozB8dnaJrlp1ofmhVfdl6ZLZhmy6LPFtGa/eOaSLARlhxhihS5YHsCBwxpaH0gp8NBaL1vdnpHN+61QFVAYpX94ykJNJgb1JAIG83MOX0aVdexa2uxp6RYDe3v9BSmeAnae8OQLRyyj271H3IEzGnohbbHn9eqqDnBYM9V/EYSKDqjFcYVnzebvDUAJxQdJmmXH1HNu1xz02ncGUBSuc0+Z3bsJrByaSR74KvMNPsYCQARqY8nAEEI/HAWfoIqvtnxVN0dyqpaTy1AHx//ufgVg1NvjWK8psO6nM6Ds8Dst8x9jsyK5lqtWxxsP1Rotsr85M5dZ+kahESkLgOOu9ARUOG/mIOzXDugU3AVSuj7HvYd5pRP9LdV+Ia457b7rMskdJ6nvueugOwHJV+bJStvMrnzztGW7qWiKfBYrtslV6FHeD50GowRdBP2c8/3bGM+f+9tLDUcla1HQJte++fkivZzSm1p598ZHsiYfFTl8Deq/YrshVDfutQr18oBn9zUHXOATr2y2ADDtiNhwXRBSfGocNBFcA+2G/yv5EFUlqMtysEs25Ie3bWAL+p/GJzR5V+VgN1L3/8Wsvp5BZ1o37Z/S3PQ+fsfl4RA1SG9Ep1yRTDsNfXV7gCjFEPD4SkmsHyCkdA8IsaMtWObiU4+CRwYshufGDhFZbqxNI4PIaqDMdifEP8lZNhi0tnUhMg4jz2D99lBxYyG4ByGVX8A7aY0zrzltUjBeZQStB4KATZ2RorUq5K6ycidWNDZi2u1IoeLRFwYbcOx+KlSoN4XRi+blwQGLFIFHOcrEmCzdXCFEmt+IfaFFXLZuwEkRkb4wTrF3TTZs8aWGvBRdbYGM3Uf9gQMIyT0JRQsProTIR33lpFHaYmammYphrPX+daadCg3nfTJfcZXs974Gb3e5mWkaaRMqzz13Uecoon2LSAIE0TGJDwMCfwpYpD9+SWJAdD91kVchTsWt1GW/2V1x2B02dEZkD+Jt06FTdKPKJCH7g1pxSBae+chagwWk2V61hzc0gW3kCACxcrCKN1RX3yuwwMIOhLq4dRGRJM3yUe9oei5lJtJRItCKHVmRQg9vKUtUcnqnUgQiQrexg17/SUHZ/Y9Obd9guigkq1O39bDAG57c075uoivegzxB8azwP4o+LF4WM1bC67UGvY7vJMAK6bZcZluiXzfZ9gsDhjGXOGtNKgCN6jxY0mWJyXBXeaOrclaiMItehRm6ieV5vqCKWnmVXUqjX40imJJstkvGoc+8zYQj09zjLmSE5BkjX+C3Y/ch+JopSHP2kS5MPU/xSsXvT3xOHJ1II85rNGkt6Rh8KNAaaV/CqdjAoYXNcbIoImk0NLLy4/RqYg9UWzBvwChgjdK7OnxPXTN8Vp7yiZ1qPqiA2U4lTDTLYa2JNIF0HdFf/cjaKDvpuZto71fB6ucU2DceYv0xutcSUsyd4P29cg5yIuEtdF8HRi7PwtFgY1qkax89rXB+IsoFhvCkSyy5Rp5n3PdzdP2GPaIjjltqhlu2Q8I2LyEzRVAylnBmzLqtTyjjZ995cHSLsvbG49jYF/ol1VFwe7vmIPwpj0R8C3mavlnCqLjTao5UYeYFf/JkwnKRpAW4OlBYdADAQCBvP3FjZjMF6VzDcAW99LplKZGHBJr7VM1KPDrjbrAhRbVycnj7afeIYQ7YYBt7IZHrmN4YM+uMMI8XBpER7madTuQ2FMGiBQCMaCgckWTuUduVJ4MVWEnGY7QzKeCQ/KjjGZXdUE7iTooY1lnVm+Nhw0LCl5hZ4hWC13lVr8KDu2xGTEJXP9d7kR9NLW1rXu31HVdwH3cehVDayNYeJAitCXElqlpc540XV1IO1qqdro3klKRwBu6YzU1xLzzSraKgwTqoNt1SraLi++dgcg0ZzSuDUtXkr2cz8YB8cHp0Mdzdlwmplpn6Ss2RoGU4Bld+nfBEGIf/D5lxksGkH9nDJsc3P8ViPsSzwgt+uoSHDsmAW2oMJ+FjCbxXeBAcaRIXtYAomwlyJBxjy3MPR9fiZoAiuQZ9a7XkvpdJzoIrzOIH1w7g4+Y2tICS4xmtBacMvwsQxMEPXQp8LQEGsAYTATBiIOdv9TgML2rveAfztbkySV5Pn+WRlFgU7daLXjL4yiPMweXgHd73ckD4H57gJ//zLkRz4s4fN6YRGvPvyBpkta2nok/Uu3Ej6Y2YXvEWTlHXeVc6cJOeJfTRfGdfcXkfc6/DbZu/Ggy/0u56Ap5jqrk2+H4MiO1PJFam1I/5FwhMxjl/zkMXhFzyN+hfJIzoSXpaAp/qKTPErvo1lrYu0FZhecx2vyz7jggim0A/pDG7VchbF4+VT8KW6UfjdaYwOn3AKb3hezlRPzY+pcS5tseVljLs/IM/fAlCsc8Mqq4w+wPneuCdyF/I9sgIIbkPplUHrLnWwDdzlpOrjn7lzRt94eQoUgQt0TjsW7wJP3sl6AGtZXwzCP80sm8xEIq4eLN7asm0mxNAcsfBaK/sOVP6g4W8BtFvoDpBA/t9Trln01YP4ARcRAbcm3eYevxoq6rPtB+Iw/QWBITzZTb6PU29w4/zc5zrEhf0aPg7rbXvKRC0L/jpTjD1vPrk7PIJeY81PQfqd6Bq0IeGCdkCbCWJMCAY9BrHNJZlCPn31ssd0f41e/hF983pIoMuJjOZ1BLOVBz+IfmchifjAF5h4asBTACJi71N9hyNnI0P2MorLbTjioPjBpjTY2M6zVnmEX50YfFGZGtbf2PB4hUgFj+LOJfCZOCON9yqESxbzd6IMIuIHasInqC2mH6RTXrxU5FzUY9MDaJQwiyNiJ8C7VE97sW32wdte3xsnBYIgXZW6Kz5VPktb1NSatUM81JWuWF5/dYO5bwJqh1duaqew+2DuIc8Ozpj/RkJWCGF/QgcakCILc1S9mo2/RdCIrK5rf5X3CTVgvBY6ZDTn1nx5SpouJ9YIxSJCmeUYH2pR2z8/StHctUkj6LPuVkJRZ2akHpkFUUtFIDY9TYpGA4uYWe6QsAXHBZhaP+N1bWrDmaH+0jt8KbXavzdxGzyj/vEgaMvGZo3/L0xDESq6n6/2XOKtD8T/8d4N6o14YTGyS2+VNgQjJMPHx4mLYjJYc4icl/O+dypcpG2I3DsuXYSCdTs2AofNc9JcdUECAe0BREpF/OW+Jp4jCLcxABrg7WHZs6D03yMMNBot7kx2uURDLEnrlu3IDroUoJh459n4HAfOooAkRMQ7xFF8E3M3s0iP8U9cHznpNG2FZMOMghU8JdM6WlFQ/24XR8Gn8ZHZjy79iZri/pM6vs9rVcIzb2eZjIPGkzUpSXjP056m168iVWrL3FJ208ugwjmeArtzFEv3M/kTDxsRyTpy2tTeyLu774q+2CVDC4RlOJgzPUDu/J9zlOzqlrGnS8m9beIJP09LqRLa0cPMW7m+YE2xZF7xnLUJkiuHcH47D4w3j4r4blPPMsdoZcGeWuW4uBedqT3xfPAsB3oUE2jyhvj9N6C/nIDwO482RLOxtl5xXDTfNdbQ4LL96uNnuFxXKNEHHDlqTzpZKQJDUCkg/iBPkW1AGWVW07HJqbu4ntJ3uhFX2kQ0SkRtot22tkojk22az7YV7y0ViBje3BqGwgqb/5fWTf3ra568f7gZ/BoaSnCISkiGXqL602CW/U3qOQH85VsfPgVQokFtKr20p/XbmUrd8e8Q4eEK6MofAyPhhid4YVqFxMDVkILHt8ioB3aRhIaLcuR5DChHtKQnnrR3arPPLdQZTEBGQRsN6eCjXinOol3a0FJLR0MSw7jqaBCqcNpG/HOQUDo30QkJ7gjlrdk+T6aYV9rgx7QCWTyGI46TAQ1WJQhR6a4Jcqd6B4QWFOLkAaElYFDl6FyLd186mjytYXcxMpJQ5IlFlrib2aLdbDqnxdniag7AW67yVqyMfkUCI+wU6VLoF74e80x37Biet2SZhR/HYmyJ6KeO0PJMCSCmIapf8nIjlqw2TkV7kekWISAfCJRGAIO+tN3WQByPz0SunpwSaiWZTddmGWSaYawqp+uVh1k+L7juAGJlqQNgvuWmuue9mBiI4zmu9z1ql3Oz04fmnbvy/+Va06+L4I5S0WNGQ7zpx5F9RuPfi1F7TfP5bjNSZpSXX5cyduMCbdr4892LVeHtxFO2dioxViykYE6BqKIaTehpEsQGyAS2IZyJbbX+KB4bOcBskKlluisXfwzd2WqsgxazPGPTEaaWxoRla6cZrN0cflPKnL4mKU8/l3/z/xC40EHONLlp1IQuEB42xK8CkF3aAnuIiIwZr0CyKU8sg1cG1rNwJqGuMEo26TLj8mZYabWk8Wj0IxqIPUH5iKRoS9byvgt1i5X8Cclh39UQxArFqe0wgjSzOiyVjQqEWWjsfRtIwrjKL7YbetZj9axnXPkz3DeqTaIJ6zhXM7Svcif5T0zOFzYcMwBh9BGkMsXlkY1JyD2D+s1ODUVIrBe/UDtf9GPNVUypjdNqNeCzaGMIh5o7P8EKeRWUhPbv1T0g76au5bFE/eV4JhY8JlUAmC1zig+/Fpkg49Ef+peaMRpdgGESh9kppe7rF5/msJb8CHM1UOOryZk5iQwAhsxfxFL9nK1Cecgdyi8xjC4ja7Do/DR+RCpxnW1Hs2WQiPT8XeuAcn7RcDK/+q0vY1AJ07CtA8kykbg5AcpxAnCszY1c8IFWyzri8Y+xyHLl/CFUw81c3Jhxtv7+kS14QnfKyN3DyLWPJRHiznf/j0XUoZNgz5meWCPbLdS1yWQXGgFdQ4geVzd9WNeRFxDElqw6JP2CGivZkkyvFU9IkwqTwZKCiDBD9azeMEd6XOZZuCBIJumJfEWbz+2QQYMaFENbjKG6fSxsKFWBh80QxqiJolT/Dadt7albOIgFuyh8Xv0PIcqOpuq1nLkTey8f/lujEJrkQYe0LcHHK3Y48/6NCRTsruHNnX07xjtrLihgw4tyCxAm4HapdDyZcJEVUQrzBpMWmHMNC4JpRHBgfNfVeqAzSMahB7jLU1BGW5qu67dpsx7XE0G0vBVkVsXxLqKYCFyUWyGgX65BVLYz7DwdWm1xnAY6fV572+SFjBkrSCsZkHku6ON7NzOk4ide4OERvbgMNuMG3nKu1t+UH+asjKIoSj4h7U5N5CJ+iMFKNlsDz/MDd85hrugLb9gA1UZhnw0TbrAF7dNGoSE9ewmsEaZV1bQKWsyPPFiDbU70Ac4W2f5bNaQKDn1iFjIxCuSS3zE5xeVvoMVlSJGdMzqbCxg8fFI6aO+Pr5e4tRiBobGblzlDta6IdPWS6jl6jCABwNkgIo09BEH8PdFTdyi5iSJvr107rRZ70xjmBBEebQ57uUPXP4FgIQ3OUUry+VgjB4DoLdcyfZyKWEfIT5mLmDr3Jnv1r2M/fdG/kiMzCuncMGY43w4FdD/Dm4gJvBiCKyebq4qoECUx2cQXqNC8qCz86S2a9q795MOAXRRv8P1ViY7sMGAs3DbARB+NzhjrBGwcP6kgY/Yh1kVME1FFmSz7oT8rV4MIb6XLXs6Ci8Vm6wO4DyGMpqzlGBCgZG2l98NtpWBmLyf2Sy/UC2rDeUAf/bRcEyquBYAWnRhWVVKlgWrrttse84CGrKi7JqWpf8H5sHrLs7rwPS3y/o4bi4IthTKVuqjg0m0PK4Dt0MBEQjmDdKgm98fsIaX4faNaI87cicE8nJ8Rm1O3E6RBGJydi8U6iYXeKta2JyQhFMdjXIw/7bMR2pdpxR2Vq1G5P0+uq99nWAmqzkG9mxpcX0Q5hDlXooBi34rMcTX23/LasjvpK7/FwUF9a4D+O9EjTUmNopHj837tzzS1Qu2azObMLKEyh/b+4+l1aDX1Bd5dAefCuXsYkW77E0tWqJCj35+T4EyYfR8CchaaAYbXF2/bXAlPzSU2t/A0juFle0m3lEnAE+f+2x2pdOtJGtXL0t+v9QOYEjlIZ+XSVAvK1dX9hFbk8BtVj1q/zZtcFX3BbbwPmUj1RJUzzru/jJDER1MUQTD4QFDp1XLqYj+8rB+4sj7EMbuKTNiZXSuesIqMKMJFlT0l4m5xSWmfWqBPHuQT5QRXRjOxPSL1nUCt0ACcPceJ70z89MwWVSEePK0U7WlQv0mlW25PTAz4LMcbew6xY1Vueto/KOEK2ukMmYs2olRNDvVqpfo0/56uC6cB5yx2o1n/u3us0+Ow38/9hi/ReqO7XOzmRvWIcu3RS0emN1KULuZz4khfhNQzkVZu2/hiXvD50ZrnhKJTLPFhFTpt+rvRn67CAW7btOhmHgllu97XuuTKkcjLyVNZvLj3QTBp8XnTSPfNQvHuA+jn35Bo1Pe40UKMhYGhj1veKHplJ7j1BfIL6xkJH2ZfV7AoigE3zpNps1M3QgJ4GX0+hCJFmISiMZILIwCGv+oJrnjkgVGyYu1QcrwVXA7mfhEOmjmgnfxavedjNbHibSs6bpY96Xn8uoIfdjbept4lLfPwXzB5XSLY9iRINdz5W0C+fnktOOIvPfu9opDlQpxe7dHAxJLou1DHNYINYcrivwF+3aYF+/n2MLnnzNBjahsCDv4FXaflJM12n25rbFbcbLp4knQ12NJjYZD/wJwpFvujga1BUYcQdX9WT4cMDhyhrE7Zevu3zyn60VM3nCDWD7owOxlQHkPJvXZxCKy1vapXxrr9voWgMeR5AHqNSpZLuNF00oLpfOzMZd3jgnoXVfUGpDsUgC6NXmvm5AaQ+Dq/24nqVWrsKZ1J1ew+ikEiNyZYBQkEt9h8nf3J3NnMz7PTGz9mcg45OP/B9zEy0ZrTXYlZQXs3ohGPhq4nPgxtrtTz7uHyWPHh420Z4zISyV/COQtsnlcly1CRcleM1d8AG8DbjFgiiQtyT3qXqVqmpPcFqaWYSxE1KptA43yyUPKvHY66seMfHAv+XtXkytxbiwgii+E7uUImuELEIDDXDbFXlWMbf5hhZzzf229BilU3goVVpTQb1n0LkXcLf4zq8ebDMnbOazxN7HMvSdV6oRbMTQuCvRIrRB6iDzjre/S5LpLb90e+QvqZJICbqfpswfOHQAlqtX61SxcT0RdD3+qD6UuajeQ0YjlV0e/NdXqPp2cKRxJP2LqlcSwA3OLnAdBG33BkiqZ6pMnbOUPOAJvIPhc0uyJrXui5Rgu3oYtM2Q2ztMD4n76a0umYeG8XCqwFqRu/cR8Ldja4JeOlPhEk23yy3xp2kYrGTNU/uu21OfPV8btWtWn9rxlMHmEQkt1Foz64wP6UHhaIdZatj+5JWTj2QcEo2hF0PI8WdDe4/v+WiHyQEV5CeBRQBuAXnHN9SK2/uwV0ZmEF0b6kphWN3ncogC0VSaJn8u774etVVe4OJ52aKb+oRwDrw/BBCEcEFXPIlhGbu4KU0Fx89KBTS9+TJjBrWA+5xBea4oFm7zvNuDwnZWXbn3OjnkW8TUWOgU1LF68cXuHPFBg8kG1TwoJe/U7nhSRGOPZX/NG1+142FKGu/Ngn/Oxtv6Cx/2elTxxqE8/lTE5iifeRq9setQB0SBvnxCBD1cA+D+J4Qxw1qq0uta4TCBwb1FjXa2nrRi5t9R3d8f3t15HpEoZPZCnqSsYwjwlAB+EsFT5P7bLaWTWaKyDtl463pv3FPBt+7KBUh51lSw8lMb1YMjbV72cyt0n+1Zpy4nk3X4hgIAuaJCEHpz3OukpsKvx24H5LJsiH+wSBhIaNNVa6uNYHpoaPfVv46CdtTfPx+yanbGCNznsifk5RHn85Ud6w2orSeTsgUnown0GT5LosKRLeHzo27bn7d1xiigUlw1x0N57h99cxHb6HfEoaa4GkOvjvdvTnCXIvgCQzD2lyeqLuCZaEAk6xb5vRwwZ4txNsKj0DEjKCSueyrtN3Z6wyeC2ibyp3czOxGg8YZz3FJEuu2qmNqp2Lf9evziuhKG3onbb/NJYd/StyZfSC6TOw3wHBL4e6er+MFsyIE8LsBE275R4pwg991veSI+OUJDJFhY7+/KKWlW2Ll6frChjdxszA6ceKbRi4fNYhBdoXVq2Ek17yW5v/Insceee9zK1jyF4YBXi/STSL34YmUfnPUk51iM1hC2TqnhTgkTqJF8C1dXsPfZFbJ7g5XJrKYqGQjWDuWx6j12CNiS+EwxVrrdK9k2Rp8L3U4j8Pr5ijMCroXk7+9L9CyGBLaSoO0jYPNxx5P5sJVF+XeeEm4r9LhG3DG40tYFaa5eA8/0P5QgsgqZNZFUn/nZtyhXrT6ImFLkRcgr1NrUium6WDiFbw1tyX1b0hgpicbswlDCEyJiGywd0dsfK9TWz5WEemWaFAWLd7vkPyv8ifp3vqGBXT1ABSOlUp5KVyE3xfgUiTOxFaGErfmcyJV/NcdBPaTdiQt3TH1cU3IaUBQa+2N++TAx+njM35V0ykpdrVut7+jfNevNvkwpzjzMmCJZcsoRk/Pd+GLVSrnSgIvzSqkZ5kypvxLi5y0pPPz9vEdu7778Ei/RvzR3KyiBDOmXzN7V4p/GtC7P5fPgoqScX30g2X9eY3Baiw9KeUutITlCterYF9O5i2VMfzhAmz0hWCXbH/VnlazjKr78HdGlVGVrgjcc3AsOIEE6/Etzn4fQFij7lJiXmLtRmxId/4BQ5WIHV9juoPJiYjJvjWBaGO+1cOOw3qIUsaKYi9GQ6LsOcTd6qm62jJg3v5PyywyZyzGR6OuMY3Ip7YXLVbK6eybVaQvfLldP/ct0+M2FAeTa4qNpkbz+5/UdKo6bBtxmkWZeoGCcM65ZvAj9Jfk1xCGpLI4VA6kXPFduaZQteHtf6/nCFBe5YCHZShcwHWIUG2gkWWSjFm/5J6Gt18xdVoL0oviJ5ozvVeCJJpNGSvWPUJEfrxBpFW1vuAWtFhx+zc3IKduCsi8b9Ut6M8iMTOqlpxMg22NgREIgIJr5NJpo4mlIj4wG2LrTgv5Rxb0lfLmD3tVFYDS7Nv0H9ahMByXNa0xsIeolktpLHY5T3OS84aP1gMBdIL1lh8miH9XhLYQ26bdyqVi47auPaEOfphzYTzq4lsOfjmxG933XcVqb9appzPXy3pYfgIYLUQmsJ4xhQCwAS3ViLAuAjKMyZU5w3WYq7H/Z1zR+CU13cxvCSMioS/+Cs5MEfexqDYHfYMcqjmQeVTQKyq3JEGr5fpYGsQVA9QOYvcgkDjtUM+cNXlyWJ3WvV/9IoBTRt+31L1fAZoGvZ8HHHi+a1ry725aiV/WGsfu/i5vjYoCuPoABWUukzsFyYAp/7V36azo5KOfdo7iqT1vpoP0w8KDdICLN+rRtyccAPyrHYHrN+OxvVP1a4P6vfjqDx9iew5qf3iyRnek/FJiSR5prvuFUp1KOBa1SRgCuxLw2WVHT4E7ffYEhdw8UOj2csOAHH3No3T8SshyWwJBHOUgaVViq0y8y/JnOJMpEOUR50O1pZFTdjtfZ2FexWrt4fNZ/1U29NqqALeF8V6wuzPeM5lQhenBCqL82mhTWbKdOy2BA8x+TI6OErBr6ONfmtfiBGrYvHu02bNbUVuknfIi1Tu/7ZD5Cin3uJklXLnstJeW14YNX5uNOVLbcHMdZIhvvzpHl4wKN19uTWbTl9ghcPWaYhlzh8lxmCsWlLqn67JaaXMxVBwhoAAb04dCwEyIUDdTPY6WKvG65wSWhi8UCa6IzbaPABQ71GENgjOP12j6rwmcbEdRbLfxWZg/BK3CJU7yCVlX02uoeAuZSyIWiSM7WPqsvSpkH/k4Bg4ZDu8UMMWbwameA8kG5IhDyy3o79minqdDRaBmG8FpyOz1HTlGSV92TKnn7NVA4kNl5U85SnBFvQOFS+wsW/upiIRmeY/ePDcelyI1Wqh72hP8FyPM+SezlSeFV+gcsil0fxwGqJUhT7xYW5TNhNIcXkLQuTwRs/YpEPrkP7DgKcav+Jw1vRV9q6kgtQ80tvaNzCtsVguHDgjsflWyRPzRaBzIgWGr8YCgouiVWm/QhcyxzTWG4A1PP3NvNpqkYd82GRFgC6gULO5hvgG/owQErOfdZNjRPXjqZB9uQF1REeiwyLK3GvA3b4o2gyyIF8HuVUm3vA4NkEokHipxUEl9kiq4kCNL40uLLTbDO08cF2lYo9t6hhR3t6Yrdt9ayKVvyzYFy3qfW0NOhf+yipOw5kJU/CqKYkeFWTK4k5o1MXhgPRzmu3rgr4CQnmX8Qoizho6S+ZiIjXzTl/BixHc2nglScIWASiJvNdXvw7bl1Jj0XJKmTi4v+WbYriMKFk20oDJdjFFXZ4R7joDsiXgxZK5RKbh6LX1fBKlRorw1zCbvA7XUEHNpkF1reZl7TEAZuYCN7OqVZ5/mgSIPLWhKk2HJ4WfkbLYCDbyiaPLV90GPMX3OwA4vymXUE7fHNZM8ttlkDKCNymUhAEJm6rzZKQlltdfsbwyfzr0yRinpRJTU2EAUZ+nXWX4Q/bg6MmaUvFh8Q5xMS4U3+JHZXnGHgKJhlnoJ0KYoUFuLpDTQsxMOXzK1XXjaZWjLRAMtT0JbOp3nmFQrahmGG75DGI54JIIwyEL4bKpW6+HdQwis/M/O2RjCcscuxGXhv33gfpYDf28f2xlYpLEp8bxicN0f3XPQVvbAIJtPPDHH5Tti9dKzCq4mqcmEJC5/yBCRfqBcTMDN5N5bTT8tw4sdS9Au3BgvpCUr6YD1kE8jsXfKVwx+RJBGwiAisfcFvyXqXXHPmv5GPTi1iW2qvHubEFbeLHbiSUzcfgs3VQowoQ/DFjke5krzKrar1y5QPpKHd8gtp0jxcKgB/246s+w8uiU5OJ6DcoheWWt8SpsTfHVCpKCppwCEgbV77a8idU8nRGovpJg2XeTz+HVbcOQpn05qqsNu8YSIZJdrcnIJJ9HfXz/NmUINN17JKnFo949/kSwIHE/qLLuppy/GN+r4GVGUzkJbEcbykCUifNKU9EjEbWToQcY4WQ0P3J6XxI1G8kiix/PXI4VdG3I6Go7XJrY8IjyX5qeOxFVviS0fcZKjtMMoStnlk2/hvwmZl57tRn8LPk7lu6BqlVySBzx/QnbbH763BvDg5tH6IbeYLNdYhxcG4XryCuF4PfZYomtnonGiTsCkXhK/kAKhtHYjQwbFLkNsINxMJQXyYI5c0tlJ5PsXRvIYfx3wM5SvPgofe0cRLLuioy+sheFVkf6P1BSrgUNNeJX6wf/D1niBVGWVFBI82a0cJWnaEpASTXWcBBnfBHA0tLvfAjzAkpoLnP2ySaByThmbkHKzXv/8UW80NVD795BqSPyrZ+ulRBm1BQ4H1vnshHPANbdTbz+D1/aH5PGV1Nc5ZvfQhdQkzfk1ZlJyyvyj4uhK9atQsN85UHxOczOtOS2LvIiIzL2lLZgT9reNk31ZGB9HPiKtEdaRnQ1ERCrWCTckEt2+kfGYpp/fMf7xbjUqZAB+6/SfAYecSuu393NQC3CzjHHU2uuIG6H92v+MZaod/SFfWL7H7RHwRjH0YCuJWxSBXu0hmqrw82mER6wwUv2nJ+Bz9H9yiEp6i8ieZFIrPnszrSVbiEA/1pkOA2JKYl/0UYLoVNtd1JKBhLnkI8lku2rgakAM1VZfhFdi8fn2PgrjlcEfVo0AJxxhLeKKy6q5MKY6LEGwVb67/oYYV9QgtY9OsLOmivKPF/FCI7i09VwDD/xmudU0y97Xf0hHXhRwxVetZxUzO2Xa2QQBmo3X8/uhZLgvhxGwCjmOIb90eNCcF/GqBRHPu8TClCvqn9AaYTsyOjw0sPLw2Rf9+7843YM+7eKeHjs0fwhB1gBFU9ivVeun02d/VejlH1Rq/cbLB4WuvxTc9A8Eiy0VMdaiVjvPka5kUMexKi8F6IxsVVoWYH1g7+XcwWwYZM09ChyWUTB684LjZr9g72xcJzcVFH5becbTU00Y6WjsR6UnqJY2/MMQkw9WFJ6yOrZqgd7RByIGTb5iXFKoa3raUOLk9dHVn0iZ3+MV8XUUCtuHLT/bv1D6Z5IV1+UChA2z5ae/tJ8mNiYHxLaza6Mh/mVLTeto74IqAzaeDgnVnmb5kdVeJhDiX1tNJZ++AR2v/jpCLiJ8Xd35taVILoq/7y3Kc0GneOdluDu3ShEWt1SMo0hWSiCxOOXJTZ6pljzV/8NcNzbNCBQlu1k3/OaDRaGpv3SMQijX0B8ZgETtUB+1j6r1YdhTc4QOe0K2BDmEMPZxAvfzdEQ5tDhjf9evFUi6WBI/Ypr8f9Unr6xD+arKOf5JQq8I++havoIRoFIuULOTR24bP25nvGx7A3VtMpc3gBaU41MbykGvgJAttVYJw8GeJTWoEZnvtgURxszq3lPYDlmKwFOkbFbiZYk6Gpq8HYY6CiBkpl3xSPqJfGQijz8KtFcK5miW3LAxkm6GbOieBfvlkX+5+e5mYsBUjgZ13WyRF0YCgiYTwxOnbsmsxBaWUsEiGzuyMGNZBV7ztbqBXqzWZASfJ4Tw8CTF2i7uo7i9rsZvASgvryCNVyDhkmskc+Tn9ZJUOzJHjp9saXkdvy0lg68LdOx50xFXFBlYzWhX2FJyoalap0uUHJqLXHMGZ7zgRBDRGH9tpc1paAnqlTo0rPxTDeEJKV6K7tWOte7C8jK/NrTx43+d9p/SqmZWaGLZjie65KQpKSbQGRUn6Zbr+AWbxGu+EqRtAejGhA76Ihf2E1U3ZioXGP+AKHc68RoEeRjWWN5aEtK/Myw6L+j5ZkdQRw/c3PJFcmJkUPztvH0HrPc7fcpFrPc9OXtqeNI9J+HV/gO1W+QDaKkzm5lS1wWBHehutf0Q8ccqq1reHlPNcLKwS3Ko7RzP7NTku74y7UaJLdx8slCNi/3ejFcOiyxKH0OShoV7L2JkJooXjF5KnsTflMiJrFCSJpKulpLR9Q8idzQ1eMbjETKEpkDgWDfEyjJn2XXS2SWhqLjnTp1pYO0yjvC/eaQDmkM9SBn/HHXagfoianDaednLtPDvR2zUPrMQNo6IeIynr1SRjwm+PCxP4V9SBkGv1wTuZm3SlwPif3/pxOMv5iilg3kL0jMCqaNUlHDSlil5eE2UmkKs6E6Knlyz0nmXccZPb9yBzYCvdjD1D1wHiSEmGop1rqsZwTp+s7Kc+4f5ydWkgOJyjJxg+N9RggFeqlISqlaUbV4y9VFe7NP4RTkDjk5ez4HLpf2KNQlNiQZ2d8+NaXEacOfyfU3wqtH0JBhd1fKN+FJMcVkZ8P05hiuZi9yTl8bv6M/u03dlqrqdmO1ux5IasfqnrxXSjtG4u8tC0i9g9PpsLdRXZ3V8BpQnY+3L7wohmnHNPvHPPrT+cXhZKkubQ+sYgV2+Sg+y3yMWHEQxXI5V8YuXkn6M4u9q7BrA6VqHGwBTThtCrSFiwZO/IcEXq2S2+JZRFR3gTSuoTO6Bni0y6katcSHjUcdQx1rHwUalrgwFIUVdgTNNpgBAWDBsZEPjnzizHqcJq5iLlCem+94RxHwdq4eGO4XlxkGzBQOR5heDwSxOi9a4wVWo+zWLBawha8dTAU6x3WTx1ZWikwu3pzJ0VqLh3CVjWcoKnQFMrMzf67aX8GF3l8H17gL9has4E799qPkTHQ3vp/ydAj+ahXa5A89m8WcEjstXcJffWBQQQDBMiPnqomlsnTicRndpbXa5h0caZplvni3A+i5514GwV5ubcjvfwq+nCWYNqtm4wqXnyptugqvXhkwuyjIglb9eAbk5eaI3rYTgjgGLAf6Dy/BnwrGbjIX0H3L0Bb41SvOVLDmV2Ewbxce13s/Wv7wNKsWrN9GKhzb8FuoNavTxbhzz4nA+J9RsyOe2mcebY8NAAOT+fmqHtctIW2liitBQXwGqaKKm9T/PBfSuuObYxAqLx53JOW1pD0b7ZuNi3Eq8zB9XhqwvLs8kvfdU6sZtGUWoDmkjPngGyJuNUnpPpz8w/zaHNCT+zoB9ZtMqiX3VHOkUW7ydaz53AVjCLKAbmOmY3oOGQhPLoo0GyqXX2TzcHDXIVzDqZPR6XE64xytG3aqqCWfFbZoBcKWikZRQk1Is4PjOzCXkpDcf/XFs0WvTBrZ6mkQV/AmHVOO4Ww+0jURQZOPeOyTWb5UqLOXYF2eTlhBNexbIDspMRyoWV6NJoQTkG+JPtyP9jjDW6AbWVrdA/1ZFeWtJt8nTZxIsNO40EPfns2glWkwPeNfnthv4sa+3b3bLzFWfyyAqPklnHVM0Wi8FmvIVLLEJj07XiH/6LcrjOkWg8v+b1N0LQROayzN8xiESsZhBhiKb1yTCT4uRu4C0hYShqsE6Z6DKk+Ood/ufRxoTEqpwUmNPJPAx9E43nIfboRaa/XdUgw71O3xuMGjrAJuKBJnamleIiIEqV1Hjp7w595xZX/PdSs6m42GRmw+BtOkH0NeyngKqTfSI1JgyvI0MDA8DYr4gIUPbO0P+0z9l/E7jrmHEWx+gPbUQmr33S8zRGk2H2KD587JXRt3GO8wl9pVwv2ZLw3HuBFTnNAqyDNg4YDb9cBRoOUOm58yLJpHy++XaDO4EcsWphD38gzqSn5bDbOiNnutcIm7mwCca38yzeTEau1aESjwnLK8tYngdj4p6mzf9mG9F1oSBRr367ITkXcdJSr2oA4u7dCbS0lZTuVNn+IqP4Gkfzo+Uvh6u3jPiwdV5oq4tMH1pAt5fCU6z9x/gRZWmSWB/lpOMDiRgzhlSNuVJGGtGnQ4sJ8oi42jzzqWzLSRuxIzaMgKybE23+j2hVtDbifinzfp7TngjxL3UW6ICekn8wgCc09tRjKy29sScdeJh5d4wosEXZI79qhI7EZmI0emcvRThdRsODqkMa4YzTYMJ0mWlhY72uA7aYMdFp8urrwgdGe2h0RVgVeClsqXqXEpv+biPRrFmS1+SlLvScEacXPyJhqTj8OYp1B/1coFqViPT6lwx9vGKqirwmOnfPu1YVUpH1QZYz1Sy4OHiHhKo66yUYYGCN19LQugSjX0F/scpnaQQ0qWtywpMoKWIgtQlQdOf4tiw3tjYizTM9bR+MQk9jEkqdLIwY3kZ2ib7g3uSTGSDSweq9OqcQn4Ln5s8OtmEEjuzHNjjJrP4ApFtI7HUmsnlGHcmaMRwqZk/fFghZ+27XwQzF8lNAy7YFqvkKtBa0ZJ3vqc4s2pWwiINK0wZgO4GAqsqYw+CZpdwZ5N3FJDFDucfJzf6uaOzU+LJAfmfbQB1DHcE5qsajL85pC6PVvFLAJ8ksLtt0oA94xdOZ/fbd53htAJd878jDAnlq5++NCfBSgdeVoylE3J3/qBgYsEHR9RunrebHxoCLEsndslDxuv+Zu62I9BFfn4GC7Fegh5Dm46mwNdXeJnakEqCDZQviq4GuWFaoVyvjdPGIKLl0S0/V4PegkmuLC7epQt2fXrIXSRuSjhgj+yQcrhMzI+ypyQ1/582O6ovVKKkkigGjTIWXdohW98vd38Ht26qH7qXiLWgfWwgKmlHcXpLJfT1gnyyo7CMGasL4KQP2+LPKxjLmj50Tjps7XQ3TSxHjdSJeP13mPacs2FN3Zg9XSHUYmv5vxI2dHrjd7oDXOcMQR5cdcu46ADzLNa9EPZOsz/U9zAlyLi6zGRYCZ1ruSLZ71+k5aQ7TDVqHRK/vsQ4cmouImluNu8EPwox7P6XZAq+USZUv+7jZtwVCovz9iu6FpFQfqkHFTXj26y6n1970u3Lum84pz2iZ6UxTv/jDNM96pjD48FSCDMFWiEiYHwxJjnnY+h/VP5qNYUJzhP3f1xFeX9y3Uvgav5Tap4q880l8xB0lcZ+W3ELd/1CG4lOXH++IM+uFSrzmg5pD8g5XMwZXA6AnpjhurNND1vb8bHdxZDtm/4yL0zXRroUUGxZ2WND3C9LFUsp95GgdvNDo/RjdNdut1dHwt4qCiwRFKzs0St3dcTm9RDWyxN9pEJmDtMcmJ5BOBvinwvFfD9AKv+eqPKA7jRCRnm/7zm2EqmYvB2oWTAQalIOMLMb/iKTWxmeOV3HHznpZbOQb51zdhabIQiiAXmnGEsfH7GgeSJoWJ/tSHqyrWh3SKY/GKir2jcT4V0SRLGVNgmZq3fwYlqnLbGiRSohveYdVkVgCB9IJjBsO28KI+RtMQcmdkLtJGPcxFltwgdAKR6lxdLyPq2LnelR6299FsgdTmB+LCKQQwAhg0D84jXTaF+GE1AbnYo6j61lvs9WEq6JXy9TezKLzau/h25f4V62EfKWlHIE4ad9S8jiTKm/OSypyyZgErUd4w1e5nYe5imnWxhlO99MOGk3FeJNNJ1GDtyJkobACbZ/nwqS4NNyDmAZmkGydC6bUL64Nsbb/7mm7fF4q1TyFsxEBuhuDYsiD9yMaR1xvkGfhgK312fOIT6Odf1qNz6MYzkZXu1xp3rz7cR+p3TO6hGMZ9FxUfKkrCzahR3c/eSILhmqhttSXarXhf6jB5Mil9ZX5ZaV+XnC6WvnT7KeOp03fc6heCDElo7avX3zjjGRLHbw0e3aEo2m5jLUS7HTHs52vPigCoRAQlq4XcnrWmk4KVkHHFbp3s5QD/N8aSkAJapT2cQiB+CNgXpG/DdZATTdJgBluvinyqtIzyD1XAOPndqggduAj+5DI9/jMjZKL6uKW9Nynvx6mBpeDeBf3VMqB8Uv+s2AqrILgAGK53GWGcvI+rE2QwYH/jlkLQS8jd2xGwrGQv3VKzlZgbgHw6035a8wdRLYf+I0qJ4BXzVYTA29D32SnKVyTgOEJqjT6tP69dwy8k2y0GxcdipGy5uaSbB1W8yDqKRrWTazS+ImszTmbbhevnmKqMoWWVYsPeOSyefRc2eTBRjQfFkq1tNprJO1DMwUG6EUqBw5mmcSSk0utfQJtvR9iYMdR7PNT9d3jBCinl/UuFhy9Gc1hxxkSzuZl1yYoDBNfd4ZxuaL460hc5ujeJI0qPBAJqVUqcA0s6gpKyKJlm3IR0qPYXoCZhDzZzfPVvCNBOFS857stIE5ux/VKxSsYI2w+UGLiFDnw3gsVL0NKcENfYDyscVOMR9KMDpP9zHUFjqBQbsPFUU74bH8UZSRwBcqGeHwdZlbgdiOD6Nz6H+9osdoetU4IsEnkCXgsE5k/hctiGF5XjcG7w2yj0i8PGMehHXX4HRxmrbJ4vvkh92mYu5BLe9UsUPpMsBXbMu0B0cHirX2XlRmG1ixTz0zPw7zXC8xtESpc0pV+rwPAi6Us1JSPjiAlkITCZiWYDnKVhUxx5K2e+7F0tMUHbRJDmb+r4ocwgBzgjjZ58Oa5z8DeR7t7RFMUk6PXHE3M+g5jJWp1VLVXsUTzUaSC0DosfYQyE0cG/juzRAmiWPhB7diBJBzPsU1TC33ZMf7p9mov1xKaADS7kddyHEzsmmmddVzdug5cJkd373sQj+QPHwbDn2UKOh7X+RH/Qk9I6ZFUnQtUdO1ZSM1ZG4nH8fxsKoYKKS3qNJ4B0gsisPdHl9dS87cFv4Grd9Gj2bF5pvcuPFTLVA/ugzalxxiDEpwMC3HnDi3bLsUM9+OYTh0dqR/TB0csHs9XPIdJmCodzFKiNX2SxK4Nw5cW1za31NnQTNpf+Zq6cKWUCVMEbPeApq+Rr1buZ4QmIea8FGcEsjsaRK1vzDmKnuCRxjfPJs9SDAKrbN8tMn3eici7atVTneSQtiobsq2QKygH4NIWUMGsY62CTAFk0jOdW0XvGbhm+0mzSvgorsf2q6dnd56cXNMB6PVXhL7nCafDASsQc0Dck/InLCAEFh0Kem1L8dUMZnaNUcF0tZCRpgYeSDS+VCe1XIpsWK56bEUu7Dzv5cZS+psbsNvJOzYfBl1yRXNGcnqSN5DkvvM0pfnHE2Sg2W72+KAdI8BKPidvuwXg4cBh4KI+LADcFIkwiY+z0ZqsF+v9sC2uJy1e9sxrmI0Dzf7p9f5e01BWl7VJp4DsCJWuOrwea7nYiTw0r8oAAcZnV2AbBamlIRpL5Q4TEHgQ2naTbKMJMNjiRo5lcjGy33yvLt1wlBxfzdBG+CrEv5yPjQnsnnYeO5Rz8oZeZZy2/JXM2W2IjDverNdKB6eEC+ixEZDyx3uBvoGN5k7BbsG1MiEGwa1iahzkTlAgjjrneXosA/ru1i4g7f7IfXuyudBCseafIbPqyAtBpojjWB36JPCNpLZR5NGH7lY+y8B9tjip5E8JPyc++az3Vuu5xbbsAl2iYbV8ZoZ23JM++ngf1rHCa2k8hujBRhpCp6hxExIPjpOhdDbzROtR08FU8cTS6tRD1eR4hQqB9lDrzeFDowUNazoxbbe59sE3Hz3UT+prRO0AQF69Sj1xIVta1NiCJ0x1mwePAJkjlvLJkM3XWdm3VolmVBE3KzSXb6GU2cJVGigqVLYxebxGjNJ3WKa4xYFFoPlUGQ+SDiK4CA83A/hv9cWVLgusyeFzqoRTn0olWaW04DGv7GGpYT9VSLWJMTecQdvvE99ZAsJBtVa9ePjcZ0jbp7mEtNvQ28DZ72izkjKEhoHBL4porwiHoY0M0A/twK2kEEtcEk2DRqe0lGQ0PqY+KbouGplDRvJa6vSzI4rPkh5EEHDnkuhpD2asEICHiNOvTZaQzBWZokfNGTxISuJagWJ1Q/gaf6sKbONlPV0CfzydrUqQBJDYwitfMEgSreEVJ1DNkXBgk6WKoZJmQYvbjCHyiwqOdn/ClaEYRbkrlryvIkFV8JjMxGnmI80UVacVn+1w0FOc/wALtB9RPXhJuMNOYAEJIao3V0CCvm0PR0jq20aEBIFncwjSBBnYXOdCgvdU7SPClMDf3vKsbQGURP2WPuZdB993YTAN+CpxkOC4VC1XhKCcv8iA/n508p9e4aZCGU/IArFtJfLr8Y+HVyFsFPIepJ7dtjyhPn3GepMBSjsy0eB7hZtMz0KEpBe151t5EYkrecPotJpywwP1/NN66TgJ3d+8JgygeE8wIOBNWd6a1W0/DWf1Yp64qVWrN+lQiTB4eRjllI1yKWn+b5Sz1N4bf4MDsf4OQF1Mam0vQxTeTju8oq2WdnMbM6gaDhA7iMR7gKern/i4d7/gcdvygFENlxLAwQSDR0VH6ar+QJWDjGoc7b5tJ66UvJmn7Q4wUjyM+cy76748BnxeGMEIZobnPQ/v/Kur8uPsJOoE7enIDZ0Pp2bUX3Fh4At5II0N5WGHnOERDsSUV4+ElIxyi2JRwKKyzarK1da2KyMknjDHgJz8BDDe37q2SmD9cU0ZTbmnhc+Ont8snvwJuyOOxJ7Ru9szsaKH7Cz1xg0Jm74EUP8sg22tTZ8oHMVLE02qSMv9mIQkbdETKAeUIrSaSU287RaAJTlEe2twM1GC131EwytToMEJr9UflKDss0MvxgeghcnRg2thvMegMoiDJL/K7i217SitYHovB8ilrzNqFuJHcicuYLxMlUPBuYSPVz8ZaeTta9M48paBf8QbheyxF6IKaPA1M68KsmE3LH3Q3H47umBPcCvOC6HGcLEc8jU8wVYeeyM+AcpApfay+aS1dIPMi5fUTJeVSddLic/UipMxZ4NAT22EfJL0gYx73OSHL5wpEbhn/feah0uVR7DZ3J1QUqmY0rxcCeFL0PDJ9GaBlwDvZKho5UdxSSEIVBNgl6XxRmg6Ov++dL/mWxqAa7bD9r2bD0fD5buPFDVxCszijjwro6jR9J6MCuikoxHd1FbXxc2cHp6f2baK77Udl6ka3tEurIPp3BQYevRx+4HDiVgXIX2Y9fV1cxiNeV44sHQdpcVRCaW7h6Ufzn7bD/ulBSPC+DZ2cw5QLmE9Di7nUDvEA73SctieYusQlEKtEknWOmB8WipVEwgmL3NiG4K5TDGjUk6dH9C3cfdLuoLdbU9wF30f4mgphSiog8rmRhEMhyCpdoHmxotepLmz59towNFFp6m7b7YRqRt1VgdbuX7lBdcx1Tl0doGiJasN3H2Vh6oJJ2xpObOFpKQ5WvmNlcllBYM9NT0ktbF+2DM+L6ASCbR6iYZmXpm3Jpd8PO5EwygaG0l1VVEUqiVtnI5p9pqwjLZbVXU+Fha5hTCZWKlajgeuVk8zLBvCEvcuV9FMET0DgH5s4rf7clKJdZZW5cIIwUz4/07zX9LA3ETxQA1vYsV/LSuxF9hy1qelMKhDcYowgTaSQ/ts+TfVTOXM6gdKZgu/LV7/DU+A6UreQ99CJeT2kIKb6xdW224FzNTgvfArlafEfK8wGJ+7WSilBRHWLDFyACGqQkqtmRsbGjZo2KZLHBUdDR8wb3HNsyAgft3CjAUkQsAyl+BonXc3qDdxmgAc9umd2dAov9B6DQmJPPydjMTSpOSIisLp4N/IWJLCwZdbezkkYbIHNVUhjGMBO3Iz8F9hwJkgvtyNcrdXzV8KHAW/RU8+CUI8UYlK5rpSQIoksNihV7rhWZdMip8X8sbihIdUDH3//iYY4bBt39OGeYEsYWsZSp7lhPf3K1uwAnTjx6qe1iMa8OFIQMBN0chXc1Atl5PfAcoYjgVf2NUqqYtb79eS49jjrUjB8SazpuG/L4vYEO0KCps7JjzHvuskkVYlWh/rG3O21pZSPNqORExkNgS7nGFYqSvlei7hTz+x3/x2k6hioFZ2qjoVk+VCA1lYBMCvkocYERcFJO+/oOo5LfxzGonRhkkdGsERtLVbcrdxVj+eou/FrKf7l7xJ7ilEuXdGiOLe4AJdPJ7EMyW8wINX/Wtnwqp6OPJ/d4FEOe5LIhUT83fyyT987o8ThTPqqkNmYpsG9d8UK0/RokG3zc/9WtB+0zOIeQzq5MFx8nk1eruzP7RMm6G5Z36H9M/IfUtgFcFoXrrZKxM7sBBeq6sygMweunCLcbBy/sGhDcmvJtms/r4/0ElOq48+sB8zAFToDVrOED8m5ITe/JuxVFQESSgVBLWywUVF+F91b01xxXsRA76ATLe3nJnno88nhnPabrL0ebUaK8utz/fnpiW68M3jJpTMo19rpQF9zvYRGxlR4j4hpeGlP32c9z8SuCZU06cfAuQ5RbDnU19b/20EUgULXxtSa4ocAKRZcwbqEYYXcCRg7fzu2hhHiW8tly08bZ5/EesKkvZ1UxlZnf4Ad+gyr/ROElLRBQaT+yGSZqJUIlBWB2hCcFxdhOhBv82szdZp6Icn9gAsRbRmeRoQdunIbwGX0rkXlWzA5JWfI1efGGFEEcptBaOQqV/Pq0I0NpZGiXJtbLcJp0Zz+MuwOost7uiayRxHKoPQifbl/9sjG7YBHpL3Xj0dTw9fgubwwMW4TVz6/V8895b3TCXkAvUbMql2v6v4+KBhFFnarmepPDBOLTG7G+eubYeZEa5Yi8IvgvS/jDw0Lcs3mU7RPpPphz/OBXMU/YaOBjV7fPeUPiNiorQW7TafrrKFxvXc+BjHbQ3px9xVTO0LciFC0MdfpGWSwAedTTFF2/C2xnybQrC9XCResyIoSN2YLrzmcZHiUo3zz18Mx3ipiAec8pIVvZD0hN06c5qxm2MWAFDqSy+FE7PE+tfgQUemrCMxegsMPT7GGNfdnPvo7pT+J9YrRYf1jSd9sco8TmyyjvsgwYnVzhXnaud9As3QmI1fwl9Ta4irBiAjLdRXAvLD8dw7WEUZTdorMMBDmK5DjzrNFl0ARIh0CrHOlyx6yS1L8ywS4BGcroKLOt34DLrdLpqA05ngizuDCCWnwb3dIypkPlYSXJRJrFGYiwSKltSh4ElxGyhjHLniUqkLzN8wNkW7bwD1wwfRsPRhwizIwTWgVm282lG6eWZSdI5sO8JX1gQJVKpl1XMxFP6c9RUKLyY0kCTgz2cEi+QL8OmHHBlIScsinf056s0tHCYKaMrFfPeqG5zHW15pkNnC0q/kM+W20+mOv+y0cOgHjcjaCIA4xU/KPLFmevsDqwXdV/7JWhexrJKPp482ea36INNGneLen0oNLcl+eo0mQxgb3ACdrFlNT3fjjfkYngkMZPA8Gy8+0kObZ3FAowrpywGLa7v4uR/iOVVZJzO+kztCAHHe03O/bHVVOrcJl9vCi6BjZSXrc5zNFDuUKTzKpcS5leC3IS0jBbHsFVIhDkyNV/TnQ/Ez8fh606HGMt3u/NsvC1An5DdOIYG2Y6HyOFeAafJZaXLh9QhfkuaU9fzfJ8hAslFA2UGDUdRXMc9fx4So/3j5GPVSiK5ji+H55N1eEPCUkY33qFVnnia6b/E4FBjnubhJD9ui4h2yJNi8amb5t3S9oJPcCRvWfFF2/Fow4cpk+/Brvne+FgWMusjauIypGVgA3RqoSC/CX2H6XOFviKwZg3kdPmtnQ1rm3lLqJGBVuTWAsvjtVVMCvSFxEv6hNCUC1IBhA+wB23aNjd/g5FV9ZGsRN6iIjRAOnp/JI3oCb4SjKF49y2IO0WoRjAWR8R5FB8h5h87m1uNc/C4ah1KSHMJrcHCDkWko6kvnTMXgdt4w9hK8bbXdvF917TjjXbh4C4WMRogLAcqw3rN59RnOCmwFHvAA35mJE4BMGNi3to/Okjy+dlRChaJ2u+5pY5C6q6jOFJZKOkwG8SnYzztZF+c5KP+tVoIfmWZh4cguNRtIoa98uRjJWt2zFRJwFPzllaVdH7eVXnj3yq10nwTV/THGaSd3oNQPe07gdIiATA0UqepJyhb6RSNi4OJrUfTNwJltdrmyal6Fy/komEheNqKh9Wh/S1YQQiOQ/e2ZbAuAfJSa7SW9P7lRrgjGLt4qdtUV5hwLDWkgpjIlgJtkVCr6jrwMhqdWThMRnRUumC5gDbRsNSN7zxQ51Mk3vidlOLFvF2aohYOkqSAp1m9p703fvXktrCiDV15XFxtpKSTN9kO5yVR3pkpbm4977++RiNIgH9/DQQnTS2SDWUhKi02TRShgRZvFRfbeU99wQxvKHopTbf0le8YNePnXwlM7jUqIQ0NpaxXauY2jV8VZ/K8GZx47zobTKlUGSFqxWH0k7Q72X8ArjWD6IOsDwtcMAXPp86XOtCvp+KaZdSANt/DZ27FFz4MOtJ0SeWV1qSSDU8NG+VQLKhsdpTpUG+RytDhYt5UuG9hNPo4wu8gpswzWbzLBLaUd9yyALVwxLZkC+p1SFhTJ7/+Zb85w7+KIuURjti3c9FYUOuEJ2TpfH0eJr346LRxLQz3xnNcZ03u4QHxXsO6+P7taTEq0UI6Yaf5V9tcI66VQBV/XXoIEkigxdQtLOC4vN0nippE4Pk6P1y+qdEBFSFiEMjNcqWrkfXKQTI9soVgXvEvH6gI3lcTmnoI/bOfNmX0uaRhVhQHEjmCNnsU2o53wXQqoJkINMslkP28B3BgSEYwyfYKvdmG2hrBVHTCoyqsGK35IvTV0gWDgl0zf+WZjsGcqKh/OMV43+Rj62RhFKyJ0Zb/37BJsaawtXXPLuI09B76pxEMjoX6sjD4c8sVELrxz1NwIp5H2J5jkqFTUlXFdYRIWjf0nO/U6+bEFStLHxdN97RXjRfCRq+nHyvcHxI3j0ThihjPfcZ+eygGZQJL2CMtH25PIrwhL6+QzrPRcVB5AtL+2GTryMiplNaRYn936ZyeE6nrBrBZqbDy7vZe5Jb4sMRA/MeRALfmVDyqAef1Ri86vBNIHGXBERNfn+rdEPOXTk3C0ydnj42eEmvt4Y29ZDi/LUtqtDpgtp3+1ugakNHFzaYLEndjnxtShmvfUZn01+Z1FVyVi8t/9SZuuFUItpWgWy/UP7NcWNUCOzZyt6/LUpFx4+8asBkLNeyjoCQb0rAmLYLUwKrLmGodz/qCTvYu7kOPFWzg7M6R4MRJlQyTPgPrKre9ydG97x7/Vo+5WTiqQHwg9JuzLQhLSUXes2KMjUh4iGrAnUXWhcjCjxCwknpCLd2hFPvskv/y6MN54k1uIdwezzsCSHa1Iqy5RRVgyOr3e4b/Y3e2aC3DIcIHLQUIrOiEZLv9MFj6fhVf13NPvKBSDPuWTh/0lbQ0hHYKAAUuGa2aXmmpPr80ODuCTRyc7VF/Zlwhb1xEuUNRmtbBuhvCjJtmVcenbZxLACzQEO0ir7oMqdebQUP4wbZiAW8Bv6vm6fq7UqAZWBQDZleAurlOiGlinV6ASBdyjlt3ivAu/ra59xys51TEkb85xKe9tOBA9nWcegTItlctm2zE0ITBjCE4tn5Noild6lt30otpVoMrLOxs3q8huoKVBWJN5V7oyb3Ys28gHNrJllGOCiVOGfai+KBDWQcGXMqg2X2do8XXcYsaH+Ri9Hla2svMqQOmn+cZJxdXE3962L1FLZY9YgOGZmS1JDaeD/rJWrZCjbXKzjG+tEwZlzdTB4ClceU5OrUYggBIkoFEETVhuJOf2NBNzzs4NQqgdfC80QU/D5hCzaHExr2puOXF8PFxmNDFfruTbjIfzSCzkbFiLrdtiyascWkLajCHpiTf68DAYflRW4pM4CJ5u2S6neKHm0egj5PWLQl9Dwyvp8sFgEUcBJjzCKteVIIeOh+NWwUwOXqvrcc07EKrXJDXoSwys/02vpM244l8+kjbLX0WfBkr6TzNEF9LmW8FcSHcXx6AviqjI2jugTw5FIwAJuHAYFmwi8VCe6Xr382HIRsxwzcWyhw/W/PdzW/GFxagPHBlrn9H47MvSecrOkWQR6PHo29WuuqtGplwg5RQEPD+tF89yNJzeNjQcaO7jaLyaVTflnsqZkyBr3pRu6aMGVD75hS103qt9YsVHaTfbaOF3++cVTzlt3i6GCVz0XgGENYi4HRO0I0ra6305+xrWDWtfaTemwKXhRaPkNWFSASZ5KWn44pN+LWlK9uWcW7xmoGGnaFfIJDNdLSgG3b4kYiJbQxkYd/0SWR3xVX7As+LFQzXYpGJ53g0eN2EASdJXx5umK77VghrNrwhYUIM0aXV+Tx9pnwAMobhtHSsGLuBvvOEcvfXfxJwEVZfzDQo7lvK/Pqf8z6e6VhBNjV5ji28MM60bHtfgOjhc7WfcCkjGKNfVpx9K/Q6N1e61A48lr/G2arTsRCz+YyBJxzRplRdsVH5BRYGxaIG2UTGj65vkS7llejjnZMJp8dbxmsNhp9Hte+7cfLRObUKwj7WlGFnZDenzdc2Fg/jwqj4gjoWyBbP6oqoqRjOjB0f2rOrlFQ3JdCJ1eMAqiJmBlEAjJx8fJQKX3+IXzappFBdQyAc4GAPsqWhnIld7BgibiqWOCfikP7IEfjUR2q/sFIDWLcPCihMf9Kv171qfKnl1GfFX9Hh8ei3DnKJC1Hic4ALV8FQ0nL6T/Gb0dm3L83eJCn3I/i4HhfmTz6+RuVZsL/S8J9E9nzUudL9Ai41wlKrq09E9/+X7leMJJ8mLkQfW7rKqirdVnYVmlkNZTD7HCjZZALKRewqATm+U9b+J34wBkq3zDgpG48WyyNOhEfIm6h2umHgzAVCV1P78ct7Q8LmFWkbn9tl1xXOY5oBtWAGb44l+d40x9nw67ium0snOIaWEFIUdAzZNIESGZkMbffBsef3/SdOCBNom1xA+3ZjdT01/77MfCzK92Ixll3epALIbtVBb8eLzb7/wNYr81nJEDcJ66e1Mlb0Q3tKDVNJGdbCY4ZPcfy/SGU8iwfjK8mAO8X1bCorjVTC+uyyGCjLb6GdoIdK9hLj90b5HXchCWs4Ay8DF9lbHpBbZP1BfkoudC9Ibb7Sr/YpwlQIzVPrnseKwef6kIzj3uMOskVJc7YtLMNf0l10f0eVttGYsawljh35q1PwJHW6xc/bkuvn6uBSK8Iszq3aZn673izVCI+2Y/j2UApoH8GoTuHov7E+BhilBHeOCGHK/y/lzOrcxbMF/f1EHOpj+yKDrIuB8ka7+VY5C0VHL08VwnRr8jzQenJnyJarww/DO0w/assj1uT1QZosx6bHuFdvLp2T+lUzdfyVLo0I3JC6HtrmboROjGgOsvM3myiHSEYlZTGM8IvlEXq98fyOdgnoiyBJXVw0y3IwBQLKRws9k8Aep+wHXJOpYJLUTclGx2837HSC2f6jbQelMOALAeL2zdbCihilvWdZlZKKcAby9Fq7o7hmi8wvdfVN8ThwjOfZoGbaS7LBwQ0WNfjJoeMHmXuGsXWpllWW3c5E0gRzyNEqpyo6QlHMa6FpV2LGCrR0vfJdYt7NxWiZ+qsI5XPsatICqPmZeMvKdNio5ZxFu+PwwPuTNv7TMEV5hGlkGuLxN2jq1XrKAGKAXL7ZfT6ZKG8fPC5Q9eZ/7tk1cVhK6SjJevf2e/O/eNWodU0rcT9tklGJ79xwAEj7cFcY6IDegHImvQUa9OApJNFA5kYb2n0WEA64QseVPFrG9eN5u8OIJUsYm8rs56XrlLPWdVmWvSkPgHL5fkXoTPpM7vlAweMuPsMoShzYDKUQhsV/F+xbUYkv5UDfOxiaY97iQWBaR8wD4kDMn1hm+6lzRI4ioQ2BvEqhC4fuVT5ViPI4I+tGvVKrmhVi+gY9ZyorD92RWy0ssWZRvMxwUCsenFjNbDuqs8JEN//weEoay5Zhz9VMbLDToxGcauQW0CKsyVZXfsdz5UTl1KLeJjWICo32c4HG4LdkAJS89tmHVH4MPr7AJUU6O0VMqmKfx5dQzb3iyJhLQhQsHCD3VdcqpI/ThMs12pJr9gn+8pDooe3/30OtoQb+zLi1u30srEQxaNIiP7zucIqm2QQ0COh7VKfOXeVGjx55qnboMO4f6EE4c+136IsUSlM8DnUBdFdgEvpCbqAdArLh1BZ1rrVtjPlk/1Gc3Pnh00My/vzegZl0P76qGwMESXVO7hhJMmKfrBN45cGZlOKeEgZ/2jY5b+pyYw16/wsP2lXAHbLJXvoZVtBD/evwycSvC9xOtqNU/RzoZk/h3k8s9GAOBW0OkuibLraTj0J8LLyL5Af5x32a52lDjao5Qqw6MjhCRyALfVkW5ErMg+DmPyESHgUtYo6qTgPzyMrWgw2vh17HBVNZoTihl2MdhYbe7qeNf7YctEl0M+AxO4JLfCo12bC8knpbe7y1pOB+K21ws4arokJavO1yS3Kp2PZTiKvNADyHFrypTviP46SNqk58fLQgNbJqqasEOUSeJ8lTLCAMHMJzjRF1+qPjGDHi9t4/MgHNh9OogCFjLM2M/7la0re4fJBimoKzSBKznNSBWdjbkalTJeG5wumle1TEzDD8PqEkgJrYe8L3Ahl2lTfHw22IGMoaftqKZuZuYfVvSkdYEUXcAy4zm8FK023CZz0VYdNNzq5q1YpO0Nka60h2bJO9RpuvypZWK+nCixnUNwSOxmjtq0RXKSO+ImdN9Lpr6fb2ikvsfyvxyQ5R0/s17XDYDhmMQc0TZQgmkWw8yn32lWVC/L00uHzInefhnNdWC0imh+7ogvTGDPtOYz1mIUNXbEeb6hx6jo3xhV8QT/TfVfkYW/z0v6NukZWKVB9etfn/g9n0vR/mskuYDCpuXe35HJFchoio6GsA7UAo6fU7g0H4WzS/FmUzw4E/FRMKdoYCGDK6w+JFzgf0mb0otihgfbjE3oJTbbxIxDLL2pPARAPHK7r46Sse9Bm8Q3bGUygcJNEvh0UHPeunK5U+CkHBCoRBZmo55nvh8vC/bmjsVgUER1fVSIucWZ0xuHb2X4wbBkpX2Xu3KQHK+aZ7s337qUguCHSMmH2Z1x8bdXoqLWGc67FvFxFxm6jCkk0HnDwUWHgo2M7z921M83VtaDatsc4+C7s3T3P6D0uUfhj73UZNLx+RfgmrYPa8lQEmtQOHOW8Do8L0Z3Q5pacve6lGRuvSC9mC//0BQsKj5T8z2ewaGiqAvBhOliYvGijfvtjIjDvJY8IOTpuLvq6WUuujjw5406FUWA1D8RfAfCVZtDykMsj2HK6KiBoHx10T3THZjR33DwOCtXVBZ2DLoOMvkDGkFvTnsSdD9vxx8FQpZvwLGc2nnR7+nk0xMXbnC1kresySxZyqlhaY9+iuKqPqxVbhFk4LJKb4Oy4aP0uIRO+hsjEBG5pWusnuBA56zUXnqZwh+BBxSgp99oH44a7wd6/cKYfEwhBfS3fD2uAuorgnnk6Dkcwrybd8HxPzWbfVAJWrhiCdm/+D3lBMiqVDAldvseb2oodTQW5V6TqS/x62MkrN6qd6Zb56J2KIBV5bO6y4D32vOI3WqN0fuooYoNu/2xNAtuVdoloJB7J8z+Dn1yt+uwQywnbaHLUFvKSQ1gjidMst2iiDCPVJkqTGp+3qg0G+sEjApfwcT0f7t5vnpHar12w8jANzKEx74Sk9BC9FwD+Gv8StBWCqQgNamN37eIxjXGIEnHVlJeulNewDMbCtTFj5tAnVmfHS3Uz+x+LiX5Wbl0ZaxpD4H3JlvChS8TqGX+nRsRTLnndgmGKXgBprU8lMkC0YiehsEoT84maXcUbCIrv8MJ+32SwHmvedhP6yeUVRJ/BM4i/MTxbH8tRmMd2XSaekz1+l+oYe+TH2/tVG7JP7cqLps9STtWbHzudUyJX1VD0bV4BZ5LdmpoT142b/MKxsbZZs/T91SsbztpNAffCYiVi5pDxIJmsfMVJV4DGCo4m3Ia/DHh3s4piFLKg5Wq5Phyfavd9x1jmJWHyYk7ok7t4cj5vX4ebVBHojOH543pqH0WB7bfUegT4n5pJosXOJ+tgvpgUS+EbviqGunAyWXp5DTUVqLh92KQbEI2FunLo9iE+IZjl/821+ulOFerYSGOIIyLSAZoKHnOEK9CBYcPTAMN7ApNdWlhS18jwyLnSq7hAcXqr/I9UprrGYRcJ5oCbaBjA36y+iXsWgNcq1mLQ3IMar9J7UiLZd3OjhJHxsu833AoZ+UY8zHa/Ov/gZtlz2qo0mqgq8eDWVkAkm25qoY8E2K0fQfK2tuRPeplYZUrFeIAjDQTPVNw+SgOvAxrLrGyPGA8OWXyCfogftGlF08OdmahMehXPLV3MkAqHwr9I9owzDHPTq2oEMaBZBVmdlWNQNPeDLgc0MgvXcu5MxdYebCbx2aPQZe+tHGkZ3PakHvIXjQlQIXZ1VEJBBMssqQ3y5zKFUt8h9cAQ8g8XsZ6mdsOPjdmencmBo9przASeHUywRAT+sNuTWcmPPvwej6qmPhOvfgVEh5flh9e8WVt+kqi1s/r6qCBDcFgnPfJxC1ofKd78QOsTJxytEkWCSYzrcakVnT4rz1BLswxd5FpC6MjJ4XLuuDy95Pq8IuMYj1BQHDLstzfpvuK1ENQZgp8f2+ANfItwHJpdcLk667j2bsRCwPexxeDTRgOkY8RKC0io8y+W3HjtzLCF3PtqYqB0SXJH8hvETaDjUMbcm/YPWb6z+9aNzn6dCATWWkHJ9ejGXUBsNTBKzMMrrjIwN8FQ72xlU86vGwY0PnLZjp7dDdZEo339E5RyJNPUWf4ZfyPWh2dVGg7sn7SnTzmDbeHT9nb/zIzmScsnPhWk4FmMd9DLPClv7chGrqMvj5DtVeQQ2CDP/upaQex8jjk/EJ7p/SAHL/t4FKbdILnUBGIYbTpuUVj8wRI2aEHqmXPJoq5sFnRubOd8JZCVp8NEDPInvqCMCEhyHKfsnrSegpzlU93ROMKIbbj0p8NHNDEqIfEfFargVUkVrenMfqPKckiZYZRxntvaGCSM0ZgrxEPMG06GAAPbfxclJNOmjhDwuqv4zSP9qFXro9PKxZp+x4L6HcoY/+3sMj93UJVK/xTVb5QNN0FhrG2KRyg0w5NZ3H3UnE18DQ8T8AevTe+IGNear62YzNUBoI3lL9gfMvSqsj4gbIMRrcRInf+ucyQJweNh0kOiYZ/a8Q3Do3GbUnynX4ydcd34MOTBa1Obbb0WLSJ8/2YvFvwaK8bG0OuBoJ/gJ3GTmw9cwmYv0tjw8whlVgOSVovsxDSw7L/Hh77REFL5E2nRGWOrkwqpKY0erI8g4kCYiN7hc4eEZ7VwdJWRT1ZKogpdWNlbGMjm0iIGGfTYWicPK3DquOdJey1G9/jmuco9+59s2yjB6kk6v8hKBfOqQ7jk2tevB2UH9Jsvuaaw5ldaZnAiFCITmXeep99cd4SNvYrvaUqZdYsOGBniIGTCAC7NooLSiMUrteXdlhBtyiVjhM+aR5M6teN+f0rx+/5Y75XKQZVnY0TSZiyuQeN8BOFj4/fak8xfJpRNbai/VjUKDBkHbbLPWnPKyX352wKMqRfHclP1hcUswlWu69HsRLIUwKQW03V4lUqS5VIQ4Zau8bSAXsSgY/AOLIkroog67fzBci5YiVjp+WsrndVryyUyOf1M7KpJtsdHLMIcX2IGquwFHmkKbW1ZIaD/kuw06O88Xh9I99S+qV4arx+9mJeQjOTK+BSH5zXiIMIVjK8yXDa262YfhAphTn3FLzqrqyIRCY2Zs1e5TemP+smF1klu4UjwbV7s2GePUwlrwiQtlvfuj/2a7EoAe9M1CwID9/txQNSpcpccz6GQvSznKWyv1NYHeakBsiGNangcG6vtGWvuFaFqk+HpF4thlkI/oe2xnrBC1bHBWFUOW45wDK0u+P3p/lvFGW1QttH1VCsndS8uUFV7c5FtYMz/ci8KcADZSKGuppNTBGSAgDOA4LF2ZKZDxj4spEnw1PqBKU6MiwaPb9enyE1ehP7lcynDvMS52kxP7L8488qenkWNiOpwvnk6xCr5WGCqbSeTxjQtBBqhfV6JvGBLJ+FUrGGYG33AKdAMHNMYhj5wLKpXVv53tseTs0rnzDmg295U1i/PqiOBXGqCDMOjJl/3NdhM7a3/CqgrjdyrVfNQhRYSQt+Gc7S9+NrnQWsWtLtzcNMMC2O93dd5pdLVh2TLcNKOExEz6Tv2Y+vpypBElJIr5ZfwaM7PemfoPOgW5DtnrmjKBefERyT4or+3kQ1UwgAUNnp/VeJ9RWoTxczaypaxrIqXHoW8qfzNU89z8Epp3k8LlSwBReDnX01Ekm/5K78L7tYEqvXdZJ9QS/JyrSAy/Fv8vZqlMBUzGLnYtlWXyKsCrGbOcL8wMJzbjkjd5CuEX2QlLoYCwMxB0JxuSf2l7uNHvFfFO608d140QXlHCF9y4MscqY5id6h5o5vmdvGTtKtU30yOep8R1/nZ6Mf2l8JbYb6cKHLl03LM3LYfLueHQG7IpVYpVXRooCzTdeH4lorRxj1OEJTNIzz8J//UFfzSxXOTpZzhUtV/WzxL16jubsRHA6gNeyKQXIZyPpG4L6DScDwE7eZEvZ01esSI5+rCPv14EStWLYA/GIoVHEQT5MyjSVqBaXlmHxQCIrchU616OjI/vXMGGUA+DnAOpIlKBJlXBc3Y7Gzx2oc0IYTjTSPMW1ijapcreZXZ+qh4oDPIAGR5f55O6V4jwBlEPKmKNaChT5+Ce/MU/gP7kLxXhX9DFtRsDDuXVKAyVbFoDU5Ni1+epv3gy+j4XZEd92ocHAGWFbsjnRmMmNCjsbclyzRII6CXjyE1I+QREa0i4F6fWotGyQAfqNsPHU634CLBvr1VW+jlKuV/F2tWwkFwMWG93z/gZfpMSNPVQUcskPTf7P2hWGN8eSE3hSsq81mKJkGgEA40VTiFio2z0OhPK3RW08zW6FNW4wr/e4x2SOjeXX0OFjh3co5o5AxOaXT4Oy7/329+vMp0JHYcOxY66zmAtzV2J2SmEkwiu7O+hx2EVtYys5XBoxTRU5VRghiJ/uD9jbf0a6+g3fediIsuMuWN9yXIUmbx76FmHxPLhNYruii1WOzSuIgPgVjGh07fXsmqPZiJqt++E8e9j4CBgWe5+xmitp50TvdMpDli+CrxOx8MI2NV5kAOe3MPLqFTXA2j6r6gMkGmEFIyl2pgz7doXC5qpuw9/gbC8rHRbb8nn4ERGe3f9pKPrieOSysoZN1Ry2VaZOhiy9RgbdhXRZf1/IY8n1HGTtJcJZnfvYErvpNz5VJlzsQrA5DtwjrFrKv9ndTbTzyLxJjXtOt2gO9P0g6CCDGPvj10zRS8Ud/EODLzZCOt1d7Q1M3lnkDsbP63WnS4X8341q6XzLoAVBCkLXdK07uxCUg9gdoL6yzYx1P2zeV1nUgHVVhYPLkAei6I3vo5SUGSIiUiPhuhbL+hNjQxQLVLIx69P2t+g1Rbx5rhLpz0EDejBD8pgvjL9J5pMi2VjiucU9iMftgD8jjhh4citJ5tavW8lkt9dgVl8SxLXBGWYGEhKtm95N7fBpg2qiJ9NyB4oHeedsg6uz/4kqQdm1TM5tenjUCJSuQbXridPgQkSbkTYexpycdnnklEuCA3AUeVgfHbVhURluaDl7JuLzpGUCy7hmZ2UyBc5SIMvBXDZxYYzU4UjESuJQEUftupq2CLzWLDIt6HerqPVR9sTH2MITMrOJrRdErEuuUqz8wzCS/d7WzxwYvJ4L1BjKh1Symi90kzZdDK5Il11XU+wdZnZqYBd42Gr5rUpBe1WMid4EfuKcxz0yVJM7GHMhGT/kiXribYKB51UMk0I3v+vApf1ir/15LUCla5e6BHyuN4B1M9EQ78U/+PXtbF/otYgsm5vyJlejysJ23ohGY1DpdA8ITL926WybuHnaGT4MD90FCLbdddvquglmGvCePXmxJlf0aSL6RX9Mmjoz0yFQ5qMx3SjzKPLoGgztLdsz+uv8sIknY/LoBVMvbz9/YDFNZtGQwIeOknEgW0pi6V5VnrnrSs4Q+MA5A1JB3C3UiD5Sj8irrnP34RCxypRnYrD5vT+BO3vj/nJZkKO/xlAPqyvOgSi5/WBtcsfQVPi3J1tjWs4aMV6WHAhY1GgCj4csUkX+eL3IjcrhRCH2n7ag3LCFoZvOyV+3Dn4YuILEfOgpXoZYlXvFuVmayxVM7PJ4eHvMP6kRDhzT7iI86zg12BXNWIzZWC9UgzJ+cqY0/5DgblyFV+HArNQoSsmyehTPQ+BOGHtEkdhawxmKKj+btcfDD8Cs/zcx7jugU7aYwUY2HJPE4plAuYwz2wP6ljxQH8fDh8GbywWBQtqHYNyAvdLzk2Pe51rIxlH+MRGHukPVFqUS62ir/g2bWFtLzM9RZgJmlxUuzpGc6NUqJmbJ7SNpYup7+h/Zooo/0GyWpZdRXiQy54MJmeTmDlknSgTN1a/0qxBdYwR3SaRXBK30SfG7LC73cLWMHLwKTkGV/zao3lPW06qM6bu+M+1KCKgWe/2MtF08uTbM2ZDXHOE4P8GNWRJCB9A6e2p4WJ2o+2OgV1DpPZzAvr3xqdILr91QG/LkQ5aL9fF31t5U2jbed8JbHxJmhOOhAKIywNfvcBjwFtO8LW2XHxAiocfQShdV+6naWGX2b42/epX0LCRjzzvU2DaGBFz2iOA9NTKuk1pW3OZBdnSj5anaEZJvEagGIdr8N8V7cZWnmSaKHu7ZubA+OkKieTOtEsBAX/bppfswv3UW2E7cooZcesxrcStPalcghG4Hx7GXzutcXCBF3YfEDBd/oJtTWSX02IWK03+GW2TgqaxCpcLt+nykAJt+uWe1CDNFcTtFW7yuCg2FGHgiH1q3clGPq7swu49R8+SIPL8qSe6oRbbdr9St1edvla4rBMySEoEO62d61Inve7OkG4HYKzs5rRPp2bYSiTou6H/2o6ZMRZ9GEl80OwV23wECM9J7ixOy4RRilT13wmMt838HJh2BQfYF6/vjiCe7cer/oZmJiohkWRpjyjRwFNkmLnDiTH+a5LI4aFNUUbjDe7WoHkXovQXosTjNLJ8YqJcIyIghRte6mPLKV+G4CjqmxmK9mhDijmigC1zamd9q+5IzE5OFA+pcnp9lr7/8xKdNW5BLADV2zKCOaysoBDk0n9f63mE/YB4K0pDJlfWPF9Px9j2pmBCiYIlJRlYrNbJDVl0HFxsbWaFK1J1cJT3qkTLjFUq+d1/Cn8/w5V9Q/FgF5kiO8nYqXVaMQw4C5ig6e7kEQebJPdNqj7jj3UzdOKQLqYzqb9f6UsTo2ZE0wLFqbg0Gt/AyWPL2g2MSs865xXir9VyzmBfKRrqQjjebp0WOw6ATufhGK1ml28VNUNJO6UjBj8Qn0TkknsYqsQTOjVDKIgI1TROeFAjZm4YxCnBmnHT1YHILT8BifPjouksNZSp3a9Xjuv2tAJCcW/K2+9UI+G2y8da5pMR9Zpd0dp+elbAKll0ZbaYmAXooRKmIdcDe6hNyN+E6h/THTRjV7Oa0NIm7VEkW47gEBMFRtM174U13GdGhu3A2a+DPitgCUkxWhuDuh7Hdrxy1x6of3eWzN3chL4XN2ZvGld8OW3qPwOjFqL3u81LD7yvaRHIHRG9hT0Hsj4io3X3wfiV/ur2aupSYaAv3ITYhGT3efVjbFQXRZEB3ABngu7yhxNWHNeSg0fc3HUlTUWzIg7BoatoHr50PZ6SMvdfHnIR6NUeuu+bBrfEkJjScEQ3Do0EQ6+yRXaZzTaxyKmBuYnnlUXfHBgglKLCTd/pbpFjbaH7IqBK9j24jcK3STCENjsGNbCdBwUd0HRMlGf258Fc6uuatyG//pEHSBGNxXr9anTOHCoLFcJAvGwgzh6S4lklNFDsvCV1pUIfO+qmvIkfWJxwqSitDQR3TDsySYUH+Dimo6o2fLDkfeEW5YF11dt+SAZt13Skj+ir4/FobMyPhBFM2oflliQ/ns3vdWI9JYlCH/rhKyHTjnUhkZpdXja5Y1+IHiMDEm+9FjslyACEFt7ikjhwHdlE348w4yboT9GAWvW65cidnz9FB+ZhKjuzXs/cR5kAozbOyqshAMGlQGiwbdAfYlJhyJgjJdPUu7DEKL0/BpUGhggxTJ/A/izT0HBh7jLpv3av+Q107GaV1XZjCJJQ7qGTAdl2581+v8uH/mJ7SQZkos/r02oQiESf37JaaBAdH8H0qVAqWwhX83LL/HlCMScNR/tzDVTnr25l3QCKfONfo7t5zOq/Tb+71LboUSKIV2/I9ft9sXdXKcKF9JkdkIbme7zFhuhmviOtWiPnKmWLEK44ms241iNKV39/ElFNKF8ywVutRFukFbdt0Beiw6bKpWPqUsF9czvOzu0xqjYpGgqcnVGxe1Kmz8eAudyIBhgCGGaBZ+SpvSwCO1DF298K1iHXI4Bm6z0f8eY7kh1odF591JYXM/6EfTY9vv8jQayYvqDFQCOw9+VkONZsufR9VJPlrPL6Os0ydEv1SdzDunhMsVPMY2DxLzDTN8l7Z+oq+j8F454z43D+dARiSnJglr4gGcS62cOHlX7jJLa8rrGKo43wubXtvXuUXdS/38BbaGVCFK7sZcwK4fhUVd1aDYtqDusMi/wGShvoJ+jqc6w5PicAZnlIAIJdXN/eEGE7YXzUnTaM+5AbKBfPAzWcv9juZco7Gi667RJMuliur669ekm+YsL3BHoY9LlY3Y/EwgZF3oNlh/0D0Kzu8EiUHXq8wjSwqh4/fiX8kSNQbdT5i9nMsRe47xrrUNwswKLOpsn/xGP78U3mh2qSpMK8r5DFXTp5RlcCUyOao6MjziqfFQ8nmpmAKuZIuO1IEEwCmzW6lcdUqIfYAg7OQiUtz6KxeCylhfygKL1xiD+cL1zHAlZe8EL0jVaSsB+ywtaq16p7yNr61tQJvcWhZZCsvKCG75pbSrDL3F1gb/qnntSvvQN/QXZ3J6xEysfhvptx7spzslpQW80uA40COXJecVSnesZaYmp1mbBalthZUQ/KPugWCePB0QjJgNURnWumzf9uADiWr89WkbA8mLPQGQ+6rn0SaQykWcMpEdbNPtROy8gugpG8KoKnTgNGmmGTfOgZFFi637tYUDYqiBdfh3gHyGxV0bV8jsxvyotjFQkTfOX7bmyNSXX7VaoMfCWXHOFAdocAFVje8I0QynhGglxSJe/NUtInkdzBt8KHz7pP7TQia/Z6gBmbKwewdjoT6oWCjwwDorKgMa7T5NhQWD8fn3UvjlXOx1hd6awVr9RV097AfmJ9m7VXhmStUyfqlHndfss+iWcrei1SHvXK4ew3R8Qe4GgZPz741A8Y0p0aYl6wi+bei34FADe9tViTH1n6mhk7WXb6sEqZcbmADUGMypUWNkkbqVZmEio+BOSSVCQsjdlNkU1mV1Q7zH39PLmNfC1ldJakWnyTvZ7r2XMTsgh9RpMy6ksWjOK5OWKw3q21xwS4ZDKbch/ILa1iGtE4+pXQeweenIHidIvA2FuyZ0AXnuyyncfWqYXtER8CHwGuiKhYAOvFs/VwAhZTIu65L7Sv8OjcY+XSyRuZn9Lgk/bJ/GnSw0DSf9mqKFEAFxKZGSfM3zlE6R9K5YYiX44VjK/2aLScDsXMrchmudar3wugfTLrV+qaYRn4XthG4MiDR+AI4N6TW8VC3NBlwO4GkvWDwhEh7rE1wdozRx9kcXT7FSNQSqJfsoMY+zPOceJ22QDloIBQHhB0hmi2aFF/tHXuAx2yGZ5niT+6kpdahGSwLZ0R9IdrX2f7Kh/eWwaucpJMQ6LwcRo7bN3TQ8thsNu3Lr4c0siAc+aJk1tKG1FzUADvwR/8+sc+gKgbrzOdjW8XpNkfUrtnishfXyWgof0at2T9Mlog+XxDq1mG9XgxDfcGOkPtMiDnYjVUAtaxxKKhyw0+ZvUWbeMm+jCY4fpDPQW4Z2EjuSCtJGr1RV8YOzOxbHa1WFFMfV/AeF7zgZLCGpksRxGy1IyNsypyoB/gcMO+2GAEoI97Ii2RbLGhmF1wCm9yY5N4W3FHEGSeZesDlJRWMzrqDbYPHwq6rHjUWfIZmIoCw3XIEFmACzsnfSpS7AEbkQrWdjWucfm5nz6L3JjbAOSnvF4XQEVkJWIVRcC4wFgjLn4nNdWqDsc4FU5DgF9ONzU7HlOMhsPYS6vYSFPFVOH03Q36P8Xcxnwli+k9SpAOZARh9yWNEkCS3j841B5U/jAIrrCxa7Cfzyqs743cto1fpuyBCZaGwH0VecfdO14n9OagvHYgB+zjogmSalG7MI6MJEcClmbp72xD0RHOl1H40tO6uDiuy2VrSUo5eiJbCGlmStfBaaezICQ3vtDt6EHyIlz8u/l6yIC/i9x4l8sk69kad1a06yXNFS/FIdHMGNliDUBYmAPLV0usdOQc1OczOpaXBszB+phZRwAvlOrPjsmRlnSkMnDYq/fWG7G/wLilWMudiLeA+aQvcoq1bI84ZRGTWgrm3UA5BuMXyE1SCu9XxHixrh/W3KQ7BS1nzj0VAdwTNz0T8OoVpFmU5INVBvBAML+UFSMIIEGPSrOX9KqCNxHQiq9vs6IEGE3kw+sQxKSy7Z9IryKgqBTjXf/TRVyJ4KUJ1pafmgkiIpGQtAkd7mgwkHzbJAs8G4wggH0+yjvkIfnMmx0lduaJUcWey8oZ9xExSOkKbDqIxibVU4Fz2jv+HsrxBG99gM4JXT+4jA6OOncugwvT2CJ6lDjoz8Q8aNOASnYRUfwhXKbjzwi/RJ9w8SBeoCQATDvfjLsgu1q//ojs424WO+4lVUMygN7m9GAXnpkmUteM67+/TyVW3BkwLjtPW1C2ai7V8u0XwJGQcFqA/Ttt3Z2pTk2ysmLKN/vW6g5XcTy13n1Sy+67Ft+q2wt7p5mwh1cuDbRFvrRaZTwg3uhR9Nyyk+FA5Kds+HikIo9E+82jkuKr+ZDglrjp0dxdidRhI8cjooyn4dbrh3M3HyFxc8j0ZYCs54KbKvCdpQ0wNrV5SV61tVaJYwFknTrCakP8567dNvmu+hlNJmZoAyxZoGVFqSWM2QizJu7kFVcfFp8vOb9YAakP1LH/KGSJfsnbhIHriMPJmhLMpaRSGkgngPLNQkaPp1iKOR2OKM7lZ3A9vNwvWu0VeJw4l0D8vYcIOw4O69KLVKN6tJX1DUF3Uw2mrkZWKSCfxabr6SvTDudbKFdh3e95Zjvowy1XI9SuNWVE8o9haBaze+iJ2YPu64HJhs7H50ggAPJfbK0w4K14n6PTE6Pynf4D+qAqbnB7pKhaO+a/Sqqch/RVlpfwhxJnExCMxZy5I7vxEfa9nsO2crAGfO0w2ODneX4Dr+7F8kHCvKQs+nJg1EESKm/F/o/6gS02MiKA6DBLmf6Vn8hwk1OqqpOwbYSpj635xHDCOeMU/VyfONWnabvbp3LBhKYTWEEez41ct1B4s5gq1zCMMxPt02/0w2vU+tjM3PohJL+MKrffNlhZweirV+TbzQaFPmndMFCKyqEdBSCGgQiKGYOSk2V3AumXwM8PcakXvSTgoUMCmh69KgC/ZjZtWiLWDhRFw5UVmREzzf1H8dmHhTcy7xDGisH/8N6ugp/Qkv21uWs1s9l1qrrpMSfU2WAmjDb67OsvYz8MVzxXWiGo/2nUmnf5xRKRZpgXRiR+kKzk+ls0qTSMsIsbCDksy8oBooeYwHRb8Yvc9aJdngi2dbCRv1Fcp85FVHACp/hHY8M4wrku6Q/pgso7u37GXTiWgPDaXCERBf50kJMq16mj8QomM7TQTh5bHohqryQVZ3rikthnxez/iG/O+Qai/+m4PGJH3ogu1Qzxh15ZzA4eHB/f4TLbSWRdpYwYqr0HPlGhMaM854ViDP5bjUHeVBE4w0qBO35cTSGUJcfH2B6zjJODbQzT1QmawOhO/8KQOFr2n5gCuBFQNZLrG024bfN0Zgo6cyWhmV2uqw8ZFxm2i7LinMX+gfYp9I34JwqaCOv0n3dFANhdrpb5W1iGUpvUf+ARInVwpPVWC9MDLeTLa8YJpLqUod40d5a1+ztJQEBtK4WXiGCE/NcC/5plhGWHC7cK/v1g+36C8zdF5eZAZD1QwwpBka5M8agY5XHrLnJQGDm5UlJvhP+9yTavrovIOFWyGe93d37cB0w7IVsI443dIlT/9aHFnMHsPLwKK1CoKIIol8dGwNbWBoHQyyEefAPFhk5SN1EtvCWl0wR0Cfdiaud5PPi4jugi6VRmvM7T/h3HM7QuyJhWpDTe/E8xEW1o8y/KKDfh2YOtSTLvngvQhQPBa+L9QqC00ZNy6AxGgoAhNN++i1aRIY+qGWYlogJ5omOFDJuwA/wuZRzK4PkndfUZx4XHw/42jh+Zj0Fb6kO87otIi/0EpRRDeGmt6fuUC7h01f6Oynesjgvhx+eaQOZYu830sLdUCK6k+wuB2p38hY7gMrl6qMjOi0NnUpwiWVntCKh80qkLf5+kN5k5HqRr6d7UT4akIkesho9Xu8uKHg0cP9JGKRWVBm0ymBK/hasvXeWHxsoLnagiRhPXC3LTWvI7vBvGYWRNOV6vGyBYaKbv2UTUEYkOYDBfkHlWcXXM/Locj0B6H2rhTQJRv/4mQvgJRhMn3l7PBqS/P7efEe81E1JFH07yd+/A7KlW9qTP3ahH9d0ZdVbJR4i0+lR1FeuD0E4nhysIxfV1IaXqpEfH7/YBrZnpz3clF1JFbOnj3NT8tT1/qXnJgfV2Ib4hvM4fMN6E2TDfOQv12FvPTazz/5j0sT0a2/HTAA1SDsjrnMa4DGSyu0yx4bfe5KspDSyyqaXMzhJbv49BQGUWgXNDnUO2eHd/TqU6d76Oz7Fj9pBSoSA/CR5fk70q/6c/k8FKH/X2spuiBHcAc4ieT7QpHeiY5yv52ASzSZa7yGsy7eekT5Qs9uaQtWENItmWH679c+o2G7zncxy7l5/Kmh5R0+iA+6LoB3LAjGnc4CAmIBwTN+hgUqSJrDemmjXI/6FklEy7UBnzzVSk97iq98i3QK2MnqhDmqfYoVIq555YC9OeVF+M9OlHhQzw52C+ak/GfBLXbblJXN2j+Ej9/IdUAAo2vGyWbZeWdZx9l7GFNP6TX5ng4C2MvjL8OGpiJZZeX62I0UX3ZnAwoH8WrffLWhMZlPMyCTVLiWqxtlCQ9DjQR1B8Sjau0QAlMFqdvC86ld7f5kZVm157ldoe2Z7sTC+cqfP5rSCpIFU62WBKXcCVcJr9JidYQ5y47PQfQzQZj3HIoN5SYaCixe1LsccBo+7p4JnEnYUcyak5EBlOc4TwPDm6cOBcrfMzjMAF5EXkuwN3qTh7GegGHAn8TmHOZNgaQ81AQqvx7FMWryDHsEzpaJYdqYERfy5SjSBsFFy5wlyPDHE23PtU10LJhaWwSIdO2XE3JHoTVRNvkr32Pp/oyJ6wgCyNVQb+mWWRLDuOxdOKS79JDFEYerd8C60pwz2KSg5+pgvHRVhLJ+N1vNbCuF+YfJmmbvncXu7kmK6IiibZEpt8FA9lNm7VlDPJ5fwV/W56sTy+8NG5jN65CQt/bBJR5XT5x8m/RSZAbWEs291peWrlkDtEl12ryFLWkvsKYnhBGJ4dZ5OPqA+rGC8LTjvMNmZngQzL16DqhXQ2Ti1UhIA8HID4MzFEPelh2eu2Ba2Xxabg7Ohx8Hs3x/OiXQBdxl/l8PZVwugw1+UEtwdn+p1hvpHRuBAMzRKbvL7uo/aappw4Zn46+7Jzi9t/Zff2m1rOVxtTzfBeXngHpmvngVwoo836sVgElKcovgv/oFhtClYLXqImthiKu2Jpf3UqG6kgKIykOQfb3oe8doruWa99cFB0NMEAvc0DuaY5nJ6Yg/r0Ix8htH7O01AKt3lEjQkQazwbtaxZ2pTR3+yOxQIiAeFlyi7/HdrUyQ7h2EKvprq6vlxkPOmnmxcxqp9aONVs+UZpkFi43dCwx36APODBS8vEbwldo47RGOmq7LUx/k558ZxKZQfJUOEXNN5wSU2oG+KYDCiXVy9IHEn01YmPv/xNyYrjP2kVsv/OZN2YjD7a4jLUsLFeq7aIx1sWMNe8wCVZbA2pX1aqq3DpgN6hpPiOtotUgzQfmdrNSF0hH+HaOh4w+6b6hZjciX5U4Nlqe0j+kwsBICOOTMuBaNHRuG0DdGFXMPoELDwa6arVh6pX/AkvgEy0iea/SlZRNYEUgx15F8EJDbzENDTcXYNZsxIwdfZ0b78JxOSm004lToA4zG4pDRHxSTlEo1UZ2R5r4C8ID4s7OgtiEYY6WdupqKdRuYUv5aepKHFp9pk7SvDzECYkjwx1V6lL0GJQiRKCXA/fPXyDYsFGoNg62f9EpEkizXazQo0M0dMXsTYKZtkPcYdBMSeysy6BKK6g7zQrCrr0xGwYUOAQFVlFg7UAzFrqrUIj7iOQdVkTQ41Z/Jr9QanB+xPjk4+ijOAblNF+auH0VheLVxp1iPLmoBz+QrwoyQnJQfu0wsnpDQyuEsCd1Zvdmg7FTFFTD6MdFakfJChLQ8HKHfdFfrc6l/6/Dr351eiwLY/YxpBodlbW76HEdk1UWK1aUAg1URTRvQ5n1nAPic+ByaoGyJAchJKt4FZ4eOHkTreDeI8CsVga7IkNZwD+MAhrysoh9bCCL1e3CoSPmY4WLHluJ+yRQSkIy59pEBs9EDUMP+INS8IoqFu2vcGVVuNvjuysbEYKRn0jEy0xJQmpZIGKcRyZKwDHT0l2zvztMyMGwYnM81hg8w1SpE1yzglvlFI2666oj4jIbe1rZfUtQ4ivY49jiH2ktoCPnPslCyD9buI+E3Dtl8G84Usfampilvr16IFVcOeB6g2raLtBxSarbjyYUTq66F7r//xKjGqyjzAXVnRrhsyMSZyw/TSn6VFmmLDtgrFj5sTUBNrAAJy8JL0hNBgYR0Sz6AX8zxgpXiqC/xL02IMPscNRk/MBg4K/4x6yQlhvBF6k853/uyIJkXfRZnHj8ovudZTnQCoxS7vJJzonZgqnFtULdjmgXdkIJ3dcJKCuw0dWi44mgGfHYx9tmRcsGQeZKQW+1elIrAIBu94JC+PJZTFYWMM6Kh4DPbOLSUVti/kCt4R6aWRnAOWc/XvRAqEimlax/cOjjimxh0II4OC5BA2T63HfpqJX6EtjbM3Vjz7Ou0ZLTT1vUXU7R28YQZYxOPBnkF690+MbxRLYXq4HEbF9USmhqT0wSPtK76PWhvN9DLVK/xiX4oVsU398BD+/PCw+p/apuPF60sy06WIW3FpINFwCauqFm5+kpVqrKI08GHDqFuPy/uoUB32nyUxtoVjhfffMWJbwZ/3xjFvzzGFooR5C2ZjSxMKR3mZagEGwDPlQmfnkcPwu8IXrWO0rinQ5QXMNl6fZVMQYSfnxGyuPjqPGPv/vmFpVQSj/eAcRzjVk7rNGLwHjXyV8x7yMAg+4mEnDRRGIHjEDFYXDIPSG++eihgIAw1WNpJWnVdcO7y2awVElLxrikFjDY5Ind9/WosTYguX2gmxXpwBvG4xUUKYUDWR07VYLfamB1bBGaqanMY3+YmBOk8RtK9csVCD9SOlztK/bl7Ss4+GYhv3nMpG+pekOIzMvTvDRydGNXkw1/4ApuUG5DSys1QbqbO94+xYp21YIT4s/Sjsm+0P+DOeXHorqbmx973w20CNGC9WMBvB00w1EyJYv4Sdd3LI7tjmKxVfrBavfApyyBCqoDEb2ZQFdDHWPeopFfUeHUMhmf0aC0qnAPSFahlvkfCjT9cmJ8CHFfthnVvrXrexwkVIiGeG3tn+I4RliXmfsRrAnpRBfUYIHPEJMbTlsgyj4sf2OdHjRznHAl6Baojp7AN1Dj5wQvXHDJQYYuZEOnLB6KWQDaLnMWnzTNjabjkR31HY0og+VcIcA3ewZAq/AeyEoK918Jb7o38PcTm37qegdC7dZ5MJWrO2VmkH8kKgH/wTEfzVyX5MfH13r3els5soEgIJuZawqABagrgCeNDvGdawimsIxg3u9fwX+koxcyDSTaSHo3G+6fwbpUCCjCR2qbHj61y5SJ5prNLrb3S/es69J79l3KgwKiU0LLMgvYA+PqI/km5TU4xUgXsfLxL8e/zE/5q4Sibzq15fVMdwqPMeLWcJN+pLKbGzBGKIpYEmKi5E6hYZr8O6mtDJu/W0bE8rNVXmA32odtcICyiESPXwCjlaAUlROzkOteqmjLzf3qkVJtgGCCtapr9q2RZEwz/f05vRQk8r5MSznO3uokBc18hQOo1WvfNGMw0ry++6/++IolNpwSkmic/ufG8R815gA7WiZZILw6TOfRyYViS0xEfJTLKNkFOEMttLRk8fCKgXmjlwoDO40JeWxVwODI1MzuCG3AiQUPdLXXtb+Wv2eMj4ZhfG4+Dm9Tf8+p00QQdptRZ43Iotq80aSmGEnqEA8z8sVBkVs9IAsOVciS/ycJ4sfHCxXUW11u1AAHOJDmxPzdHHb8F4RZBOs10R7ay40HZqvff2IM+M2nVNiq/lQ2ErxulLk/YVhsb2f+3BEQc88RKw/UM8adtyB4zVuJfXMad2An1kJhg+JM2i9eQnBbmlrjZVCMQUcPsPGXz7dzzAXG+gl+uRwuzR9ctj/R+UYKcOJ2FzifxwFksV1WkyAf57D1R2v8QouMVKatrzdj1C9JnCufndlY1S8a7sckP5dD7t5Sp5sfsPwT08N5dh4ebU4oTPiUkC7pbF51+yurx909CBV0xfdo/44JM0nEYRW0BxpMpml/YBe/3pXbr9ciu/0VE/DZlOAoA1XJX56evWQjHeTj9iX9QgbyZJoZBneNJXB0O7BwwaZnWhW4zRuO4ubHNiUjiS+OR/fOoC4IvmMOXW3koE0aRMg8/VmFiRa/dSh+vZ1/Az/A22N1ZbowB0B6hY3W/s7rJP/TA7Mp+YTDe7dEzHolVkqcUslb3BO8ZE2fWhMtLHyeyJM0L/xgu6HCGzkWUvnMTL6AxzwrgXDRKB/rRdLoONaQbz/04AJWZtC26pJDykeblbR6qShuaLPbHPeIaXmRcq6yQ1HqHS6P2NibDP0Isaq0V9o8JV1DqAWoqTg4JLpH7qzVeHxwN+H1Voapc/hV64cFi47X+P1OLKt8cByNe3eCa0A+1Ie7Z8S3yUj3bwqBs1cp2+f5t9c4+S4DfgBbxWJ/eySCWMKG9IEhWpDFE00BdpuQHALyT85nWREG3HxHs5PThz2UPiKfx0vurveLR8obMP1KaPXpND4YkAaha620NmzBdS7NiZ/ztTTzzVtBXtsPekmOImEaVMfQI8vlRx97VLoitWKfNfVmVgrK75rv7e0zjRxxSDFaM6eHASii0EVXEqJRF3UEoCDDp7czgRRWwzVKRt/gqFSshM+WlB3uBcoC1aubMWUg7k0gxBxFLE6bLBCZSXDf0qQheW8h2P1Zymfy7BCISPzNdNqL2BGjfbBItcCM399e7YsBUj4ggyPEEyVylumBc0ymNRRXlLHILxraBajCWIlBkIR22lsQ4vdfIsJ6ucIMfQQwWs9Zi+URRYcUKJX7eGKVGVzVhhQiz7cXvdzwgJElakxpnGQtqPvlCspbNjUV7jJAbTyvzt6JdWnSI6RjC/tILcROPB5gqkOJfFKI1TBG2UutaxMMTmeFTr034BYVgtU75dnRpB1s4mlaa5F2dy02BhL3jcEmQPHHEnWBWt4HLu0EJwR+M10lsVslCO6MAWTSVXa8b/1PdHjlsZNlJdTMhrFsOZ1nugiQ/kH4euPCqZb1R9t7FshBsV0i7PhphHRiygv4SUndR8wdzP9D7XxXSrZFTF75roN3Ne6phmEFOFejh6l2bPTPPCA+MIQa5uiM4Q/2aCDUR1jZBSk0kOstJgFT6y3m6ANzsijfsGbtYJRcue0ElYDVdehUw88FqUkwAEPHtsBCabEFenuFRgDX15x+Ad3Grx9jZhVeYfD3+WeOYETzR9Hmn+f0QQvsE5sE/tiSilFLs430FA+lNkLI+0AZMUidHkJYqfkoUkgJDLvnkyGUwuPNkKNzP1mp+RmsKf66AICzEmvCt7P3niReS6ig3WQ6XJftWRMfav3CtOAuKpzQUk+LGhTzU23o0ImWRXzevenEzaD6epBVsbaaF7fbDE91/R6ECNxse8w5c0XyOPX3v6VNLF2jHIeLpUCvgCnNO+otHiG/6io+f4nZApEQN64g4/1ggVwZqsGJmhXhqNd1oy06Qt4tSLR6eikVrrCqGoac9a6k5cZZalSEnDKbh/gg1ErDgudiqeByPMoco2t4b8LgFJQfmzDx054DUk0WhzX95G3CH77rfPdntj+miMX2/zyadjAiUD5XmDDyXuipNqmUOaUVAMG2ShPR3kLvEUUckBFWYS1Y+MWeV/iMmlhmCz5mQ0mWqSi9u1sIX8eVWk746ksenLJWXoUwXrFsqX4hyIRa3vQsbU/jkuvDXJKXKAXYsxuQs2BQPxzo3/RerGm155phordrp9JolllQQ7OFrbltnKBDI61wJCaQ+MnLD14XZekTYi2Ap1JwMejpEsy7tt/Q9gF4cbiEUQmv3kDI8gzgLgja0WNHY++9gRVFAnapVdMScZ/t7GnVqp15y+cH0uhS2/2eKk0FmFoWhSbte5eJlolx4S5QNKqnEgRJ8VD1MSOXJ8HCn2+GrDIy1NvqUQ1ovEJ0OW8rL91D8bm4pgAFglGDRDRsDsw6H8bbLjz8jK29Oku624kdo+1ZS4Naf3vJtHxBHlU9cHyRBRMwsTAuT2onVvsw+MA/I30rLSVG7RFtSOakW5InC/JAqRIJjF+7ioLKPZDm/BNULUl4LEyTKdzDBNujPW/vnj43YdExDttVDVeOt4lc23CXbMx+mMi/LPdHdwbdAInIblAQHDk/BeoxGPwTbAEZVibdemVnAcTLEoJVk4D7tHIfHJYHqVBYxm0Fdj2qlC2wjCXVF4mwTltTG1nkn2079aS7x6ZJ+PT59ODylNRj0Gjr8Dpaw1G//oM/n8RTYH7Vv4oxiWSHtsHOw3P7BgVD6tDa3A02CgZL3Mt2huBVE0OetM9l0y4DfrFdbY81bWR84IYJGKXPnp3nYH9F/K3IAVLNFuh/WcLJlJLyk0q8h5Ei7fwyW1PLr3CGCWU6gW+ieDSkmW3Y+5Uf+adwm1QxWHugle22BHBCa1+isD1aRVtjAq/EEx5Q1XTkXBLvJc/YBCps1d6c1oj4lVhA2wYJgDAFqHla1nuupPzfnIlGI0g7w8xLTHaLn8yRyRx9LA9EnUppY23rpPYGMUHgUD8o/3C+kqrSu1Zt/qlwdzNzhs31s0uTckB0JNlul1PFq4PbwpeX7JjL1EaIx/pXwqukdY1KnACPK2FzkEw0yn3R19pHk97SfHPiIFhIE5W/MoQNGJevSwl0C+sRPVJF8kPGb+OxS6DO9svcazQiQyXNeIUTWC5zXI1QRsbUA/x5/jStwXxQsx3Iq/u/WhV6dcri1W0KLk9yzF9AMHAYZnALx+GRI/HPHKR6ys3U3rG6If3lduPHsW2aEcydTN5eql/6GHmhXpVngHhh2O33zA1Nvjm0nrrkD2/LqBg6rWbhAxQrXX5xW/wVlZuxrqIwVYg6wWZF6T+SZUc+DPS7dg+Qc83VDLHbbOQjymYQQGqZ+MrtNib+trmY9wKFV5wVtpWv5yuJRm8Il32qm3IKxlbm96VNIsbpa2EmkV2w2a/HdaVGOfBbom/mwkqHoJ8LdH+A4Ypo9CSa/3W6UTxyyUr1tHfttONKlWCef03CGu8w+eRs08muT/eA7sTq3JsQnDu+G4F0i6xfl8ttcu8NemYKrWodbaWsMa+GTCOjquq3FX8qJ7gDs1+WYo713fz8Pu31icvZ9mEh53Qd0ezDzwREScZTd8f+B/ACmFv4R/jBnAed9cF1YO8RCAjrELCTkHBQZcXIAC3jW1w2N68SxYwqQv/OkkTXh2HT5Y/nva+F6dPA1eanIcKRd/53A6u6UlPKttsIqfVcHPKYqNIYhE01IaDNzO1EPVEgt7XP0TKi25RUKKbPd3lU1DEiEci23uzPPzZEEaGOtuHx6LkAhz+KtOTZKQ0gDnRWfc1UDormf0znqprVl42zwKXs5vQ09dvhjldGqaUd4mdjx57u7liVXuPVJLodjO2AOmcKFlhofk3010CstoX8ZuK2CRogZsc+CTLDuS0+OBjTDAqj50DYyRuPbfCzgA4L17CZC6i1kNG59rmsVXHvlKSPJFUz7IvqolGXxXd+TCJ//2Fyy/NpGBvucIoT2JmVXQ6Ut6tsFnvECaIkOlXmHhwj0lWq4Jk9vWTaZ2A30tBicLJgIeLHUUppSAl7CaRRz3Xo/s2QhGA+rWyhum7QIHIYH/gA5PuVBhfrH89d2x5dt025vt1BPUGf8LWHwDkCqNQvMa/sDTxK0iAUN+g3RS6kxwttIXf7Ao1WCtyDsfMEndllbfS2Kobh9dn2IQR3X5ifxWtFr8w63BaY/WYGAI4f3xcCzpXpfB+ZzRkbya2s/IEk9hoHujiAqLpfV8TgENmtpER87vCTLT/4Ry1iSWhVOZZVK1y/fM7qJgDN6YpJJrKm0MSGU6LsrsBvYA/f5osnmlkpAOyHRxzYrCrKBQ774xZ3jsjDfklow5wgZIKvDL0gVWhHFn0oVMnOjyV0RLklpHD72o04jbwIfOcEwAhAcvwCXYX0Vq6dISGgZYXm2MxD2fzip20YoHPfIZyFADSLA1HB1SanAtXEye3Zj7v3kUzkHkpOlp5BxTq34ybSts9OuWg/BiDukxWDYfIYOVTqF1MNTDXZXWqheCLT9yu/lWUBG2MXJSM54suht3/SDIwgYVfccyoK7F3nn/02HOGege+hnlk5R9Yy2TjBGb0gw6d+b/7aGQzvzk2KLaonVdUs0VrirXnfCg/G2Rqx/Ntyv90s5Nc2gPVoSkaGSsVDMHdHVwheMrgN5osyYTtHUCORUU3pC8b0MPHayILLOquGnAQKwrnQFycB7QM2qxiOzynQtMzDqTETU4sM3f8Uz86pd0f261nyM+MI3c6YiwWun1WWwv1yQhIaGqaq6XObgOVzcfQrffJk7nxyaPaXAg5crnRperoZNPcvQKYcGWq++o72iYQ4P40bQDGqDAnEBVeCz1R4AD7NbLQIbJFvj9RVMpn3iqyfRleQ+mu4OonB68DrTyGllndvq/lsdxRkmz5P5jIKbAmc28YLWLZp8TPiRpl3+t5lgXELym7KYHusq7IglgUxgOdgsU8NQk6q7mKfj6c9lZI2ukbcsBf1doL/aOL6rxhKUeUbZya5wSYtkc2Gsy2TYal9+iJdIk/6ss0MzRQ/OrYj891nDunZVDx3+STuns57M9Hj3o9MjP4Gbk4pOaLc87rjufSfnQAWbp1L09OMqZlT74X04Ux3fnArOVkNV6tHx0HxhiH04IFrMWQd+NepPHx8sxbzD+2z9sXyi5a5t2u4nRsaROSjJpFbrXDiPEok0uEyJDnIvxGzbBOALNOLJxSnAIRsnjZhSbI5xv4ZeAuNbVXdmsy8kDnYgnjXKLxFOtf85TDxb8p2OR3U+eRVQsB8GyBGAessb/NGJvpDNg8BmRsNoQLIsNudV6zlurqKUfnplnv5ckCbA/dgRS7lc6pMsEA2XerRLSxV+lueCR//6CrFuiwu/orVmw3SfsBCJMzbHSwNvfO0oHik5ZpKyAFd5m/ERR331kwt2BAU4LgvbPnczpQs0472OXUlaSSrgXQo3N8C5hFD67n8UbQ8hbeXt/MO1a2h/ziiCx/nAO2pufPofv6XtDZ7+QQJsjZXlBIaj6DBGWKH6jZmpM+CNbeEEpaUbonZ6165k4zpajB/L/lhxit8qWhDbfBsRiZzORAxtFRlmfPdLBHNjFNLESmLHcRyV9zretEliJHEq5Zro75zeyfBXyb20dJtP60YRWWsa0GeYJlT3q2ZByctn10rjoAAxJrnoahmK2c3wAMHooL+Q7sA5IaQN7tgUBVPAvEoN9nNy+1igp8Q/gVqVCk5AyFY6AEK9uvcqvA2G6GJKHJHI7ORaBwDBRmWstuvNfFqhKy4A/JMk8NVeEUFVyZqH/l4Gh7BDztB9AKuSyNs71cQkMJTjlL0N/o4mpm/mb4DHOWAe5sGbTJ+pnDUmpOg0aTfBYB2hiFX3e+nECO7+nw9G8kYdl5x5c3RLjBNJZOCdVQ9Qg5LXvdAxEq8xUJn4gGna/wDQP4tX0gxqFiWw3+g6mT9G063JOk/4xFjlcDtULaWS2NDTrkYubj06TE9bVqtgpGCGFz+hYMxCldXpGRrmJWb/jzRIZx13jQPrb6rWQBOOCduCkOZ2OzERuZZ2h6jcuqmWNHjja3Cymv4GRD1msAxSwQjlBDmSDK0FiAhdRyjbctTfmv/M+qQtaEFD2skO8jEPp75z7zFLNCLp3cy4G19+WZkbzoj6lqTIePRgik89741fsP8eFDdyuNLnvn8rqo+SPtkgR42iFcOV2oDEbfxj+iQsNb2OJB4mEM3JIj16WBAuUgHy7v8b/2tQum/fcFPf517/+tw6o5oP0A+0EWDHW0JX95W/JtTaZ7DradtT7gubTSssnzeMeTnR5x6Cme4de97Y4Te2RWdPuW6g9rgg7brirfsv+7Yt/AN9zvqPUEWOHC47KIFXst59rEIQTf/sA7bj64NODNhiCyENrX70fin6IWyxEB50DAQ5rmx8dHUdXxJpuxWiztBuSPAM53kOkiYup1Z0I+8N9Q0BZyDqFncRWo5sClirEXLWgNg9uGfao4MWQDx7T99Z61SqJhoNtWMdseAHgw9CQczI6HHS31Cpu2TMA6ZbYpkHDpqR8yH8+5Sbnrum8TfFThMI7EQyT+H/lDBB7lUUHIniPNm8qlNspXEi2dW42Woll9bVvlCC2oNjjCzyKd24YzmIUul09GPiitlehbV9/lB1m3jk29vPI3YmO60vcCFyGwBaxg67UOblPzCEtWne5YTIk7hkAam5VGitzwefZHqK+X2OvlVIgcrTpJiOdoSckiBMdLhrNt77+zPQDsGs+GEpEzcEut8flGqKDfXlwjKiYo+xhuOUaVSqf4riRXybqohmjZDxbAZqGAWieNa21KM+5OFjfkLDclZIMGiDGxpknhelkjxesqzMiui9B6Iyu+DTLo7yNsDtFxjMvcjXYqdY2xRSnJ7MH2PG7dXqWKsrBfNWXw9H6PaL72CyfQwDqV5xyscLhxz/vRH3oHbquPgGy2beaDKu77lAlzAR7QtyY36N/jOxH98w5lcXzc0KZA+yoV6oSWVlkEuqbojYfQJRHk/grYXarUO9nj5cNJcm3Z1tdLEeehLEQW3gUElZBF2fkLNFa0IQfOx4AHhhGFf4cNE/zGsz/ZvhQE7FJlINM/8YaDG5dOS9rnnIuvyhuBzAVB4EjZyW1bRI1hmCYrys+k257DBwWfAf8RjnHlA4eA0q3lF3qi4rRRvhWvpIjmaWoQRCXVOMdoqgMqLToOaUmg6k34PDuiMUHvhtB/RIlHGRG7uodYtBti2Xsa640f9fzeN+t87chFd8fFQahEKjsDhn/aLVwd8MBdeJVoSy5zEWMwe6Mx1+BhJEZ3CmblIueCv+HVxuir5+PH484E6GJbDNZ9utpTecNbPA63/im96GemLgcJ0lNmyJ0/GUi//ngGr9mSse5FaAVGtWccVaWTOC9R4N5bChscNZspBSRgytUCVaH1vRzkwGL3ALX/6l1tk6QRLl0mtlZz+UVTUKlMymI7EcQPeEf4KoNvm+so9vNoLJnkLa9OnOH6Q+94g7kOoKr4lZAmqXg0PBbmX8B7elgIz8Ge8Rq0n8xyj4dzBpMN1BVacKzEKGa8Kcig0kTU9WCXpTAGkXSmZrOXeU0DuNO2fMwKFl8FqSN1YFTlUJG82WdPDbvxbZWOb56WycuUojZvPFOH35qJnbOzQfl1vhbeCXN+S1TTZCpo/V7DeN8jn9k9REISBVhPcF8Sm86OmF47bokujmB5hzDzT6TgHUdlkh7hdXNqCOcQIgc7daIdc5L/+uEOnPI0II9r5UL4cE06A++y9ULIqVSazuYpbEQMMOxpE6j2szAGRVB3iCrap3vl+o2OT6qTY95UnKNx5ZLncb60KmwqxsNPSozm+UkUzQH9mz2944tUGiynAteSIxd8bFmHNz5/NEvcAY7a3yJHDwlQ2tCwQbT7r3vupAzQBMTUnohBfN8nsjntNDDnDT8pSmdkWji1QBfmCCO1xJloVeUdSjIIeskFC+WQcdChieEio6M/j0vFcd4tqk0fuY5smf74DZML8fePTIhzwxjIhoFPr3VYJYSzTT+QmQcC7ZecRKPOAxvcp1+rjVOWB8fyIZhwEb1VUqCVJw4hJq61GKoOTstbfnY9fTe+2FOXI0JtlEQrT9cPNZ6X9KpulxdBiYkTwg09sPZRACTpaZUhzE3DCJ1kH29lsm1C+Tl8FgM8wBRHpS/E/0jId3V5pu6rSDX9B7uvxIC7f3TKpSpiO1m5jDVLxfo4hfjsuGBmP9AuxRaBToyuN6miwziwPmfLgiUvzFTYO2C3yWB1PtYrPZAMiGxOHXCiCO3aPTl16zEp4Bx5oucmWIWimfl3AFMnGc90DXRwq0sZGIgA7lWddZFa2w2Lkb6HHKhGo1ix8jr1MUSPAVEDTwnjwcVIK6sk3XhCecxn2qf+vejkisN4TjKrACtOpWsOZDFGe+i21dYjrQ5Ae7s7csrNlWtG0zsCAfw2GWbwPEru1SLaN5v8RBJ+TFAn8w9v4MQZOkl4A0+Yc8KTzbf3Sj4qnPlR1YRjJdQKB+6MiKswWHK6EMR6BSP6Nn2HuG+6ROm+4z0njl8Pc8UUGELUYeTRFOXEmGBHCEUIx449h93LBjRMjNWalRZPmrRq4Lvn0H29lb9DBJ4hSj39jZNBypGatmB0zT3JHk6DBtUS4ZuT6BI6+SRrQZcgXQuIIsHhgEnSwUpFVCMFC35PcDs+jKRz9mluVVg6Mj3JToQv6C2cgO/E5VTJJfMVp1AaE45L9JS4mSelBJ5X2NiBUE7VbxVYTTvDivTVW/AwZ6YJzEFFrB43siX9juOhNmmd2feEpk/U3Pi9ASEskjjqb6ngtXIqUREUo1/45v5X31rJLU6pqRb/2knztOKV0OJBLUX85YEIuS0BCWxZuGlqFO0uNoCD3VthjPgwxxDBkAGjdYTPm0gZT4T00BsLaL3eP7Tvjul5wU3L0INA7yrAxPwB5S5eaU+BqUVuUWdLR+P2NsuLNGziWhJmSfpcKOnmGBEskLebxBIiDVxMx1Y0793eUbs8ALIPlspMi4qK06hdQTII7QZpijoc7eOB52gDR8pDWJoWG9gHEtWXebgdiJK0xcX7Zuv8qLwmuMfgZnPODDm5M2CvtgEUZv3bIcs47Jjr3r47c2rUwBSq0TpJ2zJmbaXogj4g8crNjX5oOk3181Lyd0VZ2z4zTWDoF6ouZYEDQHnYNez+sJNzCYYVVrwcABCETuuBqaR0DsDgOaIFq55llip/OHTyTXUdh1wb6zc8s4aAEyfYiszVWwarYQnEDdEemfqD2TM9wnYZy3qLvioqG+SFYYPMHykpWji+2V2n5/K2EWpjECENpagHqa+EAtAGhEM0D29FR8gr/pD0omEommYsxHMdYzYYYaP4aWd0avoatv/8L6cLuRmKfXRUyEXJ6lMH85Oc6XoiZvWuz+gdVhsdjirr0Ba1w5gOAH8SvQPz3RonHF3whsfGTW/grkM7X1iRQt6uT9CufoyVRZ4akbqS09F6BjFll26sMq5XBvQGZUDjzoNaMXdCkvMuAw6IEwGUqqGTb06M3NPfgASHQcT1OQc8tZ5fF0XMZXy5zrINnsfDsFz2L2cRJKb1FC/7I2SN+PddqPIuxkKDCZPWz60uP7JPLVCmkXwexTYze06uOvHhhdfzOx4kdzeDRe9Q40S8wcGkSFXsUZoI9L6GXxyC/hy2hmc2ZAMF5p29mjb2mI5MACvAKAHaCruI+hcEdrCd7Dtf1xHHFHcfDVNfM+WoHAcLwBSwZxB5i9LreABwoZEcotp4AD2Yx7776NgQ/QuZVLd6tPe1o5T7+LQVyir/hsK3tLLBGqgQaKLdZrRgUmbMmLCAekFyAXobT3dJLehsjaENJVN7+0LhiZM7vt66fAOsaP1iypL6xi1t4q2iPbcluSHsxDY4+OYZF3H+DevfA5c1BbZdAhZTtL8ouwCUxVqPV7yw8ZhxX+kmBDA2NC5sxFiT1EFeMrLNUX//wt0o/U20NGMTQf0NbRllDzEaKEzXIO5Oqpc6gFd7FbB58JMQ95aVNez8lJ16c1vdTSluiMWKSmYWAoGuSF9WOaLOCXEZGrPf0KbTVdihxE1RPlnv9wTUAFO3weaBUvvJ9x0IE5oqbUgCHOVFnf8kwHW3T+z23ldvdJVVeTDhf1P27m0FiE0n98XgzNrp2Wfw8W+gixUmzidzAqdov+vaANWFkW29VnwtO0i+U6H6seegCEMeFXGEqVdK6ByRpQJrlEtBfPily9cp8nVtBylRCuT0r0xsODnXs+4GKTzgnaeS6fUOqnUsOHdxHnUL26FnZ9T0ZgCOiTvwdSt4heT1Op4D0/+Pg7EGnIXRTbGxe7phbtQ7Y//1GlooGsWyYFYhsDT/5MphBsX8qHOgCy2ucvgrgiBU20skU5aorL68+O7Y1KjkEo3OGaj89A9kmmKpAs6RXENi+dSZMs1kPNtWLsaqmpoazm88ksvQoqqzuElgEHDJ1vWoyuPdrEBTnY+u8NQfn9MzvoGzQX4h9pMQhlbxGB0RrxNyKdZW0wdUTivXI+jtoZWBoBaRxQL4rac0GTV5zs1iNkWlch4t8NTF13nzvT8/Ut6gqmiBsf7F2aIMuekqYf/OVHuLKUQFE7lFIotAysfQlx/Cq2SBeCMql42wupGRc+yLSNrWHN0kkThy2qtkrFg/813M/BUtIZ1rBC5i6GbJ9uJ93KIvlKTueYbcp1x0aUqtNzi/5ryU6LNy8K+fksH+VLlX9keAECnW9id/9oOpSpXBjRTdsCNXRqFxpbuW1pPazEzME7j2WvOYhlgF+ABQd9lZUt769yESJEOYQw0mdPn+NUH9URoFt4sNlYeeBUVMzZOzm7Ztu7jp8Fo7gLZYuzyxrZD7vVxp+B29hU5Swk6gBTw0zVkU98mxWLAotWjQd+Sl1Y8qTvVe8wwzgbK6rVzbFYCKu1azDjpMeKdidKlw04fBIXr/ywKJhFG14o+p1xDi60ME/tFpUA5hLTYwjIVMcJG7ZSBnRP2JmyqK8iZ3ijGuQ8J2rL+5v3dsjQPUl0UoLPcP0MDqpil3Fu0niAcLhjTiqjvP3tZSz3YLXn/TwCPOxIGN0fTxjF731bn6f8gIppBbQzloRf7Jz7w4jlJXjuyWZpA0vVxMSMGarp321dsvc7tJO1j5X8RwKH8oibmHA7240kBp1WkyVd/jmZBsUJ8sOhFXuTdlwKR0Lxzn5kSAQxvbCZ4x6jG0ZSHqQ4w6FdIpydDlPuvDxPAiJNfBD0FRSoWrTtQibbQmlouNtN8CTxDFUoRTGVT7xs5rMbi6usDEtfpBBoGXAUVRwb5w1ZB7l1vF1dwO21dO5syl4tZ9XQKIm8fhu7BliGogAW+G7DkkQQLbQHaeOQD9rf88tF3nclTPxwTYWgO1GPYLzZGQJHvwXq/1cTzZkApa5+/8sC/ZD/lE7yjiWAGVKCsdTOZae579/lpA626OKlcRPVrD89660wFqpBuvpDHAIFvt8t+uhfYjjyWflg1Iaa3OVFTA2s3jxWi+Qf/iuVeBE5/aR02TJLL7uNl4n/31+TumHug6zOMMSyR0ou1ocmkkyiZc3XY2XOmV+N3/xoBm+QylHGEAl1d8oqvnI1xHkcm/cNqKRhNu37nUvBqIxmPPeLgXfUzL6k8I8rGcHwRHNBOykmUKcO6/SH24TF4M+0E9lbUBr32z+BXN5dcEiSnw1Gj9ULnJzp/ypKJ/G+E3U4ep602czQGw02o92WUbGhEg7HRvOAjDIOW9AcCtGndZsX2SyKCvSbmwhsL5MhYVWcpz+ohXm+J46ILOb55cB8Y+NxxJmcoq0GIxpr465yjGcCE9BJOlWRpU6VHpkA12AeQY6yL3CWzz4vc9wRe3LDOwMGmMY6MQ9wue5rcv98TY9bOylEQJfGTp9HauNh9CnR71Dax7u304MzrQKNW1+oksgBdQ9wqNKy2T5fZIcS0qYnrdXuIpPBMB32CesyofN2sQt+zHo/waPPxA1Dltx4O9fwKuSEJsn1OW0FsjKXj26dFU7HUyxr+4krIcPKCU0FQQJQVwmFMkzVEO57lp1rUcE9TcuaaaBTnYQvNrsiuUnfdKc28tgITb1f5w1yP12bz3m/Y2sMwgS+COsGtscTqejsi/VKBAjnRrvNpiqRQezh33JlUBbwzrnFBAlwaDa1QL1nRDzyCrzJ5JoiVRb2NA6aBdUCP9VvD538AovtRcHin7/5/ijSiKCH6ef1plCGHYCZuWvFIZOD3vc6XwqpWwEuobiZqVC3ScS2LltkVrO2q9gYt2biryPjDenkK/3z7O6R3oy0tiqSR56PIBsIeMRVl4kdiOU2ksqEwWLnKfHNOahHr6p+x0Fgfvy6n9QTanO7oIOms1gdM+94F0R+/suaNYwICuYUImzGm7Ds/GQLqhr/LIoY/7OzBXwgdOxrpjhz7FFx68AMGVikePGrNoNOwtlI6zRATQZK9vsYFSaoPbvFuGJgKTDNCeWWNnBsGzewkMeX8nbyFNIyLWKD+a+BsZgYcOtJ7rlpTEeL2mnhzZaafCSdLiNnbrzDVkl0Wbqi+Yajwua63SKccCNpkgcSX6wn2wLLGdQ2taCcBElaSkJBwmHWNKrYs3cyndBI8RJcfcqo7kg7K72NrYzBavWB8qwDmLorJEDq2SGQ8kEvjD2xCqftHl/z6W3uYCL5vEvqG62PTAukDdB0RfpZlHpFvr1CY0NeK83Abry/zwdSEV1HEUyddbGqnyQD5XLY5VmUvMli9hBH1AcLu9dXcifZGpVkNXOu+L6eeriRBEh9W3c8vlYfJDH8wJ/Z8KPGacVep06liudyJ2AYT92ylHbw/af+GZ2Rn6ankKqZ0MnJvQalnm7L/5PL3K/tMBVYkpJbD7pt0tOUAoovX8fn9VDE71GWoJMwLHTOzLOpBA5FqRUwufxO4C/ZuPVuQimH6XQdEHwf5p8JqIQq5eeiVdIBGtBFiFQ80nkaOSrZR55NcyTVDsnpMxOzt5hse+YIpZbvS5XyXjC6zwBrgDnyko6UNoBWNzBLbT9EcVjk++zl06x+5Dh/CySWxq9hrqELCH1+TQqU4JLIm4I/4U8u0Y8fTre5l1/zP9anZnSXJ4pRr+tmMBQq29fF68kQhDL2std3AGLFNE31Sh69ksgcBnB5AT5dDRZJD70akXacV2WH/nipATHxSISEt04YSrPAg7vovfGl2qnQnCrvqlzaZ2I+XikC1UbqDuvS7UCQ1NzOz4fJFI+hq6bgH6GoyjrtxR6F3jDRk/GbBGbbMMVZ3nEGI5JgZSIEPwsiyD47UNWZi0s8sl9Hjhy8q3MMt4jqGyeRGWcjel7ChsJ0mebZa6vgUSZODYV6tzbHCMYhyqBE87SScUDkxHMPefkXB7ZjKif2QNYE+AelI7oP3pSt2d2ZUahWsRr9Ij0Fm0YHsF2Odsbik/jOzub2Ky51D5nxdMg7WTjsKwBcK5HHQDi0/KWiTQmfF8BP1GVrUyNszWEdvSeOrUxIIlSJ+Fq5U26ClHHjhVpSUa0lt7gylncIHs+A6N6/WCLr4e9nQRjmIXZEvXJ/WhKjnGXoPYOjrrA972hDRs95DolT1n2kBedI17IBLZJAlArkeS0Me9YecGtEnPHdwybgKjd09lQBZaiA7c++UX972YLh4Vt04fWpRCCFFAyiBu31BsXNHTZXZzxgHa4VKfsPcND2VRDZ5hXOou+LtDbYCweajz8Tu874TLNUnKrLXWA+4Le9MrhXRzH0T8USDHshNsiCq9IHDecQfxYg1R/W1oe7xfogoLgNO/XbsCV+uFELvSOFejcd6KX/+Bgtd6Afd4L8idsxSx2AnB9/kzcSieI5hzsITlP4PIwGMlss4R51JFBZxZ2ajeWqoYi3k0yLDB/sbbyK/gVZWlRnXioUa+PjjIvyzrvjaTAc1y/c4goDwQ1Rz2zp3SXn6DsKcVyqja3lMfJz1p/96bXVnIdmv3u3Ecl5Q7Pj5NZP4NKzQAshM8q1uWlbxyEMVE3g+KBngh8OBZNxR6/fSX1mkogJG+ixS5A47NeIxnrsrw+1rSEqxyupWnGzIfdJBIAGyTkYf0PtB4weZcrlsplHbdUnbrbVBFF11aG1hH9w41lfO9gsWUFtnAsOV9qwwcbjZ2nf1qNaGcWPWX3p0YZCdlxV+DSdEN4At4NhBOToiJTKnTEJb4vkJBzqNA1FiYT7YFBHWgekTz+KEHMUpFCBPuGAqbB+Ao2nOlXWzGrUrSSsKviP5ka7C0pxnQKifzb9sZ1WCI/EJkzMr8NKiLy1/3bUB0riyfur7CP97RKmjhJDZ/Es4csbDlpWZWj1QJitQvMYpu9lIzPhAiZRRslAA8yqeiq74H+YwSLaGw3UVg7zYCQow1vhtAQggvbUXnrB4BUenhn1r3xuOgcK1GcWGu2dLokl1h6l5inNOA5fDhTWFXMDa6MFz79GniAMf2dsgNk14EUZQCyNlSR7T4oQLGz/stCCkHaldvUKnkLBPK8LLdNq84Roeqmx3OOcNEqI3qpbILhzwiUVnDZyXSYn/Nc400Eq5DSa+CmE7/TrRmndVJP7n5KB4Jj0HlXlt294cBx/jkvpNrzmM1lQGvrmYCtw3eyW3JVKJ2LK90YJz5AN5HItp7BXVFdVU6WsP9aO9aB7RKjH0kLYmc3/Hi95A0qGd+A8GRJHlx3FNr3aPWTP7AVvudCsWASnmcgWuNFP7JRAQJQaVy7rp8cweqHDF1cJHbSgzzgheiKRVPGVCpdquFeSwUw/e+ugEo/DUnFIkMK6lfbox0SUNLguwfmHb7+YZUgkQ3Ek3G+C5lQDSo/9vkPboxGkprKVv3QXkR17kZDF/0u7MrP4xmYgfJiNr3wd24frpSq+1Rh7iviyXC+6xJCV7E5y9Whpi2dg03ytz6qE7lX+oEe8n+/sLRPupNHfucaw1ujAl7DQcQTpB2izra0CzgT5vgnjiA6Nzidck0YygIUoz4wVSCvgjVKTZ6jvofyJ/d51mwJPiJauYn3GcVBO/wUF+jGou2TOatFs7iSbhJdQ+ucsqc1Nae8glJ7DrB6Dsh0QwyjklAhRnJjPD0W0L2NsQrq0uRgwgyqhS5oj+/O/Tl9tFKN//fiRou/dB5ma4MMvtpML4v0HQG6OjikSlCst1WMpnjoElULKIhM870Tt3/7H8LDkR/GseOYUz9XQICLPAMJrDpKqdFD4kjDs3jzc7XNkXiucMNohPD/sDbx0S4u0z57r97iWLoFgoTowt/sZwGRITuUZriHmy2RxcyawpjMoEMca+mpryxMrYwDGMJYaZOpMVMsYwxPFcmGfWxkBok4sVSAs5kbFDJQOTbBeMLVkr2ZUQNaKXbIucChHsSWyKNlDUR76fAWVX2lnRioCP3XBM/1+XVZMlLQz3AM0fdVtJ5TeQcI06eO6azCtofCb78spDxP89Q2s/3L8G0JL9/v7LsNs7DKKHSDpwpHh7E9FG/Q8UWySNztlX4ARjMO6mRCu2z0WDD+gvMJrqiimH3T31zWLLq2RU56bydRhPKgrBO4N74T9S61yBp9NxguxZbDT8fMgaKuWRp0BN+nZk7e6exZoKoFGBFUn9ZcjDQ/ASl3Oo74g74pOh9G1bzbcseWWVm/e2o1N5vgdRwdoT3lxkb0LaTpVwTx8FOP3bxqRC1iZCPdN6ost4i1BjCmopOXB/vuiOShLFueQtz6waqC/vtukkFXsqBNEEi5r47/ayUwQAVzojaioD+VnUh4dowPLXjnnL6BUWoki/rEPZwNG9/jURb6+51GGawH28Wk5yJFK7YPJowYP0XFFj3OsUrkV6qLMQ/lSwqpDY3EsKSV9K9mPb0YUp1IG/xNcZE1OKvRviLu9+JwEuxHXdHH5VjX4NaIi1WimomEVjgQC1WpFomog+NSTnqeX4dmwcmwMtKxXXXECkgm0OIncbSBjHACzKNbgu5Z3/7qvyCk/PIz7ey0CpOTd/aFKiqycDMJ8nWHZS274jNDLnuIGqkLlwkZUCvtLvw77h2X0qiRIrJc3tgK2aPmqY69TxJmv/CjmIGwPjCmU2OrP0/FtD8XP0aHddILAbI+gI8UVwGILJ3bM9H/WOod4dQAUbAHVKfOAAAVwEG6Tl4Fpp148qVFgWNPz+GNierbSPXCNSNhDLeS8PVJ3nAqYFbN5ruGdX3uI+A0X08iPW7VlwNGOYYepGQgxkbnb12tRAeUpd8Ff6mmlZ3Qx3zXc0ZCsGW2sXzO1eiqyyJzxpmessIDPS+b8hBx7CWV6TYhFEnq+8TD+X0dA8tPLdVhInHpDdJYAICO2ic/Cd/GycOsK4aVAbDHo1ok2XuKgAi1TGaqEYYmpZAE6fb3vGF5zJOIicXsv0xDY9Yi8IkjQbaWpf4sLB58kL8beOz3viPzBAOQUlgPO47glpWNBjCdM2YjzYBKIzgHpHOR2Wf0pViPEgdbBNLerqYAWzduCi7kT4aBOz7rYCWWwh5mge249ArfTLVo74Nwys0h/8I8vRjbLD2lbQlcOA2fPZaVXvf1J6VtPvo376wIcWVkkE8XFJoWNGfAcAP4XRhCuaHcdLQk3qloGJ/mxn9SWbEqjOjOkKtPgptpfc5ZOAR8bP6rRGbrHp0Uz8hH6JoMFS12b3a6P+6qBRRgs0LStn3eoLlTXStiyOHR4l0GOxJ3SrJR4gXetYt4U3h3urtQI0+t+Pkon9hEdAQ10hrFrCXb7cj03Z5FbNdpnrevWrXDgbasy30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140094" y="1268413"/>
            <a:ext cx="11716944" cy="4969556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btfpColumnIndicatorGroup2">
            <a:extLst>
              <a:ext uri="{FF2B5EF4-FFF2-40B4-BE49-F238E27FC236}">
                <a16:creationId xmlns:a16="http://schemas.microsoft.com/office/drawing/2014/main" id="{B995238A-E815-4B55-BEDE-EE44B741F42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8" name="btfpColumnGapBlocker891886">
              <a:extLst>
                <a:ext uri="{FF2B5EF4-FFF2-40B4-BE49-F238E27FC236}">
                  <a16:creationId xmlns:a16="http://schemas.microsoft.com/office/drawing/2014/main" id="{1CDEE9DB-CC08-423C-8182-453ADFA302B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tfpColumnGapBlocker550320">
              <a:extLst>
                <a:ext uri="{FF2B5EF4-FFF2-40B4-BE49-F238E27FC236}">
                  <a16:creationId xmlns:a16="http://schemas.microsoft.com/office/drawing/2014/main" id="{C07FD90B-DCAD-4199-9216-070B36B5E97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btfpColumnIndicator220941">
              <a:extLst>
                <a:ext uri="{FF2B5EF4-FFF2-40B4-BE49-F238E27FC236}">
                  <a16:creationId xmlns:a16="http://schemas.microsoft.com/office/drawing/2014/main" id="{8A63B388-4952-4667-AA68-924ED2566B5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168536">
              <a:extLst>
                <a:ext uri="{FF2B5EF4-FFF2-40B4-BE49-F238E27FC236}">
                  <a16:creationId xmlns:a16="http://schemas.microsoft.com/office/drawing/2014/main" id="{E2D8A8B2-0152-426E-A945-619D3B452BA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IndicatorGroup1">
            <a:extLst>
              <a:ext uri="{FF2B5EF4-FFF2-40B4-BE49-F238E27FC236}">
                <a16:creationId xmlns:a16="http://schemas.microsoft.com/office/drawing/2014/main" id="{E0887E7D-0EAD-4D5F-BADF-D89F5F97448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456268">
              <a:extLst>
                <a:ext uri="{FF2B5EF4-FFF2-40B4-BE49-F238E27FC236}">
                  <a16:creationId xmlns:a16="http://schemas.microsoft.com/office/drawing/2014/main" id="{1F66A2E0-F339-4326-B2F3-E940873168A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btfpColumnGapBlocker994246">
              <a:extLst>
                <a:ext uri="{FF2B5EF4-FFF2-40B4-BE49-F238E27FC236}">
                  <a16:creationId xmlns:a16="http://schemas.microsoft.com/office/drawing/2014/main" id="{E1DF4B89-8C12-4095-8EDA-1812EF08897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728536">
              <a:extLst>
                <a:ext uri="{FF2B5EF4-FFF2-40B4-BE49-F238E27FC236}">
                  <a16:creationId xmlns:a16="http://schemas.microsoft.com/office/drawing/2014/main" id="{00A1A74E-56D0-487B-AECC-0A299925DB6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59082">
              <a:extLst>
                <a:ext uri="{FF2B5EF4-FFF2-40B4-BE49-F238E27FC236}">
                  <a16:creationId xmlns:a16="http://schemas.microsoft.com/office/drawing/2014/main" id="{CA20584D-B04B-4B2F-94BA-668480C2463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tfpLayoutConfig" hidden="1"/>
          <p:cNvSpPr txBox="1"/>
          <p:nvPr/>
        </p:nvSpPr>
        <p:spPr bwMode="gray">
          <a:xfrm>
            <a:off x="12700" y="12700"/>
            <a:ext cx="116595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500342913428507 columns_1_132500342913428507 4_1_132500342913428507 34_0_132500342913428507 7_1_132500342913428507 5_1_132572778776400791 10_1_132597959374508981 </a:t>
            </a: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 has majority of job postings for technical/ field roles in New York and Massachusetts regions; Competitors hire technicians across MSAs in US</a:t>
            </a:r>
          </a:p>
        </p:txBody>
      </p:sp>
      <p:grpSp>
        <p:nvGrpSpPr>
          <p:cNvPr id="43" name="btfpStatusSticker443151">
            <a:extLst>
              <a:ext uri="{FF2B5EF4-FFF2-40B4-BE49-F238E27FC236}">
                <a16:creationId xmlns:a16="http://schemas.microsoft.com/office/drawing/2014/main" id="{F70B1298-D66D-4B46-A915-81CD265629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44" name="btfpStatusStickerText443151">
              <a:extLst>
                <a:ext uri="{FF2B5EF4-FFF2-40B4-BE49-F238E27FC236}">
                  <a16:creationId xmlns:a16="http://schemas.microsoft.com/office/drawing/2014/main" id="{F778B632-4F03-49DB-BDCD-793CEDA9F808}"/>
                </a:ext>
              </a:extLst>
            </p:cNvPr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46" name="btfpStatusStickerLine443151">
              <a:extLst>
                <a:ext uri="{FF2B5EF4-FFF2-40B4-BE49-F238E27FC236}">
                  <a16:creationId xmlns:a16="http://schemas.microsoft.com/office/drawing/2014/main" id="{76FAFC93-DF14-4F85-994B-11E71C39685F}"/>
                </a:ext>
              </a:extLst>
            </p:cNvPr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36DACE8E-9A73-4579-9029-152B42C2D5D8}"/>
              </a:ext>
            </a:extLst>
          </p:cNvPr>
          <p:cNvSpPr/>
          <p:nvPr/>
        </p:nvSpPr>
        <p:spPr bwMode="gray">
          <a:xfrm>
            <a:off x="10506303" y="1597231"/>
            <a:ext cx="1017215" cy="4550906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38" name="btfpRunningAgenda2Level456905">
            <a:extLst>
              <a:ext uri="{FF2B5EF4-FFF2-40B4-BE49-F238E27FC236}">
                <a16:creationId xmlns:a16="http://schemas.microsoft.com/office/drawing/2014/main" id="{E1C193D5-1DA9-40A7-9DF0-4045C469D8E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798039" cy="257442"/>
            <a:chOff x="-1" y="944429"/>
            <a:chExt cx="4798039" cy="257442"/>
          </a:xfrm>
        </p:grpSpPr>
        <p:sp>
          <p:nvSpPr>
            <p:cNvPr id="39" name="btfpRunningAgenda2LevelBarLeft456905">
              <a:extLst>
                <a:ext uri="{FF2B5EF4-FFF2-40B4-BE49-F238E27FC236}">
                  <a16:creationId xmlns:a16="http://schemas.microsoft.com/office/drawing/2014/main" id="{B284BC70-4ACD-4135-96D1-E71BEDF0FB2A}"/>
                </a:ext>
              </a:extLst>
            </p:cNvPr>
            <p:cNvSpPr/>
            <p:nvPr/>
          </p:nvSpPr>
          <p:spPr bwMode="gray">
            <a:xfrm>
              <a:off x="-1" y="944429"/>
              <a:ext cx="2630749" cy="257442"/>
            </a:xfrm>
            <a:custGeom>
              <a:avLst/>
              <a:gdLst>
                <a:gd name="connsiteX0" fmla="*/ 2630748 w 2630748"/>
                <a:gd name="connsiteY0" fmla="*/ 0 h 257442"/>
                <a:gd name="connsiteX1" fmla="*/ 2327780 w 2630748"/>
                <a:gd name="connsiteY1" fmla="*/ 0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8 w 2630748"/>
                <a:gd name="connsiteY0" fmla="*/ 0 h 257442"/>
                <a:gd name="connsiteX1" fmla="*/ 2576026 w 2630748"/>
                <a:gd name="connsiteY1" fmla="*/ 257442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9" h="257442">
                  <a:moveTo>
                    <a:pt x="2630749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btfpRunningAgenda2LevelTextLeft456905">
              <a:extLst>
                <a:ext uri="{FF2B5EF4-FFF2-40B4-BE49-F238E27FC236}">
                  <a16:creationId xmlns:a16="http://schemas.microsoft.com/office/drawing/2014/main" id="{37634B02-051A-4A32-9E29-B5A33118EC3C}"/>
                </a:ext>
              </a:extLst>
            </p:cNvPr>
            <p:cNvSpPr txBox="1"/>
            <p:nvPr/>
          </p:nvSpPr>
          <p:spPr bwMode="gray">
            <a:xfrm>
              <a:off x="0" y="944429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62" name="btfpRunningAgenda2LevelBarRight456905">
              <a:extLst>
                <a:ext uri="{FF2B5EF4-FFF2-40B4-BE49-F238E27FC236}">
                  <a16:creationId xmlns:a16="http://schemas.microsoft.com/office/drawing/2014/main" id="{C76C152C-4E27-4B0D-8D77-CD626E729158}"/>
                </a:ext>
              </a:extLst>
            </p:cNvPr>
            <p:cNvSpPr/>
            <p:nvPr/>
          </p:nvSpPr>
          <p:spPr bwMode="gray">
            <a:xfrm>
              <a:off x="2495906" y="944429"/>
              <a:ext cx="2302132" cy="257442"/>
            </a:xfrm>
            <a:custGeom>
              <a:avLst/>
              <a:gdLst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960420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54722 w 2067875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0 w 960420"/>
                <a:gd name="connsiteY2" fmla="*/ 257442 h 257442"/>
                <a:gd name="connsiteX3" fmla="*/ 54722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54721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32691 w 1532691"/>
                <a:gd name="connsiteY0" fmla="*/ 0 h 257442"/>
                <a:gd name="connsiteX1" fmla="*/ 1216681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124199 w 2124199"/>
                <a:gd name="connsiteY0" fmla="*/ 0 h 257442"/>
                <a:gd name="connsiteX1" fmla="*/ 1816204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4 w 2292514"/>
                <a:gd name="connsiteY0" fmla="*/ 0 h 257442"/>
                <a:gd name="connsiteX1" fmla="*/ 2237792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470449 w 2470449"/>
                <a:gd name="connsiteY0" fmla="*/ 0 h 257442"/>
                <a:gd name="connsiteX1" fmla="*/ 2237793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9 w 2470449"/>
                <a:gd name="connsiteY0" fmla="*/ 0 h 257442"/>
                <a:gd name="connsiteX1" fmla="*/ 2415728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1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0 w 2470448"/>
                <a:gd name="connsiteY3" fmla="*/ 0 h 257442"/>
                <a:gd name="connsiteX0" fmla="*/ 2749369 w 2749369"/>
                <a:gd name="connsiteY0" fmla="*/ 0 h 257442"/>
                <a:gd name="connsiteX1" fmla="*/ 2415727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69 w 2749369"/>
                <a:gd name="connsiteY0" fmla="*/ 0 h 257442"/>
                <a:gd name="connsiteX1" fmla="*/ 2694648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909671 w 2909671"/>
                <a:gd name="connsiteY0" fmla="*/ 0 h 257442"/>
                <a:gd name="connsiteX1" fmla="*/ 2694649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3069971 w 3069971"/>
                <a:gd name="connsiteY0" fmla="*/ 0 h 257442"/>
                <a:gd name="connsiteX1" fmla="*/ 28549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238286 w 3238286"/>
                <a:gd name="connsiteY0" fmla="*/ 0 h 257442"/>
                <a:gd name="connsiteX1" fmla="*/ 3015250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6 w 3238286"/>
                <a:gd name="connsiteY0" fmla="*/ 0 h 257442"/>
                <a:gd name="connsiteX1" fmla="*/ 3183564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491561 w 3491561"/>
                <a:gd name="connsiteY0" fmla="*/ 0 h 257442"/>
                <a:gd name="connsiteX1" fmla="*/ 3183565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1 w 3491561"/>
                <a:gd name="connsiteY0" fmla="*/ 0 h 257442"/>
                <a:gd name="connsiteX1" fmla="*/ 3436840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1 w 3491560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0 w 3491560"/>
                <a:gd name="connsiteY3" fmla="*/ 0 h 257442"/>
                <a:gd name="connsiteX0" fmla="*/ 3677508 w 3677508"/>
                <a:gd name="connsiteY0" fmla="*/ 0 h 257442"/>
                <a:gd name="connsiteX1" fmla="*/ 3436839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8 w 3677508"/>
                <a:gd name="connsiteY0" fmla="*/ 0 h 257442"/>
                <a:gd name="connsiteX1" fmla="*/ 3622787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1 w 3677509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2 w 3677509"/>
                <a:gd name="connsiteY3" fmla="*/ 0 h 257442"/>
                <a:gd name="connsiteX0" fmla="*/ 3837810 w 3837810"/>
                <a:gd name="connsiteY0" fmla="*/ 0 h 257442"/>
                <a:gd name="connsiteX1" fmla="*/ 36227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1 w 3837810"/>
                <a:gd name="connsiteY3" fmla="*/ 0 h 257442"/>
                <a:gd name="connsiteX0" fmla="*/ 4107113 w 4107113"/>
                <a:gd name="connsiteY0" fmla="*/ 0 h 257442"/>
                <a:gd name="connsiteX1" fmla="*/ 3783088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3946813 w 4052392"/>
                <a:gd name="connsiteY0" fmla="*/ 0 h 257442"/>
                <a:gd name="connsiteX1" fmla="*/ 4052392 w 4052392"/>
                <a:gd name="connsiteY1" fmla="*/ 257442 h 257442"/>
                <a:gd name="connsiteX2" fmla="*/ 0 w 4052392"/>
                <a:gd name="connsiteY2" fmla="*/ 257442 h 257442"/>
                <a:gd name="connsiteX3" fmla="*/ 54721 w 4052392"/>
                <a:gd name="connsiteY3" fmla="*/ 0 h 257442"/>
                <a:gd name="connsiteX0" fmla="*/ 3946813 w 3946813"/>
                <a:gd name="connsiteY0" fmla="*/ 0 h 257442"/>
                <a:gd name="connsiteX1" fmla="*/ 3892092 w 3946813"/>
                <a:gd name="connsiteY1" fmla="*/ 257442 h 257442"/>
                <a:gd name="connsiteX2" fmla="*/ 0 w 3946813"/>
                <a:gd name="connsiteY2" fmla="*/ 257442 h 257442"/>
                <a:gd name="connsiteX3" fmla="*/ 54721 w 3946813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760864 w 3892091"/>
                <a:gd name="connsiteY0" fmla="*/ 0 h 257442"/>
                <a:gd name="connsiteX1" fmla="*/ 3892091 w 3892091"/>
                <a:gd name="connsiteY1" fmla="*/ 257442 h 257442"/>
                <a:gd name="connsiteX2" fmla="*/ 0 w 3892091"/>
                <a:gd name="connsiteY2" fmla="*/ 257442 h 257442"/>
                <a:gd name="connsiteX3" fmla="*/ 54720 w 3892091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1 w 3760864"/>
                <a:gd name="connsiteY3" fmla="*/ 0 h 257442"/>
                <a:gd name="connsiteX0" fmla="*/ 3507590 w 3706144"/>
                <a:gd name="connsiteY0" fmla="*/ 0 h 257442"/>
                <a:gd name="connsiteX1" fmla="*/ 3706144 w 3706144"/>
                <a:gd name="connsiteY1" fmla="*/ 257442 h 257442"/>
                <a:gd name="connsiteX2" fmla="*/ 0 w 3706144"/>
                <a:gd name="connsiteY2" fmla="*/ 257442 h 257442"/>
                <a:gd name="connsiteX3" fmla="*/ 54721 w 3706144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230271 w 3452869"/>
                <a:gd name="connsiteY0" fmla="*/ 0 h 257442"/>
                <a:gd name="connsiteX1" fmla="*/ 3452869 w 3452869"/>
                <a:gd name="connsiteY1" fmla="*/ 257442 h 257442"/>
                <a:gd name="connsiteX2" fmla="*/ 0 w 3452869"/>
                <a:gd name="connsiteY2" fmla="*/ 257442 h 257442"/>
                <a:gd name="connsiteX3" fmla="*/ 54721 w 3452869"/>
                <a:gd name="connsiteY3" fmla="*/ 0 h 257442"/>
                <a:gd name="connsiteX0" fmla="*/ 3230271 w 3230271"/>
                <a:gd name="connsiteY0" fmla="*/ 0 h 257442"/>
                <a:gd name="connsiteX1" fmla="*/ 3175551 w 3230271"/>
                <a:gd name="connsiteY1" fmla="*/ 257442 h 257442"/>
                <a:gd name="connsiteX2" fmla="*/ 0 w 3230271"/>
                <a:gd name="connsiteY2" fmla="*/ 257442 h 257442"/>
                <a:gd name="connsiteX3" fmla="*/ 54721 w 3230271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069970 w 3175550"/>
                <a:gd name="connsiteY0" fmla="*/ 0 h 257442"/>
                <a:gd name="connsiteX1" fmla="*/ 3175550 w 3175550"/>
                <a:gd name="connsiteY1" fmla="*/ 257442 h 257442"/>
                <a:gd name="connsiteX2" fmla="*/ 0 w 3175550"/>
                <a:gd name="connsiteY2" fmla="*/ 257442 h 257442"/>
                <a:gd name="connsiteX3" fmla="*/ 54720 w 3175550"/>
                <a:gd name="connsiteY3" fmla="*/ 0 h 257442"/>
                <a:gd name="connsiteX0" fmla="*/ 3069970 w 3069970"/>
                <a:gd name="connsiteY0" fmla="*/ 0 h 257442"/>
                <a:gd name="connsiteX1" fmla="*/ 3015249 w 3069970"/>
                <a:gd name="connsiteY1" fmla="*/ 257442 h 257442"/>
                <a:gd name="connsiteX2" fmla="*/ 0 w 3069970"/>
                <a:gd name="connsiteY2" fmla="*/ 257442 h 257442"/>
                <a:gd name="connsiteX3" fmla="*/ 54720 w 3069970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2 w 3069971"/>
                <a:gd name="connsiteY3" fmla="*/ 0 h 257442"/>
                <a:gd name="connsiteX0" fmla="*/ 2909672 w 3015250"/>
                <a:gd name="connsiteY0" fmla="*/ 0 h 257442"/>
                <a:gd name="connsiteX1" fmla="*/ 3015250 w 3015250"/>
                <a:gd name="connsiteY1" fmla="*/ 257442 h 257442"/>
                <a:gd name="connsiteX2" fmla="*/ 0 w 3015250"/>
                <a:gd name="connsiteY2" fmla="*/ 257442 h 257442"/>
                <a:gd name="connsiteX3" fmla="*/ 54722 w 3015250"/>
                <a:gd name="connsiteY3" fmla="*/ 0 h 257442"/>
                <a:gd name="connsiteX0" fmla="*/ 2909672 w 2909672"/>
                <a:gd name="connsiteY0" fmla="*/ 0 h 257442"/>
                <a:gd name="connsiteX1" fmla="*/ 2854951 w 2909672"/>
                <a:gd name="connsiteY1" fmla="*/ 257442 h 257442"/>
                <a:gd name="connsiteX2" fmla="*/ 0 w 2909672"/>
                <a:gd name="connsiteY2" fmla="*/ 257442 h 257442"/>
                <a:gd name="connsiteX3" fmla="*/ 54722 w 2909672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731737 w 2854950"/>
                <a:gd name="connsiteY0" fmla="*/ 0 h 257442"/>
                <a:gd name="connsiteX1" fmla="*/ 2854950 w 2854950"/>
                <a:gd name="connsiteY1" fmla="*/ 257442 h 257442"/>
                <a:gd name="connsiteX2" fmla="*/ 0 w 2854950"/>
                <a:gd name="connsiteY2" fmla="*/ 257442 h 257442"/>
                <a:gd name="connsiteX3" fmla="*/ 54721 w 2854950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54721 w 2731737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900052 w 2900052"/>
                <a:gd name="connsiteY0" fmla="*/ 0 h 257442"/>
                <a:gd name="connsiteX1" fmla="*/ 2677015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2 w 2900052"/>
                <a:gd name="connsiteY0" fmla="*/ 0 h 257442"/>
                <a:gd name="connsiteX1" fmla="*/ 2845331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1 w 2900053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2 w 2900053"/>
                <a:gd name="connsiteY3" fmla="*/ 0 h 257442"/>
                <a:gd name="connsiteX0" fmla="*/ 3060354 w 3060354"/>
                <a:gd name="connsiteY0" fmla="*/ 0 h 257442"/>
                <a:gd name="connsiteX1" fmla="*/ 28453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1 w 3060354"/>
                <a:gd name="connsiteY3" fmla="*/ 0 h 257442"/>
                <a:gd name="connsiteX0" fmla="*/ 3336518 w 3336518"/>
                <a:gd name="connsiteY0" fmla="*/ 0 h 257442"/>
                <a:gd name="connsiteX1" fmla="*/ 3005632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496818 w 3496818"/>
                <a:gd name="connsiteY0" fmla="*/ 0 h 257442"/>
                <a:gd name="connsiteX1" fmla="*/ 32817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674752 w 3674752"/>
                <a:gd name="connsiteY0" fmla="*/ 0 h 257442"/>
                <a:gd name="connsiteX1" fmla="*/ 3442097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852685 w 3852685"/>
                <a:gd name="connsiteY0" fmla="*/ 0 h 257442"/>
                <a:gd name="connsiteX1" fmla="*/ 3620031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4021001 w 4021001"/>
                <a:gd name="connsiteY0" fmla="*/ 0 h 257442"/>
                <a:gd name="connsiteX1" fmla="*/ 3797964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189315 w 4189315"/>
                <a:gd name="connsiteY0" fmla="*/ 0 h 257442"/>
                <a:gd name="connsiteX1" fmla="*/ 3966280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349615 w 4349615"/>
                <a:gd name="connsiteY0" fmla="*/ 0 h 257442"/>
                <a:gd name="connsiteX1" fmla="*/ 4134594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517931 w 4517931"/>
                <a:gd name="connsiteY0" fmla="*/ 0 h 257442"/>
                <a:gd name="connsiteX1" fmla="*/ 4294895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678232 w 4678232"/>
                <a:gd name="connsiteY0" fmla="*/ 0 h 257442"/>
                <a:gd name="connsiteX1" fmla="*/ 4463211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2 w 4678232"/>
                <a:gd name="connsiteY0" fmla="*/ 0 h 257442"/>
                <a:gd name="connsiteX1" fmla="*/ 4623510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2728981 w 4623511"/>
                <a:gd name="connsiteY0" fmla="*/ 0 h 257442"/>
                <a:gd name="connsiteX1" fmla="*/ 4623511 w 4623511"/>
                <a:gd name="connsiteY1" fmla="*/ 257442 h 257442"/>
                <a:gd name="connsiteX2" fmla="*/ 0 w 4623511"/>
                <a:gd name="connsiteY2" fmla="*/ 257442 h 257442"/>
                <a:gd name="connsiteX3" fmla="*/ 54722 w 4623511"/>
                <a:gd name="connsiteY3" fmla="*/ 0 h 257442"/>
                <a:gd name="connsiteX0" fmla="*/ 2728981 w 2728981"/>
                <a:gd name="connsiteY0" fmla="*/ 0 h 257442"/>
                <a:gd name="connsiteX1" fmla="*/ 2674260 w 2728981"/>
                <a:gd name="connsiteY1" fmla="*/ 257442 h 257442"/>
                <a:gd name="connsiteX2" fmla="*/ 0 w 2728981"/>
                <a:gd name="connsiteY2" fmla="*/ 257442 h 257442"/>
                <a:gd name="connsiteX3" fmla="*/ 54722 w 2728981"/>
                <a:gd name="connsiteY3" fmla="*/ 0 h 257442"/>
                <a:gd name="connsiteX0" fmla="*/ 2728980 w 2728980"/>
                <a:gd name="connsiteY0" fmla="*/ 0 h 257442"/>
                <a:gd name="connsiteX1" fmla="*/ 2674259 w 2728980"/>
                <a:gd name="connsiteY1" fmla="*/ 257442 h 257442"/>
                <a:gd name="connsiteX2" fmla="*/ 0 w 2728980"/>
                <a:gd name="connsiteY2" fmla="*/ 257442 h 257442"/>
                <a:gd name="connsiteX3" fmla="*/ 54721 w 2728980"/>
                <a:gd name="connsiteY3" fmla="*/ 0 h 257442"/>
                <a:gd name="connsiteX0" fmla="*/ 2728980 w 2728980"/>
                <a:gd name="connsiteY0" fmla="*/ 0 h 257442"/>
                <a:gd name="connsiteX1" fmla="*/ 2674259 w 2728980"/>
                <a:gd name="connsiteY1" fmla="*/ 257442 h 257442"/>
                <a:gd name="connsiteX2" fmla="*/ 0 w 2728980"/>
                <a:gd name="connsiteY2" fmla="*/ 257442 h 257442"/>
                <a:gd name="connsiteX3" fmla="*/ 54720 w 2728980"/>
                <a:gd name="connsiteY3" fmla="*/ 0 h 257442"/>
                <a:gd name="connsiteX0" fmla="*/ 2571437 w 2674259"/>
                <a:gd name="connsiteY0" fmla="*/ 0 h 257442"/>
                <a:gd name="connsiteX1" fmla="*/ 2674259 w 2674259"/>
                <a:gd name="connsiteY1" fmla="*/ 257442 h 257442"/>
                <a:gd name="connsiteX2" fmla="*/ 0 w 2674259"/>
                <a:gd name="connsiteY2" fmla="*/ 257442 h 257442"/>
                <a:gd name="connsiteX3" fmla="*/ 54720 w 2674259"/>
                <a:gd name="connsiteY3" fmla="*/ 0 h 257442"/>
                <a:gd name="connsiteX0" fmla="*/ 2571437 w 2571437"/>
                <a:gd name="connsiteY0" fmla="*/ 0 h 257442"/>
                <a:gd name="connsiteX1" fmla="*/ 2516717 w 2571437"/>
                <a:gd name="connsiteY1" fmla="*/ 257442 h 257442"/>
                <a:gd name="connsiteX2" fmla="*/ 0 w 2571437"/>
                <a:gd name="connsiteY2" fmla="*/ 257442 h 257442"/>
                <a:gd name="connsiteX3" fmla="*/ 54720 w 2571437"/>
                <a:gd name="connsiteY3" fmla="*/ 0 h 257442"/>
                <a:gd name="connsiteX0" fmla="*/ 2571436 w 2571436"/>
                <a:gd name="connsiteY0" fmla="*/ 0 h 257442"/>
                <a:gd name="connsiteX1" fmla="*/ 2516716 w 2571436"/>
                <a:gd name="connsiteY1" fmla="*/ 257442 h 257442"/>
                <a:gd name="connsiteX2" fmla="*/ 0 w 2571436"/>
                <a:gd name="connsiteY2" fmla="*/ 257442 h 257442"/>
                <a:gd name="connsiteX3" fmla="*/ 54719 w 2571436"/>
                <a:gd name="connsiteY3" fmla="*/ 0 h 257442"/>
                <a:gd name="connsiteX0" fmla="*/ 2571436 w 2571436"/>
                <a:gd name="connsiteY0" fmla="*/ 0 h 257442"/>
                <a:gd name="connsiteX1" fmla="*/ 2516716 w 2571436"/>
                <a:gd name="connsiteY1" fmla="*/ 257442 h 257442"/>
                <a:gd name="connsiteX2" fmla="*/ 0 w 2571436"/>
                <a:gd name="connsiteY2" fmla="*/ 257442 h 257442"/>
                <a:gd name="connsiteX3" fmla="*/ 54720 w 2571436"/>
                <a:gd name="connsiteY3" fmla="*/ 0 h 257442"/>
                <a:gd name="connsiteX0" fmla="*/ 2403121 w 2516716"/>
                <a:gd name="connsiteY0" fmla="*/ 0 h 257442"/>
                <a:gd name="connsiteX1" fmla="*/ 2516716 w 2516716"/>
                <a:gd name="connsiteY1" fmla="*/ 257442 h 257442"/>
                <a:gd name="connsiteX2" fmla="*/ 0 w 2516716"/>
                <a:gd name="connsiteY2" fmla="*/ 257442 h 257442"/>
                <a:gd name="connsiteX3" fmla="*/ 54720 w 2516716"/>
                <a:gd name="connsiteY3" fmla="*/ 0 h 257442"/>
                <a:gd name="connsiteX0" fmla="*/ 2403121 w 2403121"/>
                <a:gd name="connsiteY0" fmla="*/ 0 h 257442"/>
                <a:gd name="connsiteX1" fmla="*/ 2348400 w 2403121"/>
                <a:gd name="connsiteY1" fmla="*/ 257442 h 257442"/>
                <a:gd name="connsiteX2" fmla="*/ 0 w 2403121"/>
                <a:gd name="connsiteY2" fmla="*/ 257442 h 257442"/>
                <a:gd name="connsiteX3" fmla="*/ 54720 w 2403121"/>
                <a:gd name="connsiteY3" fmla="*/ 0 h 257442"/>
                <a:gd name="connsiteX0" fmla="*/ 2403121 w 2403121"/>
                <a:gd name="connsiteY0" fmla="*/ 0 h 257442"/>
                <a:gd name="connsiteX1" fmla="*/ 2348400 w 2403121"/>
                <a:gd name="connsiteY1" fmla="*/ 257442 h 257442"/>
                <a:gd name="connsiteX2" fmla="*/ 0 w 2403121"/>
                <a:gd name="connsiteY2" fmla="*/ 257442 h 257442"/>
                <a:gd name="connsiteX3" fmla="*/ 54720 w 2403121"/>
                <a:gd name="connsiteY3" fmla="*/ 0 h 257442"/>
                <a:gd name="connsiteX0" fmla="*/ 2403121 w 2403121"/>
                <a:gd name="connsiteY0" fmla="*/ 0 h 257442"/>
                <a:gd name="connsiteX1" fmla="*/ 2348400 w 2403121"/>
                <a:gd name="connsiteY1" fmla="*/ 257442 h 257442"/>
                <a:gd name="connsiteX2" fmla="*/ 0 w 2403121"/>
                <a:gd name="connsiteY2" fmla="*/ 257442 h 257442"/>
                <a:gd name="connsiteX3" fmla="*/ 54721 w 2403121"/>
                <a:gd name="connsiteY3" fmla="*/ 0 h 257442"/>
                <a:gd name="connsiteX0" fmla="*/ 2302132 w 2348400"/>
                <a:gd name="connsiteY0" fmla="*/ 0 h 257442"/>
                <a:gd name="connsiteX1" fmla="*/ 2348400 w 2348400"/>
                <a:gd name="connsiteY1" fmla="*/ 257442 h 257442"/>
                <a:gd name="connsiteX2" fmla="*/ 0 w 2348400"/>
                <a:gd name="connsiteY2" fmla="*/ 257442 h 257442"/>
                <a:gd name="connsiteX3" fmla="*/ 54721 w 2348400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54721 w 2302132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54721 w 2302132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54721 w 230213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2132" h="257442">
                  <a:moveTo>
                    <a:pt x="2302132" y="0"/>
                  </a:moveTo>
                  <a:lnTo>
                    <a:pt x="2247411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3" name="btfpRunningAgenda2LevelTextRight456905">
              <a:extLst>
                <a:ext uri="{FF2B5EF4-FFF2-40B4-BE49-F238E27FC236}">
                  <a16:creationId xmlns:a16="http://schemas.microsoft.com/office/drawing/2014/main" id="{CB7AEBF0-AFC6-40A7-80A2-38E62B161751}"/>
                </a:ext>
              </a:extLst>
            </p:cNvPr>
            <p:cNvSpPr txBox="1"/>
            <p:nvPr/>
          </p:nvSpPr>
          <p:spPr bwMode="gray">
            <a:xfrm>
              <a:off x="2495906" y="944429"/>
              <a:ext cx="22474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GEOGRAPHY</a:t>
              </a:r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6F67EB01-2F72-401F-952E-E439788AC4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67" name="btfpStatusSticker149086">
            <a:extLst>
              <a:ext uri="{FF2B5EF4-FFF2-40B4-BE49-F238E27FC236}">
                <a16:creationId xmlns:a16="http://schemas.microsoft.com/office/drawing/2014/main" id="{EFF9A0EA-2C77-4E07-8F5D-02B69FBB4F2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68" name="btfpStatusStickerText149086">
              <a:extLst>
                <a:ext uri="{FF2B5EF4-FFF2-40B4-BE49-F238E27FC236}">
                  <a16:creationId xmlns:a16="http://schemas.microsoft.com/office/drawing/2014/main" id="{D96E473D-7556-4485-A149-A1C61F71D3D2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71" name="btfpStatusStickerLine149086">
              <a:extLst>
                <a:ext uri="{FF2B5EF4-FFF2-40B4-BE49-F238E27FC236}">
                  <a16:creationId xmlns:a16="http://schemas.microsoft.com/office/drawing/2014/main" id="{30CC9C0E-5773-434C-B4DA-3108F72663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btfpNotesBox194876">
            <a:extLst>
              <a:ext uri="{FF2B5EF4-FFF2-40B4-BE49-F238E27FC236}">
                <a16:creationId xmlns:a16="http://schemas.microsoft.com/office/drawing/2014/main" id="{3D960D64-B5EF-41FE-8C74-58549A63901A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Bars represent job postings in top 15 MSAs by # of job postings across players; Players with N&lt;15 hidden from the chart; series represents respective MSA regions, for e.g. ‘Los Angeles, CA’ represent MSA region - </a:t>
            </a:r>
          </a:p>
          <a:p>
            <a:pPr marL="90729" indent="-90729">
              <a:spcBef>
                <a:spcPct val="0"/>
              </a:spcBef>
              <a:buNone/>
            </a:pPr>
            <a:r>
              <a:rPr lang="de-DE" sz="800" dirty="0">
                <a:solidFill>
                  <a:srgbClr val="000000"/>
                </a:solidFill>
              </a:rPr>
              <a:t>Los Angeles-Long Beach-Anaheim, CA, USA‘; top </a:t>
            </a:r>
            <a:r>
              <a:rPr lang="de-DE" sz="800" dirty="0" err="1">
                <a:solidFill>
                  <a:srgbClr val="000000"/>
                </a:solidFill>
              </a:rPr>
              <a:t>line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acros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slide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may</a:t>
            </a:r>
            <a:r>
              <a:rPr lang="de-DE" sz="800" dirty="0">
                <a:solidFill>
                  <a:srgbClr val="000000"/>
                </a:solidFill>
              </a:rPr>
              <a:t> not match </a:t>
            </a:r>
            <a:r>
              <a:rPr lang="de-DE" sz="800" dirty="0" err="1">
                <a:solidFill>
                  <a:srgbClr val="000000"/>
                </a:solidFill>
              </a:rPr>
              <a:t>since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job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posting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location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is</a:t>
            </a:r>
            <a:r>
              <a:rPr lang="de-DE" sz="800" dirty="0">
                <a:solidFill>
                  <a:srgbClr val="000000"/>
                </a:solidFill>
              </a:rPr>
              <a:t> not </a:t>
            </a:r>
            <a:r>
              <a:rPr lang="de-DE" sz="800" dirty="0" err="1">
                <a:solidFill>
                  <a:srgbClr val="000000"/>
                </a:solidFill>
              </a:rPr>
              <a:t>available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for</a:t>
            </a:r>
            <a:r>
              <a:rPr lang="de-DE" sz="800" dirty="0">
                <a:solidFill>
                  <a:srgbClr val="000000"/>
                </a:solidFill>
              </a:rPr>
              <a:t> all </a:t>
            </a:r>
            <a:r>
              <a:rPr lang="de-DE" sz="800" dirty="0" err="1">
                <a:solidFill>
                  <a:srgbClr val="000000"/>
                </a:solidFill>
              </a:rPr>
              <a:t>postings</a:t>
            </a:r>
            <a:r>
              <a:rPr lang="de-DE" sz="800" dirty="0">
                <a:solidFill>
                  <a:srgbClr val="000000"/>
                </a:solidFill>
              </a:rPr>
              <a:t> | </a:t>
            </a:r>
            <a:r>
              <a:rPr lang="en-GB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2351DB8A-78CD-BEC0-8082-8709D9524AA8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917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mpanyRatingChart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aW/l41UBuQgoKx5QErs0KZKw+FgaBiqeuZN2f32xkETb/xhyjMHgQWbdFB7WCGjpfKxOsvrIXn2xkbXgi5X8fBG0S/XP6UPaQ4mU2PZE1DxATNfo4jCN5pg0UYQJLQ6KI/TyjbW9WZIDhhEfQ4TrmNckhHlHIcr1AGQxUeJ+v4z2FUIDSz+L+u3oXpi5Fq01h9urlVg1k509CoilwNxLXvR4GMZFQbTVEzmtYPkzuWVy4OVlzv/q2IfmsjvS2gRNAyKnN1+n9dpbPHAQXExRc1rQJigL/Fil8rYiqSyKyCPnQTfyV0S8HM8DTAo0bj/Dip9AXSlip9qr98F/Rur4xfXw+9drio59q49CEn8brdlPi72WR8wT8KUw3unfiwCzcc9vJT8qInNivl/y0JTXAmuQxpIkHs/8v8HdUNNSjKbVipvMc6q+xHLUPap+6gY2ct/MHJemAIbjk5WY9/h9qHyFzu3gr+Va9atUC1HbP5c/OwtAlMiGV+fmtE+/5EpxM+H7pN6UA4Ij/XzQ9Ek/BNOGMSYgbdca/IUoGFZfib1FPqNc1ZszFtt2eJh3/GJBqsKOy1i/02ee1MECTvM+32QBX5IViwMyG8ER0us6m9SdClF206H5A1oP8jQ3lQCYStshIiqTa4i6FdXO1NiGpopmLlzwgywiZvF0/ffTdLcm0/zhNdhWK2wUtGUhaS/nknDHpBPJo+EDZ+31QeWixn7gyxujf166HJrDViyAgzDu5pZ+Y4AKoyFL5PRUhbmFaYRu4JKrSWjbRKdMuEHXypEvUDXqtfB0eBG6AORcEqjjekqALTY0xGvaFQ45ha86YqNKtTBwqm012f1cgURvBz7DDE2sVPdQpwkjFd8okj9asuQARjO237vcfOFj+5fYqb6uWRjDt4u13ApGFDWhfdebxmCBKI8Fb3CX8zzIibhEssJQIgS54jXt6k9uyYVhZOdgG7MZclYF8gV2sh0fMRDznVw4B6LfbD8dXexWFHa858Z7FYUT+4ma6iElTwHjUk9IwuIYnW/0CgZGRherOVIScC+x/CThmOSHTOOkc6LZTdY8wWYPhY5NCY9UNKzoRo7uIamhw/DHLO2/jiq39alFKUsiRM45ZjYAKB+kN/vvGABESgWZCCqUZyG4s9mSXnSbcVeANpVrYzzjIuwCDvMK5XMe1bho724j6fhHtn3g+HL2RnqPjI3f3NlrBXAmKQnW9rwwxMoGysrQwSw8p/Q+oqIr13n1TK3WVInEg3n54DtMJRQdrodyaAye4jK8eeNVuM6AiehYmhvZ/9fH5sSI0ZfRuu75wllTAqmHXuYJosVaPAL0ubLqZnox5eupOUEEkhwA47KEUBKB2K41vp+9wuAxen7s0c5BKNZ8vv/2F06UtOBzZ8ZcuF0CZ3xoeIFhRS7NZfYihd/8tyz0qR1obwUEpM54lwBRXkAiCYfmR3j6s0jTog8QOFxF24aBO6p3e6wGbybNFAUagXl/3kre0gLJ3AJutp9de/k5ovQz4XFO0WjD9YS5pMc+pr4LhnpJyb9KXMsqPnFfAbnqgGspLvIEvLcbHOTEmLYOBATg/7mxrBwLM6AgrOhFnXBNbiFVTliwB0JrGJK7Tq21n8WgsjcW8liqSyRQk8VhczyNTHCagFQIGukUw5cTAPaF5UBCvaNqHpf363S57KveWSwdBcwQeY5sAxfLWXRzZ6A5ouHZeFvsHxaTgYTQz1bKsnTOV2+P61y6FHKl00l8j84cSk6P3z+apdJRSzzj3JhFaZ1rHi5Or+VIxVQKG7H8NuWrWxg0mXcUhil9oIeNAzRXQ52LVzmfKvCImcLt6T4I1jK3ZcYODEazKN99oiLgb2U8oM2Y4mJdQZodQ1AcJYQkfl44HAyWSsuY4Iyx+tatn7bOaEOewo/7UPxh2srW3ti6hD5xVHUtEd01MHzwE2omumV3krN4Ee5rekNmKSdPiY756frDUioZg64uYEMEfV1kU63DNiJJfVmxu87Lc+mkilloVa4wvExUU+kity7bS1r64bnKLhUd8H0HDLHgjsHCUSXuwybwP+QN5MDgVZXnUc33rHbopRkwKRrxv2r1BKz1ba5imCu3q291bOg0nJ/eG0u0LXcM5iWBA69M5H9CHgQuQsTj8uFHrO/pSmV81oI7VmjmrdOSKI0kRyU+HdlCOh7BHu/zPB6JxEjNS4ObNhyPQmKcT3J5Z5M8ke22+9K+K2s5oIvF0AkgOBRiWAXtR4474IP4lP8IlVW/AjeP1ZnE8JQCidX+NA8fHhMQ7p6IEyQUlyYvMROW9coimH8L6UlOg3CeAn7RTMQbf1KN47NevHvopAuUGO56jGeApJoyU9VIPo+wqLXqryaGAoq+DqCRq5oeheZdnNYg47/4F/lIhxtxJf2losgZ0kz2bvmBtUP8nzGLP8oKIwJIUKnF6bDo9fvvQ0jDW0KgjdVQT/GJHGxz/F9AaNXM4MVK1G2vkl0sqq6+fkcXqpBM2OxTV4veEJUQ5tP6//cBp5iR0igQyAYfpKZGGQ1p8l6v3qD0KK5MVQ98TQTxiG93WLJYMZumV54ogoKoau80javcyU25Bandc1FyfDJc4t8UJ55Dp67EMmna77tO+VUbR6Z7szXkOiv02tzxXfSDhY9Vcp4eYLQXDudox3h+owW725AP78/70RrbcPxN74HBZA5mG696OfqbUuSe7F4GAfQFK/1wc4eNTCyE5CB5lIqwYEq15Cu1Jq2xQP4RtEK9gyNj3DxKojK2HaCDAaN182pbD14BZ2AT/A+QRkKjOq6GN5ro2OBVeXJGuEHrWVv0z1xj/0rJg7hdIE2FuvdOBEYtW7moFZ429suPJLFFEn+lXvqkVcyQNDLGO0i8O44L+hJwycvPwyxmwnmHgBONWu/iY22uLtrFvtSyiJhuCTOwglMbvG/p8F8BFrohIAGxLMSLumGb6LGX3g7K9fE0a/wFZJt9bA268v3k9BDAv6alVMSLxb4xbmWUPv/Y6y2crAPb34vMPNa6Lj6oTv0beGVvM9DpA7eObjJzWkBa/TkGVdBR2+O+9Pp0qbIK8bxn1y8dun+EXS1GsGY3ZXNtBH+0WxwMDxrxAsZCbR7jNcXH72JT4dAEWTWjFkW/SI3a7k3NXrOyKU5Gx0N+xN4qFxVGsX1h3HaH+RbxRxumS/IRPsSyLqX9tE6/idhurFxJA6PiGjtsl9bNuQRB8dkUePGpLMgWTRC7/ZXfJGtiizRuuFO5EqL4IydLqoI3z3shhmHlaVP6QKu481LiAtNDBWQjtYNC6ef6QTnDTYvQmQ9KOV1nhPJ0TLKVf6JjvYqRqyHiLg4VH1g02ghXaH0lBVA/9Tx+dUA6czoybjpW/TYhZ/lnz70aOJCGFTi2tC9TA5MgUGqvD6BPQ8+qhyBDI9BzUcwUue5E5xXI5wH+uDiINI/vxX0TgCA4y8CpvEc0BSuAn/aucfkVUYw16Q5HE4ibdRBXQ5ywY7GHPijSqXPVx8L9F1C3TwLGPT4gU+y+YffS6N4v0iN0xmrdw3tB7XBB2IRTu0GFSzKTcMnuPKutXixzApBxMbDCC0nPNpu2+l0Eq5lbGVQnH/dcxRmdpOP9/nT0hCtukXH2RWgOkuVgQLNUSziCuFQQL4uIHj01jCMaVNne09YXzRY0jk5MQ9AkQ5HWxBPgaKjDHjPs+1BgXT9y2e58RyUBpYOFVPpA/RzNpMk3xtjTgRqRy54bITmKlpb4Cj+LXbEGWXdfCP9dZr+fwwEtBel6KPed8H6cpuQHOR05G2GtbwXZThKmfDPZAU3y1woHdIlYDzJ09u3n+GbJUV5ol5n2TpUnZzMLUU7gcRjULO0tWj/k5Mhuttz5/LYXYribqof+R6sti9RAKAdKC896mj8bb3I413jqn02wOC2Q5uBVPG0iccU5SHDRr3k7jDue61rQR7ugMsN+TCfqPsLq30EcBSHct3ai0UtsbQXOaYqjbrb13XQPPdORZyNr+8kE0mat37xYvW1gOceWpwQnGVf9TG3arOX8P8B5d4ucurjbmJtvB3wZgFpuFOhSJ++YJ+TVqWGQKTgCIjqzRZqyU11foImhvg/TdOqOjBfiY5rZiqpQ45uwBGSb4uudVxSsgPhFx5T2tjwMNaEdtGVjdOzL52kl6HKL/ihW/3YJClJCnxgVU1tQywlGo0yNmABGu+wN0GBNkDez/61mZV9iNkqVupUbGztsL9lGfjYJNLCDah2oHHF7QNxlb/VzwzUSEM999eL9s3OkDUq09Cz5nox1sbl4rWDmYon/aFWJEpv/7SrZAac0IX+3nuDlAHt+yj3UwkkSUD/5L/rzdr8mogWs3LjLaLsGAQcBlNIu3BHiUm7AAX/o1cHCzzKPvFBYL88JUyZA1IZZfKiEZ8bDHasr/ASIraA4WcaNSiMGsgekhbSv+d2fsg8k85blFXqReTolCOdSEpyk8bmAaGMawkmdOSguGFc9EmVwJWsK4UsqG67ffNFXX9CcHDUBRBOX01E2n5ygh2KsBpdvP/Ywgfl49kQeVIcbWHQIFTjhlyH3ClfiYmDiLDdgUT/hBMcA4Xm20OF+gxJ1dcAthAM5Vcb0i3YQJuI0hux9jOZ7JKAYMnRc7fJTEzZgsoJniVUcfAF/1ocgI+6+wgzbW/Ad8MMDb8SYx5YmkhUB6LYQl6+4JhQLF2XoeaYNW/MpslT1ynRq71H94HYjFUTwXcP3JU5DrkgqEoTJARAZeJPbwsvVn8WjbdyLLPnjKwZz/NwSPKynG+hYNvzl/kkafp2y668Cj3xH6Ni5NULs55PAzFA2utVCd441FflI69msvWJmPbVENzt/LJ/Obhsg2tCxG+21LMIr2+YumuesRYUpmcF9/SleVbUomf10m80YnOeS+LofdjVfYTyEtRrB0Zbug0YD65I31NPKlYMwM57esV4RdKlPvx4OxZ+SPm6K2/SBr1IIjrfiMujFQ6fmZ7hX7jOyxAUUxAurl7oC/3hLndo6aus/l9Qm3mWIbJNr1YmGbobCewd0A/kfcbKkxIlWgtqeUtPNw8wkcowR1NhXzGw0xBHKwpc5RhDKICntsbwFqjMUsjzZOn4syz4ODbiVu6E0bMAmCMRydsbKJpOmmxCbQVcSV/5rHSNPXyEhWHDQ/W1+/DJYNxzeOjbfDMJkQZvcYW1L99ByrLS0r8mz2mNY2XIRT0gDhPmAIYdsH+X6eLzSPsZPHyHiPE5uae9ZJ2oZaDEX72IVaHp0+hq3uCJk+SZo+O8rABWVmLo0Ego9BvR5CzVI/PPeq3dVrIYF3cH6c1mhG19vCpcGzppF32ND0R1uRf5kDRFwT1rW4cQ8W3r+p66jZMwdkviHVwPJh6X+mkCw69JB+Y0bpt9Y8fMxpif5oP1N9OIhtBUVC7qqqa0WqMU3KWeuGlNS5DlIoYvWd3JW1pgc+gRssqcrVjxAdR3kd0zVSlDKUVbM0e3xAqwzoJftH7pNCF2i4cQjMDkUO3UnPeXOopF4Gx0Kd/YvnvVZBNPbFUEsiYei1s4K79ljah/41DdZmIOAnvjT8OL2W1hzK7JnQ4sp1fELg62Rs31y9lINH6SqEcQgGGUsTfya/wu+oO5jjPKEFL1sCji5TUyCuYL8AnJhNu+ICaa6PmHMsER2Vkdw+hQNKm+CwFUzxaSSqSPptPDTqjS9yNxaV88RQf6G02EdTfITChiuW9kqxE6t79Scbdsw9H12yLGpEut8wnPxqfmqtLNV8I4q+uNAXUR4kHmUwyxS0UgQOykxgnSE4561NW1kPZHRE7xJFhNAMEXiRp/h7Y0D0CHUhLFPT4b+0uWt1qJLXEfFuCw8f7oJJN5q2B5SnEBkCZY/ZSSlHyr8RldOTzItgqXQJr4quUC4V/mM2AGuBFCk9FhAa84aky8HPpa0xOULX3uLHbSM1Sz0AgMXvO9TH/14cIKK83bAR8tKDGxb9HWbVRuXfbFA+AM99fWDtv0fSXEfJn2URSL8Xd5cPYGKoB+PYjBxkxIle2qTxO4svwWVoh+L17VmXvdURYBEa32E+6GRo8hjch9AayBkzwDx45bx9Bhf7wlxJpfFOOWJ9U2aBooNxiyGKlky+ta7TNSMXWvUfbexItBLylbqtC3LFTc3CiAgZ060e1s0z2SXVjoc15IMTMZniyvZhws/FCIhalfnJB01HEAc1oMoY/KNd6KXnFyT+KTzW1ZkQiuNrIOlyJjvEoJxqt9Qu/cyPe5c4/5pZMZwZ3WRs9xt0FqQyiKXUmSGFxM6HYab6fod6dDbR8psJz2pbKPR3d8LAR6dKN80MVKnblxTX8ORAUZdjam7AGSq6Tdj1NnABcgGiDS9To8u+DxtuDz+nNpVjLYsPMXdHMLTkviitMQPiQFyaBUxiVjshpnjSX+XsiZYTaDUd/iHNqKE6J3XDUCRT5cIbyJRQrV97pONyCKenyzlBKocEwX5yIOUrJI7qzz0qmhnGXcOsKAdGWsNWVMujFEOLe1+nAAxjk+9dC1anIJGwy7wMHfqohdPgogleW8H9iMoKjMR0Muc+nT7If6Y7KMBvOxIFQ7/3ea+YmwiYpDcQzw/sKYWTnHp8bZA4u5Kv6lFdoT/60BUb3vyTxjAvgfohdcWzisgYGZ2Ao1xZ9+7yvO/OwWVb+hfrL5yKRwLAOuz0RP9VQw67uXY0drcxqbAm2wHbmLC7b9IfBNx2qdvreMIWTSWTivsefIDgmacZk45cGmazO0ZmwaE5FPEyQYnaPbiciMpWrnzsdYxUwGiCSqi+6JDEgm+h/wKICouWkzlCtlYk5lpYuzRD6xIbpAb4bnP4OZS2rbTCq/WGS9OaFF5bInn6KEmh2qgjIBRpWq+F8CSbl0pEbCmK5qBdEoE5TUTJFlRwotaQFv5SsprYJF9HF22a+e6ZRiRNwfdRrRyBTmPhv/ruYOSP0HzDLD44V5/h8SfWeysyWHEuoTpqaHcOUhc9/IZMFJoK26+/SE+BjH3XGU3kks+cQgXfmnpefwr2ft4Wenu+kAuzt2cF0yoiEm5wb5arPnCF5sT6yUb4d1/9wY7EsVYwaA7YPF7FooxOpo3jh1hJE8u3ovPEbm2eGum3ylDEWnHfi1OMaSl5uHHldrVeag15/7P75TjDp8WusNNZsetQqYoy5obBOyi1JZ/0rh9NHd9cyAGst2Czg1N9ua6K7v4V4Z+7FAKOVjpf/kUq4ijQ/seW6Vsrv9QRFz4W6JrGGcrFli0oB/wrU3p4zJoCc367RYSiYhZ6xNIKbcz1YB5u+QTSxahx0o6H5e9ToDyMN94OnoEQgxJPgIIOGdQfq5aMWuMSEEmplcfPD/UfMDuEjR34Cargt4/oNXmabTB1wVB0SA5xt2ujtqTUs3Q7GjLdMq+dnHH9JBtpXsiWnHRnYD5d6VXd3E2qapS8TS/UinuZ9nv3uy4WqvS7FTnIyG1B1Vxx6kJ2XJkMv8DZw8OaL9HcG4xp0abxTqsqtupyuYJgRKjc/8WOciWLyVqyhahr8wPokfPoFJWmGiPdli0Z8sAfcW2TJVeltGIGlhssGRbrf9OgwrsEMdhr2eRSERaNPNVK2YRwGpqzBAogBBAZS4z98E2/I34UM2zjkgadvTsSzJw+fKvt9/RSyeq8uWnXzyl0IModZdeUuAXHrqPC4OWbtDSZLOiSn1A1ZvKaes8bQ1SZJkz7X09Pso35pRC+r2wYq+WSj75pJUE7IbZ+1CRWRdtpLQ9Tp4hzDS73eV17hMajjmiZvBxfcqU0MqCMBcM6hqSRo+Gq4A1RbUaMdQeRdfKP189zPmpZI3qYAjadrAeoGcGpgeqRQcoYY1jd7VayfhKElohuVCHl8aQ9UnyjKjUjNpfOnDBRR1hG9WlSJemoVfDguC88cTQYPduS0FiQO/r7vl4Ya5gwnHIWQ5gkgJM7zQCfVPArj8feFEKu/q8l51k1DX9j+mIMw2slypo/RTPSilfz8eR8A27pD4lZDbX9PdGCzzAWciPZDOceKdfe6tl29ODIcuE2L55He/aZqtGg78sh6y3+M1PkWRfJyC1fP9ASRig+Jeiq0bEcnFmwNvgm/4AUy3InXeUObonNId7ktpqWauD3b4uewFYsmXyGn+1BRfm7bC7aauKcVHIJn1Tu88XbmW+8LbTK4e11LLRC1KIEjYDUBtoC5y82U9mGTuzLP6uLBAxp+woKO6DkkxFfY5g01pk+djr/reNY0UbkO6u2XqON43rnBO6KzYT86a3yWHSDeM7JPIey4kVWIIPRD3deanbtFwOOWEaiQrEW8DktVAz23Z5xfaw/4zAt2jkc2/9cLERCKUyJkCsnMG8e1rdpHJNCX/NjGz414vz4If1cjQYyoIV6vVOBatyEjk3hG7Ax8y1rqsJbW2mT2yh49BZYWMDSUrVOqP3s1ZUjeaaaUXPjkyS1NLS2IHm59tVlLrosVqttc0cCZVFdFNnlQgSEJXDqFyvp/9qCOho46nI409PiHksNUJ9MxYKtUMRtmMadP/zIRydRImkNBx7daXJySzV1UVt7RcqhGwWsyLBgagrgGfI6jjmrS7CyX2GY5q5Wrh0j1u6NzqfQfziC8jfkeMxQiXvabzaX5ELNQJDzw34jcbV+vdJiuXAg98D21fccH/P/vu5GW5QUw/S2M+JrFDC3WjCvcAoH9p+qHolQqWUh/Qov87uGIwoqYHeWkqIDR+rYOUR4PMoEQwyI93imBHgSeWVN0WzQVC0+MgFk/SSjuoULpi/4XqJzz6DwdVUeHUBSxwBieUJ09CShLFdppLDzxZpR+ufgtfgY/2Juhu05ugjYV8oxNo/B/muQG2cxiqnDKKlEkVGiGWfoFCsNnVVRO0TK/CO+tksEdHnjmHOsPEgq0TAd7+BjWSVfW1lo5Zo+gPsGx9lNxAW7Ss1DPyeoCp7e4WLVeriXt8VlRYVYeChTDm/t4jiTxQROh/tIRSj8bORc6j3HtgiZWe6m/rIQd+2RfGBUrgJGtnzqDjr02tjcjZNWxAit0QHBPMLbh8IxDhoWJtKyHJ/AVSzSZ9m0XjuAii2/s880P4dAKd5s8nmQQ7bQUVhMfaZQ6vrWfp5P0SFVFh4f3PrNCYfst8S4nwIUElsak9kb2n+PsrgoT5agpvsn0KzC8dcW1wBXgiclPauD0M8QRT593+8wbSqcj1MNrOzxDuTk9w1YviNCjmU9OYQURS4MgjhD7N1xM160ukeGbAfjs2mW4AkSHvFWHkqaDAj30y35o2v19hfJ7Biv5ykrzZpraYWPFNSQ31H9trwBGrcqjx7B4ww180ZE9Oew0B7gPi7tl6F+FQb9Ob5bCZbw8uHsD/PUPevqvV9dKGVP/dfsE0ZAyFttMiNdpkftl0sQuXll9NWgKsFfVGRX1DqqmiDKHiLdFg7flFpRXEOjYJi9oU5dm5QwaInJVortwzvZJ1mwvSw6fhQCcfFWYqK0kuz7fV7aPeeuZSYtiQFkfML4R33MWsBG26Tv3PXsLnNS/YWRr0yO04OJC1+27ZuL5D3EEIWCdqe8gnjUWAaO0KeE+su9DNj+zkTAvO7KiK7xGbl8bU9S/XkXWFzFw7cgU6QQxjHUYkOrY5RnD+JL23l27bX54Ab0JXq0vqDH+Yr00X8mZD2fbUraqs6C9HkJioRKgd1PkiXxsxB4oDrHhZdry54+5Zz3xRQOLa+fBbypWqq4UbxUr1+NsufU06JTT1cKyCQbTBU3X5roHLfMTaO6C+pmSrn+vsuLWyGURnYeZStWFu7TUneQkTeMLMDRMsmaIzzJ0DtOz4SOak+0/DjsafGTpB7NgwdqhjQoqKzRreK23YAF630DCt/CZM00droON1ETGWve5UYFbfLZidudDguh5qa5KcLeS/eiTKW2ZV5eKK0Zc1LA6u6RWwQgA0Y8xawuH97pST0TNqjheTkHsTMUEByqVP3k0MOElVkheJ54LUzisJCjs/wQKc/HBaX2W/aNJVVuLeDaS/Ulbuq8gClSLiRNsfIxICAEmRnjnZ/uTkEs7ggdvSAT0qaYygHNicIBhgyjfqS41EIOYV++fFxsnNbSgGoPPOFFIo+Dy1X6QgdANo8dHdV/HFT0nJD1FKcFQNEiZxvSsVoYX1qXTpqCt8uoYs4oyBB9UuUsaJ86JjXTrZZs978t/2FtdboaERCaUU6rKzk4PJwZ1gVQoNI98LDM5rPLpgV42fC1EnArCjxh66tUDV2T4HjbpG/omB/zu1OnX0fsvDtj2C8asT8uF2tm4h59HfNHy/3BCp4R495DNzDeT+d0GdKNJy4t0awjIbPYEXk+EGztLhFkQuQFwZ8h/UafeF+6Xu00yKSr0hP+J6qr7NQ6BtgHyQAjGEwpjA22bcshtlYGbPhnvO2TW90cm9DyOVVIQFdsfNNfjuuRalnB+m1JmGgmCXBw3SZw7thn0O1/THFNBzIgNIR5B6nxwSfMM5wzjPUErcRMnCb6i2Df7QAVpYFqF1EtgNFFs48VNha6+383SPiglOUFZ/jCObRmjCSxoIXdxyHgVLNWg1bpnxRt8XB3MP5iMgkM4vPk97AlWm+nHZWIHJDmN54xRhfbSxYqlvJuPy3klD+I+O+dQnWgFbmAUiDiEfYAHeDl0Ivr7RrSEt8OZSVNGNAynmIJ7kZsgQmXWHqHcn0SJl8Z9c++ohMrsBgFtHCsz0wJvQJXnLKNpek0OQs+AXVbefOFEgQFHvYVa4HXvN37xqhsUTp2Yj61BV8urIGbUpY6uqDJNCfRg83ns6nKSWcbUxDC1eL6HxHeYpvhtIbNOq6g0GIoQY3/y1B0kU+QmES3v0ZXwlfj257zQMb5M931SH+d6JZZuybHXcQmI7agq+RUH9xtzgZt8uSuvGge0QNNB2UUEtWcnEjKBKvSk1yKeUfzpnTTHxsG9hq74CiiCwg/NRsW1DEeUdJi7Je5MDUNqiwtFE8QhMDxBKZhJQk4kxgSuiJGr8aSd9RaVk4gVFDBxXLJphAKH3NhC6HPAN+h1P3Oeo/jHssqvqpcnWRWX3fczjJP0jGQFI1vYU1GxLiKpTbvu/EXgP4EwyT+FAgUBeuhgobWfhzm8bgnSsLQdfzH55D00/6D3ySKbfuweDUKZWuB+IyGIs33c550oPFwx9ylOBWQUJYCV+8jmavId/av4QN/BRovcuwshWCR3evRihvZaQqPZL/kYTRQbliuecuPt8wbRBe0FBt863wE2trWbr/MzXjxGNAp9sovvSSJB7xYAXPQs64BLKYP9LSFUmpIrPbys4PJH7/FCTA+0MkppHMTfQM0FCcRY2gnIrQmKcWwDDnngqeuU8K7NklvSoQflOMv2NbuIn75X0cUXv03P8zpNimhRNVimWl3GPJfD/hU1omvLJhMOSsU6nHFUIJpWoK+Glripy5MRSyRdxTl/TzksltTuL4KtKZaR62PiFCBweBNKnvs9+tvATAHCybzlsp1MvS69BiJgzMGcPA4APDh+l9df6XyLQBWRjUW/jfhtDaHRj1+7py1R0j/itejPm7TxjdCDW16KqIFfXQhJCuKHV4/mCiGttcGnRQzT0mma7CGGOdu4YmC6yos+1m22mBbbGHdKermnAo0UEDK8PjhHd1jfi1DOATeulQYTeDy5FsYtogFG3eBRFO7k2Wj5jnhyIjh+QrtggAnb6WqlLm4zihwZtzBEc+Ps3LCTMuFEGG8eOOIRMMN/HLkQtBPjANPS/QAPTc/dV7PY8Ih3jAWhDnK7jos5+alf/ndulKwP2/nThhOotEmLvZvHBmHF/0zNAuIkzlfYOO3LoiuOoWOo2pOnMkyQnmBnmfeUnapqdH1hfBA3yzo6E7+vYzRkuNrzl5Nx3H0X855Ux0h2p4nbC0zQHvlX/ZSARtLlfBp5TZ22EPYUEecIIrP9z64IVNLwsoet/GwfVw6Z144rfsjCNLE90pOxGP+xvNd0W9BhynTKSm74418Aj4jV5/RdVY/hKTfLKb1ikm/UGk88tmVWcjz9g5Qyr3Xe5HKtS+2xXitXZs3zt/P+FzdYQxFg4CPojA47nnYmkP2rHEOGwIQUdz8y9juyk792bI4pvjQ3D7bT9ToUkoLul2TOR4hhRA3OiMLv5+61WXJe7gFUmMzDTsV14jJRBFNwyKlR/SJf6uDa9sfAFC7RrNZGhBsbdqpHensEkDy90jVsjK3Pms2Bn1u0pc1uoD9JkdsQG9w7/SDBAxLAes8qu9EY8AzrxwdE9SLbhjQehyVDiPUWcvtGTZiVeMVDelPQ9/jiiNHG9JqnyDWGkp73gGo2Wy2c5iwqD3ZYx+2KoMEAxdPEqHjOQn4ExaKhlYm/3KeSdbC5JcbsxlTL01nP6pbzMEPVTm3Y0qK982RpIizb2zIy3q6ishcIHJHPqF1uSRJgYVnACLWSiMGVIAGaUp/QDDogvroWYXrqrVwm3F8eYy0a9AlUhjAkKWrGjieQm2tL6YNJdKQfeHHlBfBqZKwp5mIns0kZkdcpjprMC+h2yViita69feEpAJHA8ggdQJjhm/IDVozr5ItQshv7yZZaCbVB1ZZ5Xc5wBjElrlck5ARwgVTrNfLwC1M8Gy7h+OWLNoxLvcWLGm4HgAmORhUuz7YqVdWHkkFrihHx21IaxtbSZWGTx1OZ2JZ4XhX/vVWiYfSouVTzWdKNJ5248iTIQb2jiSwRX3LWBUW5VZsMzXU3qfoly4HlXRCPxdN9W9pauHXgbe7pv6hubQbefdsWBgrLFBFK53XJsbp7hiR7fMB8/gbfd6S73iwygixQdBwO/LQhYO3e7JjDuQJcykCymzFfggdXZ6LPsOqHrhxTW6pRWSqzxsEhzoC39kEh3xESnHhK5+xtPLD5Wy5rXO5LuqHWF/xEZGjxezcxa/SpfsvPlteGczE+/e32TIzdfcLPnljGknzR6hVSnsFvJZTEmNX7yKDYqY/e9BNFFcdNhi+jB3IOHHm9ii13Y5cZRQAQHQEMDUHfOgEMNWAW7CAsEmM8GItNqj6XFPNfLn73u10xXPXpH+i+30d764MjCuCgjoLfsTF4yK68a5Gz8T4earvYLP/b7ncGpqAfu+jNT7OwIz7tYwScRvNe/Ia7SDbpiwrpAW16fg3Ft63rJOIBnOXglhZi7Y0svaDQl6DMHaBxfOzUs5y83U+kdK98W9CbYxQ+3hnVwG8TxxfOxDEctJ863UiNf5T4eNlkmwPulxDoUzhyRQ8cvotavjVY2IAbCQE7/cb5FMiR72BhACEHI8u5d8wY72GPnOKkc8FlZ94BmKH2pAFZJ5zrLMXSSCUPgjbgOE+yvDIcGRcJPTzWbs1NeXOfNSw4tYVRfqXX0aBBDq6r+13Ke3ECxdHmhrMWhTUGlM/huVGM07QIOuE4yIzAxbitOMBGDSUO1pJkIfeGrtS8+ISFSyWfhXXqZl1yAAwXD9Tgmb1UtOKmgz0H6fY9JQmR/0xwzd2EzpoQWgBDR9VB96MdMyqCJaA/mnh0H9C//quW2vFtbaq3fdGvMuJYhZ0evJJvwqGDCk+iYqUgG5JpSr79fbu+HK2He2gKAP4jHI7hHW0zAlVPs0JyLaQmhqQvbWsou2pMKxhkHlpHola0p6SI0XcMBM5UWh+lOFWB02LobvKK0Y3h9+wb/ejGWIH2bNg/a6qRKSSOHddwgLjQFlWfH2BuuV4WiNIvAaT28X0CP++19GqROFQvrJJX9QLLyaSSnADpY+svNc1b5BMEthEA1kECNvYIG43UVUfMO51bTtGRlYt9WW5h8f9B2dv/1Xqi6j19nMbubLnp3CWpVytNhWbzKC0OoSoi2oJuPrj/iQzcoUhgpasTK6MLp7QxL6hYJ5jvdSL+rmgB2G+4dvwTSLYH7NsAEXhfa5vJSJgdD5Mb1qneRDZbJ3kvhOLr1hetRjbvPWGP3Rb2gZHN+3+lQR5pHDXE7ILma4ZdyRJmyBTmJ2lGlF34c3IpKSEdromiHgzaeIqlP7Oa8vZFkzxTtgraHkZwvNGI1JAvcnIrwMnZO5q7+aCAYbqD+EVLLYEJKsOppxo9wttJ1vgucvO2SfIOVF8Qf9GgEVS+U6j0QyhTTt+2EHJjwgEBRZH8cOf1ExtVxdjVpfOD1rwtrIMQeh4B3BzjPK6mltrpxNJpEif3RCom+WkD1hUCDPdYrISPEaA+b59U9govs/FWBIk/AdOWLv41SnaLn4uWFHH5plN/RlEVr6ZRAaNCPaQUTVFhok9QpNUCW4n2l0a8sjgT78U8wwcLthUFa3SL6yYyTFctKY1cpqQHldIyuBZLmRkykmKcu+cT6Cz7QO774zL8Fk3nNwJp9q+pK06gz+wLqoSetGATvbhiZ3qPWs376HomUHYBcuhcEWyn3c0f3XR/TZ2BW2DrrpLNf/Rm0x5w497FdSoZScAPgjvCo5P4WQKA95ZI/4I/hxf1a0IMbYq5qawzYGXHUPJPVoFDc5eSvNuK0TfbYXZdpoDgIXOnKvUXPj5MnPij4R52XC3QgTdhq9B+AodagmDEQo4jaFb0sg1ua+jKZC+/kxEaeiBKeDZdmCccoEvAOZ7SESwnH6tnsz2WyGw/qdiUFjNAu7eutTiQzuTjUx4wg7GngbPOvNBToOBWEbhHR2Mk/6H5SSbwMJkGNHmOXHBWWAJ8aVklHZKwKSdmDL0TBF5HW7uFxhQRPyLkarpeQWpEhO+HgRBNOyxxWhgWRKiX/AsE/1thU8qViVtqEk1eCUHUZxi+7aqBTwr4uPI7JBh5dpG+SYuo3MG5khZhpGrg6tzC2bDeuLeHUrNxUYFMibPKAWuSffTJZtxRC4v+h/kZrJX63fwrU/eRNFCPjv6U87pWJi33WVooPmg4btK78wbsOuG2D3SuKlHZ695xd/Uhq2rbXem/AUnvenAuWtI4pz1Qld3gtQNF3qYilJdoBC+h287aNMWIFxMOhwzP+5FvvKcOImRXWnEqETUUysBIFuvvEiV6bLIjnjcTG4PzLpVrCHnK9tZ6xtU4sUFpK+3rclT3ypNHQ87e/XUhAuJDLMhbRJvXO6dswBx76LsFJ3dNaHK/Vnp1jZPKrEXuPc7A+JasmrRX+Dp3VyjUpMEP16QIKMZsybjQd76N3ROuhgkO5takfSsETxbO06OazxM/rt7HeRx7dacdH/7O6SmDu4DqhIHMtCoLOYP0J1kQd9Upj4iHAH5DD+e0ZB8hqTwbk33rAhtIoUY42vRv0lk7noX25vd9ArfS2LToqmPc9J72gy6Ct4s1IPM3ZXisnoPD3lwYcWiBYqxHdck+WouSk/vSH9rrEq47tlO0QbMkRKCV0tMc/7nyS2g5NvgjXlE7cOxVW7COIx7iDlYPWeIGArKg5iCJbpKVkNaT168vSbrs4jAQwQC+W/p+IZ16LBRVTa/g2mjxxouvbFYKuMC1P2QE8XjTaimrgpCNwDQcPAxV0fyETVCf/DXsXyeKiofO9BSMgjhHz/90fMDKlFWByAwmyLHJvmfN9Qk5MCSWdPx1wLDj3LEH7KxrDObES5uHJXLQapWIm+iMUiEeWboE5sRZyyn1SZImCgC+eUdjE2kiqOxbPSXzh9zBcH5TLG3PU1jQMbxFF94RbvfKZuJBE54D/MErGA8m5KKjgW++i5wvrJxofFUbtAisv45qZuzsTHd7goMp6XMqg82FAvKO8jbSSpA2x5fsduoJwEgzAb2Z8yHqm56ZxPf/StiKpCAO0OjYDeILcDJ8ZYgkWndpZrMQGrwF/4qo4hP6gRHOH8ZxH2qF2WkUcHDn+rqkSfS4XNUcTnkYLhzg7Bm6gbh50g9SIQIFvor7O79JF3x04RFw91YeGFmVNi2F35fvzD2OVVsnq4naD2rw7bDsZ54RO9WR4vhp5JaU3+pcJ6cCdO4vxSmSgB1jFnKNkWiXhCM21rVJDRl1o3k3/uok2Vz8JhThoVh5SKlLgktesUQxNPszvcjbLmCuvNJdQuytlkKsipxAGIqAM0OL2U3vMlc5FJPbrTA6cMfZudZkien1h44rW9+4lWR3Pb1SVP3pN/SxPmsR2gPMa/Jed10ghqoep0RnYWymblF1hnBmX5Buoz+kqphv6kqm9ooBzezE1Dl8Hli+8C/9TIruV3OEF4IwcHjh+tNqoeJkWon/OyCyn3TotRdG5SWfPOb8DX0r4KDdTwnhFHyJleZAaZScOrYotHq5jBvaRFcs0gWkUp7fPnrzW4fOnckTkLrd59MLz+oyvfrHvSsUF/mUAcarhYCnQ3jMKjUAqvKm+sG8zlwuxilO9Te8Kqs4Nd8YSfXQzLe7mXBoCFXN3kWEzvGUwD6b8pOWo7OqGeohJioCOtWbDis7ztJUOsuoNrbuH8UcZdLGFF0pOpzJN2iq+5YTwEPx6jgZ5oNWSC7WctELm3Sw1hilR1srn+tjESS813RYjfOmvN3724os+dN8ERifSg30dXlKgnwygi/vawQMVkp5iiFvKZiNLwKcViUy3enYxSbvNf91vPE2lWd/MQS+2X8PK7bVb0GL1S06e5Q2jAaD09RRA/iQ/ni2PA/pF2bbyohJc7aMMMQZdfqcftkjSYisWYhieV0pHKC118HsfQW5x96wJrrl6EQaf7pcWVBtcV7KGG61EvqClluTU4YWReaypVMRDzWGA9/So2sl6C0FJFv1MTUeXYI71oyXOuemo4sxKe7NvUzxVJBkb9K0Cver7Oc9yKhCg64+x9epRmabxkls6rmizx5i6d8Wd3CUl9i55taYIV6N5DggUf9rE/gyPov1kenkBHTPCjIYqFW2nxMiw9HEohDjAa1k/5/g5M/oHw1VMiuVlerQPeLnwFeC0YGzbNEIjhUd9cFIaAJZraeQOe7d/ZetEpBr2tryMQKG2G6ZWBXNJElONnHAaN5z8mvv0QFz2rwJR+uIyeEHnz+NcvyKjG/nvRvfscdGXOhucb9YOuefgHZGeer7SH/xgRVK7pV/V+fcRJC19AzRA8mTWcpvthnFe5S1eGhS7p/OStaHS6SoJPy3N3FvKz4RR+G8eydRGLWvytIqYxsz9+6lxf9GdOktxunw3vV2EZpkD8FdqDOFe2v7VzRQfS0RBHEX1vudKkkaIMqZd1SAdrhGw28ajnwwFIhpOhW8+rLYZvcNoqXMMH90d10qoa65qC63Y6lC+1+12aOCjVDEQD+1gdCMWGpdgIxoFSkVTfBgtGptu8c/X45oC/P5dXHiZh9CFbnnd0WWWfPSQITP3yv6rGOmedXdKC1q8c1bbeflUFlkvXPS1edlELGZBJGNQ6z7+R3aFPncKkNPgAR9Xp6LepDsxq61GScQxLkEEPcXPAC7KMdZ8pDlWN2H+gkTcCGiFnRfTwP8soO/FMHBGdK4mXD/PmTOiHhAiVneP/nD8yWj2yWC6nHhBU17TyGoVb5a7XY+D2P/QyWQaio5EwaQq5NpT+/bHwEWljjGf2HWqxkLAvookidUdQIjDg02CRFHFVGUIu80wnSI9ixwHFu5sBitjqv6WjSNsFExSsGkVfRXVxQfdMKwIhFTjuo/fSf84CcVXWqoEMafQbKVoyYTdkg0xlmDWOR5nK3+cyRCnjTVQjMaLsGiw5i1pGBl4a2tm50tQgeC9DGWVdi/msUx2is3ZmyMBJm5Fqh510n3JTr79I2r06B3gpOgMnTD9t2D2liJjzo+a5T9V9L9vyTeYQW+qt0Ox7q/tvdHnLoL3RWDlu/yFIhd0OOav33gnQzVZAsyl0JojGys368q9+iM6gFTBVH07OPWfXcrBzPOheqhUk8+vizrxCZsEaTdqub3OjEBJG4OXNqGK27XA4bag/u2+J+NsCWQlJNL32WblMzQgYsFTb4cd8xkP5rlA8GFOJUNkBbVhQcom3eOFoXA2p+bzDOWdTEVrkktxUYFA+/xOJvV/M9qxa5NcFhcTH5s45U62oTtII/u9vTpGBOTKBDPfIX95I0nBWSI/cLSdhWLHb6OI444M21q8zhn7Qhi3nfMRtlVBd3U00QQOYpo/fq21dIJAjf38fssV8Zx1ADXs3iXfc4BJs/yEzrdF+/W3BbDegqGnNZa48LNlmRXDKm65vcEmv9gqbD0u+BZicwFWKjb5HKg84wQbzQuRlTkvTmscoCQm/YPR67Mkh8rocVsCgtWtiQLpcj1b7wcpdkmQtlFhUCAyrd7ga0fdGZPOVJOYeHFScy6VXUvrXFkn8EF970OSYApm6kif0IFNFCQXajQMxu1vpJCkOXH8D3fP2Q4LTN5QrcAw6Qw0EIrWILr19P1rXHFgLiWQ/r1LYXG2VWPVa0GrNZBAuMWOE+I7eDXA+W42BwaSg1GQ7sEmwaFFMQoX8cSCSQx2IhKnJhXtb5GmLAsidzlVRtwfZZNQv57V90b+khzK4kEuH12LFiFt8RWMDRtXcH85P5UfzzNDdz4h47hGFU6RpPtlvB9MGZMrBK7VALYjBVGqNGZB1mnbwdPrYqMIU1JwMwHQUA4XzXFHBL1EpGpiOO4m9IkqK2CFzJ97w1d8SfZR3meew1eRZrRl8pvwx9nDIPsDgwcAYaha/ZK60cKfoJXhRMYkZ4hpBXH4xRTkd6OSyfz+cFFXgdDUxGaedCLCiQ645d0aJesOvZ29NXOphuR8K8c0H/g0hydAhqmMI+zecsemtQX2qHKtssRC79MaWTq4qbaBFfgT3Wno1XW9iLRiQ/KZ5NCgXTLhiaGLcV9RcysH9XliUHl6mqQc5+BpFF7sHrbXu8M+A9RF6glO/uM/DU92F72mHGQEEBmLDeLW4zxYNPaYfB/hKWHfUy3vsx2qxOuI22+tHBrWpCRmopoq62gEuKzf4L+4rsWurmOq/9vU/gH0sIOHy4xukcJdIMkcWdi0I/t0DOVu8hz1ziXRa4RMocVUPe3lgsYHPxWmbtEoaUgZMIGhaQGaXypeJCD05yipDpwruq5tgBZFrHm3KSVHhAi9OajAF5/7JqIfmTxMOBEHeb+xPn1F5k3+GSqmz+h4UZC3O1UETW/UKImwZLH9SZYL0TrKwClkbEyOSRPRxCQUz+/tHdmf89pe3xhkMxYv+S44hfNNanx4465d3h8TDBUFiyyTogdL8XvBoRBQXHkzYuN0zCEClU33J8Xn4wh4hhSm+//OzYJRwlOfk3jtkSTXQIIyI8tEmqqvu2CpASB8DwvZj7GJ6Ac6HGNUKfdgEaDr39cg3lPb8Ah1JiPa84rW+xeqK+poZN+Rr+rlR5i4WIVPsWyBMbtHIpeC2ZcSpzpyi8y13XP/bnDIMFOyEkOAYqfqc1DYzJCHz27qd2xMuHydhH23NvmmpWlDzxDBTkE6bVF/kdvWvr6rWwehT2YNknBqyl7WOIhcaZVj6MTw2Hm0JbYrBiZl+0Viis9+gCDfoiZ+iJfLgpddsTrkeElCWJfDOiWaVSdcN5bjV9JRDaWX1wFOST6rc/paBAv8aufEl2ZsKF436zRU3PBHWsbsxzP0I5R5taHy1m7cjcED6CUGTC0h+4pxwPEn7LxHXnsEWWEBJWh78dDqHdBQwk3ma8lwg90/R6uR2ZIQk9xL+PXdi8u8RVNTBusdBZ+PTOzynt2xlN9+hrHYI98LIFkVV+HDWAA6UL4xbqYG6JljGxLFz5ItX9d4UTo5VEEWyzBPCHe6j7fOMSICHupAe6K9ARUfaMPiOVpkAWFn/YGitnCOZHOlt9MOln/Mp6FyKZ7AJJWNH+wFbmeXTUxsAvIDJjs3tcrwGU4TJYZA7LPUFXWzTnjNpYA2pC5strHCDAP6A9A3cTHEDxaTGQ+jLTeofxbqAT5boj4rOoujTKyLsJ2GYVE54RvlIZSq92n4HvZ/FzeA1XBxW73F0rkdZ8oRoaJeRtVGnGstgUP5DELGEm9E1I0nxmqngprzXClRHWuarFiApcHt2OivgTXf9+A16rIqysxVksRVlVbiOziT6+efnXnbqC/xlHaa6iIgqBqcuei5EO55jgAV3NJVC4Uws353ftoVpdV8idXanoHUsksjud2x2dknYXwHTuYePGvgNB/HJ84H2JoTRqz3FlE5j8Bh3uwYWanOuYQcyVBTxmd8o0bBWX6Av+0I2tjY7sYEPWSHQnfkilEjbyjGRh8+29elOgp7PObuojdWlkR64Gbd6n6Ty8/PWvj2hu5RjDIYKDqx/UA1jba1iHVTxB083BZweidnI2d46LrllOuwvaGRxw0qBynZu173JCds3OjPI04KThZ2QrBTeVrlk6mgiDEYMdM652PALu1X0BDwluJvR2VD8zvVwIJBW7t+Bz9lswxx9aj5nntWHWPuPDSctVHTzzVDflvuFMQVmDAWdSkEbEu/wabUoJ2aeV1dLvk44S69hnjcRdvqlp0LborJRXvaIIq7BArenPjNNyG//L/pG5oNEC0P/Jjnz6kLhwleDvU0LfHD4T45oSUXkkpaTf+vjbWgx+bVQpaXvmQ6SellIikm8tfKCko3jIy14Ym68t53MKx1LHpxc1tVX59d0r2iSJCCLF5zIabSiFldEZHhFebUlhhHyyDny3RKf8/dY5fP8DQuQvpPX6jHN/iw5Trk+uGeShMG0bvd8mIrt8WH2Y2LuIvab1iloPDeHxZERETn4V5oRfFBUgqXyPVTwdo5bGeXxkfr6IQ1/F1vy2LInr3zc0rDc2A3JS+89qFaSpKlR+4/1yI6zFZ6XENkepoq1LVzgQ9oJARrItcLK1Z87Gvlmn3IqvYOg59a9OuMXA8jF2Uhb+9Md2le07TRgXk4KW75bOdc/JmP6vCHpVVhsl/Pj4ArskYHndHXmRJjufMt8qLI7eWeBb1VcnFKwfasWhJ89r4Nw/R/AIqcBcz9pcx3KKzk6AOZI7cMrLV/DoD4kUGSJcBmVbzFcKLvfaEbos9OoSti0cI92vQqTQg75gr77TZQ5Utz92U8YGdfje4BWQOOIDHMlI61Bs8pY26d38MUNM1fNK4Z5f/gJ8n90npY6SEUkCJkiuZfG/d0SPHBFkwM6mndc0BoH9uAI4IYpQ22y07Wdd0SpeE8pAwjRyPNQQbxV115pEPZ+FFj9aLfCbvE7RXoyrsPcsUEND+SEjZ0zvRazwCgu5KVKG/226QgvF5fxF39GGYYkydXBy4z/Jj5m6eGJSwzrdRH/UX4hOLFeqrHmcOkvnsU3S7DICMQfq8CiL5QkJ7w5p2SNRjz9ZJG9Uw89IYGaB8AIaw01KJsYPZdrivvx54c7bx4OMAFUeA+YDSMHef/vvBcH5V9XDgnuXixkEVxNmZCGobXAhEudeM3T/82ES+ePmNRhEm1atu4q7/S2EBhN00kC4GZ+/I+jF4+y83z+jCH/9RI0dZ3Qxmj91PRcvlFNiRCOWn3Gho7TYYh3SI4/9RMPnAsQMmfu8qVdQGuwMaxsg2/JtvBRAOptQgA6gKZiwdyefLRqW9LxcGYbtlrue15kaU/4aoOlN0Ax9BVF2UkQE36xRuZy8wkN2t5Hw6SKrnyq5d5jIG1H0d9evWgb821ajQPVg/FO/vlWnjlCUshfqHi6uLMrzRqhwJtw4aNdk3hVYuPcBQef5Eo3wuhipJmS15cYJMTEz7KEIVfqd2WoAUsw2puGr6QBxoRxpRhYH3wF9MWfqzD0/K+xpKzu178HOnYumUl2i/93lV1cqUp2agWU8lBBT+qf+lf3QWLurymjy6HZCATeCEsVF/2Rf3y6tzIjZT3WpMHyiPvg4XJ7rRCtZ+9V59L4nMneMbZaYvbZOBfhVHwz2nv35Fa+TbzvghojqLciMUWW9E0XM/RnudAdthy61Em7jWapG4ifLg9KhzN8aWV7WAJtEZ9g4dN7jahIUb9dkr4WSuFLRf9pVCFL3K3I0SMgnAQKh76DQFJwD0bm5m23edwEpss+m/PgHGPPPrDXjr33rj2t+sqSrZMI6IMNPXqYfHS+JVhLimEcoxCfw84AAa1RverIWQZOxionjPxawvO9r6RYK696oEqXTmsFvYMVX0C4m21pm5cqqo692GzulJP37i5q/L6PWm2EFGiOK4FOjWTswND+le4egIvbfouCUIN6pIdnnSlO8e173Bof5a0cbhOM8ZCX6LLxEjq55PLl5wa5JB7RR3KzVsMIVoQ4N6GFC7K9lJtxLwc2+Bb4bNMnCT0nBpkgFXE6ZaxQ8l9yrV0Ui/E/bb3Pn1aQ8ygdYSgPLjz4Oa38ezMfd8FTdL0eerEd7c68kl8wt3jZ9zivCkDlczkkokggkq81jX++PinBzTso/lKngubqW8VgXgLfurYzUQ2bpgQK3Cdvn7I0uBZzxeXJ0RgxH7XnPgubXplOKmzDqOah2Yte+5mmKbbcRrTyv9DM0jZeKJ3yetxY1j1tRj6mrTrAxDM5uR9mMuvRdvJuGoY3bD9wa8qeA+HSP5FoHjR5z28x/dT8cC0U+mGr/GLYE6Pwt+B/k9LJVaB0BOmabBbJWN0G+z7G6lQzMEHK+MKsYwTSJ7IfHiL+0Ox3lh27Yf7olVV0PuEI86FptctOj5bk+oECZUrGUJtg7Olvn2tMNG01MB38YSd8s4L/fUzSFHsdSe5kuzPjCmM0u/924Eo4Bua+BGhijRMapo5y0WvG2fdslwcb2WVeCcFrFkh9Qye+FEkTPB5ivrgzF4mJvnjvpGumezWcQtITZ5dEnQAS7VIsbHhp6Rju5Ms1su4wnqO1s3qDQ99pegk6d8f6E7bIf9Q/RmWteQRcoZ40aCskYmwWYbA3mAaprKEt8tj5FN2vsgUCGdzWqSXETli4Q5gOT1ES3PmRV2929SqtrHmhLOJ4kpI+1c5WjtI+ngY6F/1ihY+XpMWmkQ6vcYJYi7f1lfy0UmLusH1tgjm1445UKc6QmnOeqW/wzV5vsuxd/SKHQfCvlawUaHjR2gZf+/ii1gl7rMIIIBWFK9esc5Yu3F9mm4HlNXM3UFmHDk83fe7tmm/Qu+uNa2xcEX/JHcTJypwBip8iWh6orl4j5wfqrtU4yj8baf4rxAOdGPGxAHnJqWHXuy2zexxy8oD5ueQICKZwkoWQrc80tPIY9FYF5nXVPUasEoRWaaCkmwmmFRAYX+QGvyLjFgRwBG0emT+mAxILcRfczAxGfoJt14FYBW5I5CLdOuLdGJMTBnuaGNF5NOniPsNaFko4PFsJmtd7ygXQFd1LVFpPb1J6QYcxQZl7RtqDm+JUGS7cK5C3v0RJn3CC97IWrGQBZI6OiyooNqVeJpeHgVKy20UHjxPmGpP4uVchboR2cWnNDJxpxzaJHRCYQEoDV9TxkU3Di223O5Dlf5OD3PsdNWqW1YeWaC7/I1Q0xf5bmW786H/64e5z5ohFStfsemp49TxpHOED0hJjU3XuF4L+kvsqRM6h5gQN9e4KCE9kiAHjTXHD85EJPH7ON89R8Ukxrs7WNoqPwuY5gylViRqCSnptj1Ey8pmNrXtF3bMPw5VAo+m7W9TYVmYzyzO9IqqphU1diKLF3Hzp6z75RRbHodLX/WNa1CK6UqKVZFGknqYwR0lzuXV+pVGeRgIA9MRhh//zoD0p0Q6PhbaZECIBE8xSVGCp1N7xXdIw24c/Kvil0+cpamaRHIyxqwQaCZ9sJTufiikGnKFaQvQdyX3q76mRe7Z/GHLYVBzpe+RVqFw6CdUiY5XeFDAN27v3N/+ML4tucKoEV2egJQy9+CRrftQpUe0lq+k/5QF2Xl0laosR2bbTrOmbVZO/NkyMEWHYLvnLr6bYnV5LvY5CJbpzBSNIfs0add87VliUEgntrtYT2aQ2AEu65QdrTAYYOLhUwDgHsxmfJ1cxw63Ub6H12RKQlMT22K/itX9BWoL07i28SWAwNvs7+bvnT4sq+D7DV/7mX2hP+9KiROfGm1yuhXu0fSyLLPHUqn0zmC7EqIdjuHb/G7/+5ADXigQSIPqZngMyIwxiMG3HxVAIOxD/sKMNyoIMezMtASlH/cqwUDbuuHVP7eSjqOoHVPmCUz2zzay1F3cKFWoSmsWaC+Ec6mRADAfMSR+cykhYwxXivp5UKiPijyx77g3gJMaHotRIrSfZc8Quum7llUKwSCMrM1faQOl1b5drfEtZeD4ZFom0BTOTcggwpKuU+HGepjDrlN7cHDlUCoJpJD5dBpRSj6PpRk8UyFrEioiYyTMUK57q89Z0Tl9kTuxiRoISYNe+n58kxe+QPxYbEaWwRge2iJ/8mMRK6PfyYwSKPUVIv8yrBTfJ0LL/MWbs6qpD0OZQa2SnjhLqIqcFltqLCCJIZh1wVUSWmJEZclMeB+mm4v99wK43n63T5/Ua4zVd/Njbg6vd4qAXObrt9D3GPUlYn0ATDND7voJJ+Xpf3v/SEpsBrklyWQr1oyA6wXREiwTNvx3JfioP7fUVO4TuABnzejREynaSsXl5KuT/i+zeC8Hm4BArFOvJijtn9aAbmRbb301pBTojIUyIqKFjWz4fo8iIiAzBGL5NDShVOa1dZqlt5GA2fCe3vrYkO2epWM9YIfwqqsF2olKeT/ZyuuufYcUM5fyAFXCeM9njlggW/9btmBEcl5kkFMRtsFvpUUQmI3dSWryhx0akTselxwKfwDIu3R71GUCg+5+oSpUTeiZEZn0xHh2rqD0guGKvFBLnjJCB/dZ03j54GHIpU/Ptwg5ZSXoARMzG6e5hADxSdHNpBHsHEu4H0ManmY4cLiwl8+hWITMqCh79u5ouXfb1uSGmf2wfEIY3HZdUKhI1LgM6tL2QTwBageS/G+CrveJps8MeqVJsppzXq0L9hL7K47Lz/rFTYYoRB/f4mwU75DLtZrWE1vfACtobW+fQznAq1SHypR+oMMYsGjKnFmFbsoZ13/g4yWi2HjpOyLRLR/AJj/KJsFXs9L9nNSxVNfDOMbiSKMlP1lSsv857hEt9y0GfY09sCrqhXG6iFIkMZc/jiTCyoe/1wYpPMIz36q+AW9z5ajkH9P6FcMPjZgyg5Dh2OdUBETyDs9E2AkPlZDcho9isvQOjzj3PLIrx+NyaYGJBfCWFvxlSwD0dHQZWIZE+nEBMyzYauqGAB715YG1PjdqgJtXyRW6B5lVu9mXF6GdJ6bwJRlaKqfK/dr0paiCeTXxNEo7f8xG0iyPlY2T+f0+7piYD6Ij7Kvv65F6sq23L4/PU3VTb7azA8/55N9ZWRXXtugnIu5mWIMHK66uwOl5fTJ/sZkO0aNcqCg/RwOajWA/yqEbkOEhSdSQorUsEqo69UUyhDHdgingCHD5Qm3nbXK/lYnqYNFkXrqFcCiJRlSmTs07Q1x2kQLMwNwSPyLD6tS2JAJyEYdhgUY/+undpkZRIKjcZQC7Acp+NMjjVzT+L8Oxiw6mFrD7culD09O2zCR0C1n6NuZfhs7nsiD7/Dy8Kn8PItCFS0Rk/VTmEhuWFlpYUz/yAZiTE7vLsTW2FNvBAu9Vn7qbYAuYXAIoNS0eegWfrXohtwwB3y0vFF17xJFrRmzQut14tiAx4YQt74K8vEVk95Pd8eRIyEV9/UIARTxclZyCJwcVLHQYPQgWqNrLkAAHJ7pnSuYe/f6uZ6hO7U6ZRDQ5Nw1rvwrGNZcbE1fyDjCSE5iiV6DXUVGeiXeojmhvLn0411kTOC+cinFX/edwKCfKptE9Nq6CZG/YlE1biOknZD/NLgEnM6GgN9lELXCJhMglaJ7mrRaB4E2hDWpGzyhuBUvRIr8M+/SxiwmHAaR5w8JzbUQOH06+7HoDdmnLrmtgJQbnbytKBaqLtQGCLk2P2LaHCY1fLCZB/IRgewpJXvYBK85ZilJGat7oOtlttr6nQG5x4WT6ionmlly/xwq8y9tXmLZlfqcnIWF3qUFRtNLo0JU/4nEepv+FMnw9d3mPKsYlRBGxqI409Q62ukzjC9IQVSZsSGJaICj+1Wd1sxuBc/2fSUhDK1njDweOgdiw1rhNBxBw2ByB1oomc21N0KlqzkeuM4VoxmGehNnNpugXIRd/5gwsoILVGu1kpoK6oNKsP84CwOXQemULGyXIkWbTqNuUyodqpSBX4QK7WGk18U947wJZRp83zKvs/EI68m7IV84OrZBmKEIu/yr9tOcJ0RYVy4uWqrenH88EzS6L48Cu0cNj56KxtvD4Mnq+Ub8//ncreNr/1DChHBxTDpk0Rsjs1We+/+D2fz2nVYlEJ7F4h9Wurhb3uR+7uGmuJgAzVtOy73ipGfah9hT1DFgEsGZktonsWkATCn0Ep8PX/QSPmXAFfEqSv3ELLicBMZ+lqKGxbQIKlNhuU8oSLn/IXGvU/fYSvmyyOVc67WxHkKJALIHvjdfH0L3bpeTsklfkHPbjfJfEat1xeY8U7wIqNSdeHdFQTXSPq+TGMdWxoUu8iKu6CW+KQoqmlwbO57pBGzR5ve9EteZ2pSg9j44O/+KEOpKkNqycQ5Vyrie7sLK42RvZCu6bgO2tPiGFCJbRdukUzwsgyDa6fmBPyGBQNlvd0p4dmEKl9JJAqexwqppz3rlzB9Q0W4EbvH9f4LNF6D6zZ5ULhXXhKf1iT9weqZSipRK4oXJLhdo2SySV6hh120AL4j0NJGR5capPCLxs1DSa6AIwR+e9Lnj/GBmXwsE4RhbLUkKuhkiG4bmfVTc6gwmD+O0KjRVkDGM2P9NQiytq8zHE6nkzbe1UALWvWN0gK1v31tJHBIyMIdQx6c+tC/G39yyGOtTfG+i6mEW2N7lQmRmcwkHVPrSkghpXACGzNBcdp4u5zS9rTJ1Kva/aOROe6nfeibcwH218zGYG5p/JrwA2HO1i+i4sCvDEseDUKQEIFdK/iizqkrwBPburptqRRY5WOrbBhKZuP/PqkLcOCMf9OBHeuxJHra3TH4Tq8MDRLY5RIwBhlGdZNZyTAUQGVaojSQDYECyUHrIhLxjjx0x/JIXbgYO7n1J3z55BnWoN2fDUVHFQEBFYlieUT5kLYhlejJYdR7TmkqWuf7TBSOSES/pj/y4Z6LswIhhe77qlV7S8SCvN/nKM0BoJAQdfRLTyi1VnE6MLdYalz5p/iTfSGqOjHXbn5dGW24sGE1qaEcR7AnPHAylQnyf9U6KA2IQQmmyUY+ybud81AGLMh61K4kBIWjQ4e7HYrBYeQfOJndrtbLa7onZncfHYg1nIb4WjEeHyIkICHvfx74zfOgiWhz3nO4MGIZK+XPXbmeihWlHJOsb0BPwkR9ZEtCMgsXYHmUDIwONS7pzkcNKonGYXlfibNhhfXeXUIpXNQsa8Uq1pG6EWCIWq+qkhXE4gHEG1tn81OIAbJyzpPGhHfxIy7ZkDC27GFZMwvsvC7+esB0bBuOovs6hGxWZUp/J7sDyZGi2vSNq83+h5FOKtK1F38jyAaMlUefbC89Zvg9QEpRcumR7EwzNJ00bM9wuGNlvw9uA7CRlooou07VSxBiu6esIFiUgLN0S+7lyFsOk/GVuyg5Ai90zV9dfoOGiUkCZ3INEs8TaPUzjAZ/Xjt3VKMlu27WJUpMVAcDRWs6lf8s+jNKgBUq4z0UGWxg+2V+Erq6Uv7FgO4cnM1/zTkOb/o1eVgW03Y4pi/sWhCeujjTv7gqbpP/eW1uWZq+xtf7tFZ84AkLSWm90j76DpsPQG34pI53XBP+k3P2u2z/giWdHz6/PgkG1gEaBD5s1aLjFtmDUBlmaPl6LUtnpHX7cbdZodZ+FWYpt0eVRfL3nfGcI27vnxWMzku6hlLCHdqGxn7TmQHQxVYHS5bDpYbuAzzoy4GhYCL6SvejMRgTfPP5a8ahebEz6jfjk9w63P/2gWMQqGPpVMHHz26YCLhY2QITgYCz+VC6A5GPoN8zAht0J8NkwXf0w6w6y5y2mPc4ZJz8d8gLDxYXg0o1EWf1K8BpY/on+wj7jRu4FPZpWN90jRy0QiaD6HotUSE/FgwzGGtTQp3yh669yrn/BrJ+kM58zguKSUqfKHsijUCATiW5+bMyBixLCNGMZK2K6XldWoyVozbpy6JclxdfvohWjrMLdXE9hQJyfsD1XKvrntFbS9oXrmcu+vVpzsp/PO2+wpFxDZcUM9rRDQbVi+TdUCuR6lcG2GwKrPF4g5axZjIPckcy1adz7gRr27DTgO+VHMZrb6+4GGn2uZPM0vzIx3uejhNUmldWuzwTU+2Gno856ze8YQANFIGE5YtVnkIulv6NLZZMToFVXsDfM5sSMD1tyeTQxqxmWh2EOn+7e2MXlkPb1JRF85t3/QoRNnwGNmPcLiHG/orbq0vJsliEMH8XV/4275OsqcQFzPXadnUboNCfLRnbXYRe0ATHOurRnU/CpKZ+WPknQfIGxujytE2i+MjKt/zEk9UptOXV7JTmrwgdcHPffo9KeNKFFs3W5GAPMMbiHgQUmJCz2aZMnzYo9iEMszZ/UwdjAuKzKEt7lNpRbyi13Jpwp0k7hy+vGuQJzGo0TUAimTy0MLyjBL6ZpLinKkoh4XXJ8iSrijICDXklewgfI2FeueKzFyj9RFUr2lDu6zM8T465AAXzRXEOAPQtjHu3A3gLv5QBpp89fbKUQOx9vYFQPuTYctpzLPV972N4a2M3cQJVCSp/kab+brL93nGuqMNxCNC/3DhQ+3R2neCg59bj27AfNoWDiCgAVQrEeSRCr8jAqk1js3P69iToGfF0Urdmze7TWqf8Q5ikoQc3HMJpaNG4iz9rM/HaOPR+PYe9S73RjSdl+JTlyqEaLyWFJytNuojq6GjIQwCy57J4t5IWRXUsMgKAIGeN6OuQFpKYHQHWSI2UgdnHrEpLmic/Gv+dNWvwRO7eKXmILaKok93Xxy4eJq2jnrRZKrsveoy3M6R00W+NNIgChtX6CJJ3HUf8gkJPTSa4QHIPzEE6ro9L2CqcNarqA/3tvPgicpWF5aPaFtIWVqgUBPclsMSIHZBHR+OivPh6niCmU9KKrTAfCahafHHHz8dfwjhVWgZY/Iya4rr9XAt8HOvuY/BlR/aKrrHfl6381RL2ToJvAUbiLJ1KjO7iAW5ThxmT7Mq5OeAyWaMdGuj3gJnmO3iqo7ClwAot00adRGdNqMInl74yiyIKM9PFV1fk9NWFsboGMmJBsIZ+pOW/78hONkMwlVBrKK0afsNwfJz/2yXOqlGk/tqtEpw6gk1LRcGCvtXrrjDlWoBnXIdm16DdEuG3bpjc6gHildncq8zeUCqbDMkPc4FNxqx+FKaorjTE8Kki9ivk4KHlM5n3J96tlva+uP/8a92A7PuNTKy77VEvnIBBk2B9GzvKsFv2d0m1g4X0CgCx2RLdACZvttqBKzR7weaOLR4gAYLKSjrNdwUQYMJT8XKyN8wWXvUkfEJ0gsT2wmOpCrX/SdEQTuZrefGgnHAfpumYHcaeq5mzSDOEm+l5P2hXfpwzYm804sbfTwMSWR0BWFWv1oP+8qKPEvkjp04dXU94j5I+im0lxxjW90tiYRtPIfnLrjQ5VuglwIw+IrVUtRDPdLdFZw1gqv/Onv5MJk5WyNeCsl4hF05p/ZCpw5zTDa4G9AkedPDKIsyc3YfkERhIlnVYTURrxpE/73gdwcYPR+JfKsWo9U4dhXlA2Notu6DpkGjmsdpIdz/cnawxekG0KAoXH0Y5VZSW158eAnBFawS1vWReJIvmj1NDmuumImfSC71ZqEyT2oc9+p/YcMo0ZUJL230UHij0l79DzZXCHiLVncidknA6z1EbIdOIH3Myw2+1HM/Z18rGrrh/nxFgr1HpjowUyGbx5dBB12yZV7vuGuVlQIDWWydPdnnl5zYwmtNdbm70E+xGFKHC7U6savuuzyZAwmtizj01RLlTVWrG0XAQolyZLLXn67ABt+gHMpXdOB41rRnLEGCsJ50DguSHJ0VuPm9x1Ww6t1ETYE9c9DgG8Xe2qitDfMGIZjJ/P1bmWDjUNO5bTtRIVIBKF0Mr2nguXOlx8yfSlwkAsn6xwOag7sT8wgPz8Pa3MgRAKKYreeQUsZEW4UkFWcG6D4VxeIEl8ltvj0favLQeCGmYwrXG8NbA8/VFDJdO46g2hznFpl1x1iyWWkrBuddvISW5hl03A0hT+c8kPiEE6ujHE1d15I7zo6zRwrPcBRNWj6iFJYRTti3AesRUc/qqUyhWTnvrD8BAAO6KVRbghM47HEODClnEhExqZEADA57EsIw+3pZA8x9+Z0eQAz+k8w3nmETHkbQG5esG5VF/YzFQHLBiaOJOVfxOSoddISFH5rsbjftJvd7wQ5O06m0vMtZaz1iSXk1a+HrCWjMkCssX9+8Usb7h5BJKdFGjvZ/xKWaCyy2KIxdGHRZmkYOx2fvhxn4MEtXo2X218VKTX1J5yWY1Wy6qyGNWD+ttKwIbtHQhi3IIqUMRSOhcujBHpwpBMaYxUmNWHVt85C+j0cwiy6cvL1s7ZEynKGU5WzjAfMHR+tygdqYrUmmSg2WkGmGX6TsYAcT/2USPoOVc1iKjwwS8eL2Nu70rGsOBeLmbisCvlb5Sv+ivZ30rh+m0e+oNaAmk7gOapfCmGyBFyZDXmNQp5/PDgIMusZyIeFJPFYcykwlrxU4dvYSAXyfOE/7CPXlt4nOo19YmepKCeX2e2gfwcKRI3CVkWc/3ov61RTODvc8jhQ5sWI3+cJzav+L/JK6KkqgJoPs+DaX9XuBNKRyR+f8/XOmuno+0ltak4N2eCCXTcMu8zitOAzj5CqaYUdHhyIt7fzcifYDuLiEUQdC2XXSQeeZSmHlh/ZxSAPgFFtBHFUKItfL1fJlNKczpM5Cdt6DPiC7xCaf1lVYQeDO4dd25jzbPC2AhRCxgI5x6Ojut4agmI43pg0q8+BPhQJaHPW36b4lxg0ZIXV3AH6LCdqbiE38mnTWmgOcEH1EgRCPVi7I+oT/lygaSEAAwGQJzr6vSDW5RuEHjVIOPGBkKFRpRQPWGPo+ARLjbxoFv2C8M9Y4zoRmgmpIwc2uh6wwCPy1UcB5fYbhcKwTb7+WUB+4B7CUx7+4oa2tPxtE69iq+ri8xq5iJyzodw1FkDcRiBFtBIQSD/LsIIhIe+h8ngIC+02gmNjEiTMDN1CTLUeo8dqx4bTS+1biH2uptnSwD20GhusV/vKCj9nzkRMkkz3QihGmqxDb1ynBhlR+TBs/ppE4/kgZ7t0en0cAZtsYepa022R8z1aePuEk1shvNSJkJRoK4h6Nzlc7RB3yTEdNIIWA+hJdfKV4F6TKSB59MpCdLHOX6iUVtrLxjS8xtk+qsp0UKAwwpKBUihI7UgNtbqKOw9kKBsUKM8EFgK0YfFDeS6H4+g29KUMLnpRVjtq319EP8L5a+K76qhi/+obVpubDpRDiQxj7QgjLpHffbDe45hXrzgwmSyy5FEVUMIljbRboMA3CnlgCbSP87Qp0UlOsQY358ppRcW2Gce3zru4G4Y2RLuOLAR6TLiB1YvHpV3YpQkE9X1ctSL6D6icApVDBVx0Ncej1SXgnQCBu7NILjjCxkYdg8UVsKO8KUlD3SO+vwVHzPV4xl6yFNSBLVRVMHk8JWIjxVlZZfUT0QkOVmAbEM6O1jXqz+IfeLmAOsYeJMTm2S9sLgSQCc6BfV+MczdeWb419pAYRAX5JjZc6inqBCAm4/bxEpQmItuY/M23a0FhkKa3EDgKUD6ibPd93I2i2IiG7syTWDtCfMFuL8gtbWEdIB5vFw05HZQ2KIcL9tdDLrqV05GOEwO+6XV+842/Fu8D4FbPJi2d4G+Nq3UwJgb6Aqt6Dr1m8rTOlHEmK//ZYcdr6T2HYbu/R6Xp63Eh68Nam2cA60n9lrKMO/TZFkBq0XWvtvuXx8dtDWaQne66jX+jjusNiTPfAYWjGgdKPsJFgCqjoyQtlAANFM6/pZFTRvImbjzjz3R1WudbMFI2TtHy9dA8DTbMSLn11YVWz99J3O5igqGLQc16IzXthmI2PcBlOjaFvLc0PGM2kOvlwJ9sMoWapGRCwztz4YO8LdaTy6fG2yB4f1IuSMxQ305x6QJPSQOZoLrTYJ6KX3wPwRzIW16YV0fKFsM4XUEi4RnSFMw4gBx8hm8GScygSK1/fkvoDzEhDXeALzT04Pz50hkMZbec0Jf3dEykt/31hkr57Df/TSJ39oYlAmhVQibm2Mxr3ydQ+uq2TzRD3xcCGHROVcobhnrQrcPwvhgtf1N08QCIDC5GB6uBmSFnTGs60CZN/6KEJ/v0DyAenqjDTiR/6VsVaZOd806+X22s3l3QidpmaoAo8Sw+w1hO8PyZpXmtaeKa8xTV91jW5iO0HKRMnRLzc+OMxVpJJyd2Mfrn6jn5cAszjfr+upfUrZS946oq6Dg/1Bv2RnfbdQeDg1/Ml4uylmA5ZurWgxh3//0D4TksiHfsifZ8jTOiHmNT40E4BJu9ns5z7/N7OfP5f0EMO3OB1ac6nyJF+jX3sSiOgrQu6jCPpjFyPUaMpd9mHC8E8v08XfZQe+MmGka42C/53jm1begsSd9e9UpQEQ0C3gmZn6iAJlmKlQmYu+hZUoyKea0lJJD06mi5Zyz50Wgaomkz4UYwcE4wmT4V2qoHW9NFDr9IXY9vTtCBZ2Prm3frb4QY8vA8+IIUNPGBKILtveYTUv1fvmYA/wQ0NZUds/8P/YzU4a1OLF2HECm14q7hNwNbmnHiyggJJstih1jUCX1VocUFtsKgp/dK2AB3b1LnSUb2pv3sx6NiSQBdWNO35sIJjPfaeJkn1IzXQx/nB9QUeuRG3DOqhib55/YUPYNS9U6q9WiYGAgAr69M2ndboalXYnJ9Hc60OCjAedXFEKejtfWaiyj2zo68BLx8X/zQ7vsWfVPB5YnYKpxEJVq8iRGXZbQW4GKkBWU6UI7VZX9KPs2bmF735O0OSFQitalKXud8fdTD3tVFWzrwOgrkum108j83IMLo573NcJouyZazhWVBFws7BJTgCm9Gi73CrF1kAQIcLplliJxPwXEt7LCvtwrMF0EQwu1t62oRbkMxiwn78pr4WdY3miPJyWGWJtTRjr0nfAjHm2fASzkwrb8JWm/kQpj4mhL45kJHJLviIpsBW99RDyLcJbYnhid/9UQBYbMZeE8U71ZJWNrEmvDZeL22LVj/pusfDnvt/k+G4YMPL5jjhepM49F4+ZRFAyGfLvgDWuFKnQWg0ES5SFZIxRev25v0uXrppDfK/mokt/9idl0EN7xpBJNte2ZA4RjBNWCNRyS/WM2X2GImuUwWhRo2BSlT0bjvcWC1hKb8u0J0Pae7PYz2XEw/V1byI7cAcIEmmg/ap8qK6KH1HldQHR/JE5oRI7m8aOp6nkVgoSfePSckywmxgOAG/35vErX+5nw2LVW1JOlF7cxHuXe3zn37ZhEUUKBBpoStWA3oYfuD8JVbcVuuBZeJsAcgNBm+WTC2XV5+wYpE7PR1XhNyNytYMq4/s884kVEHTbkFSc8J6uEgK82L8+iCcZTSdWXzZla2wNpm6ABcgA8kcYZDY95icWuqzyJYcFYdZQuLbmxizKr0EHJYqwtRa6UzFl/ZjtF1PVH87eDkRrn9wnvQPM14BERqk7Xt+dxkJ7tvugztVBI24jhzO+S3y7tqpr2QHUG8sOOM0Lh3pfPVBFwxU92CK/9RuVKqcjMJktecgVnLMpRY35BrP+eOE5F2qMczKfF58Ez//BBJszPLzT/pVs1IGQ20RgtDbF/lJaB0z2MHKsDIdeuPbKgzzJ/XHBFwGrULjNY05ES/1yINpkvMEhGrYdLO+aUNw/aMOKAfhTyi5WI4lKVl/KLKojVqMH2zBMr4J9nPJztIfdNlIWzAyR95JCItNdGKalmvdIpO1eUDSzoVfXIUW+jtWf9Dpwr3EFAW7kcin1XqPMzwDD71NRR/3cQ8bNlON2Q7nJ2ZrcsUmOpkYuPBg4yIApR4mARR2DMTX6YJObs/LIZYfGJ+BPKpAJ35OMCETa7DvEUTFXIp0UIM4TxfiaNsELKsL4LPt8D1+eOfpxCEGLGpfaL06/9gobeBAQbfyaLbJktdhTYe/HDVo4Ts9OOm9FA7M9uVB3LCASbW6GrZWfPhgpRo6rOYkl0dVwxsRt6wywR5UmZIKpvP4otrpofy1TTk9A+yiy+PAJIUKzhtmTxYqYcoNghvCMTkSvzL9UhB/j8lOOpTtmha338yy8kyyEexXKjO69BuQn1Fgd70tCsvKi73ilmUmR5/X8oX/wYdggahwkwjAuibZylx503d6+yH2rjguXnUAb/U4w/hisXffiv98Rbe1jzSd09MPk73+zrZiGeBnw1WMa4MjXsqyWQQf2bdtC2iVHedIuDHLn+uQG0LEkku4Nuny1RWlSpUfPU3vndc1CbQgHgfcR0UuYg1wvwkYrTdw6FTiZvy0B0JK0WmSEEjDtMfvPLnzF0dmGj9Mqap8socks1MhrFtwl6LEsqjKZX8Jm4J+htJ0pB3WNsLnEsn4PcxFrvDqKvJcsLpOMnFjV3u/FqnsV5tpaLVuJvyfupidCcCX4xpJ5P99aLacULnyVljI4vK7qrEA58stSODJFK4pBR20eKzxZ6RLuFzc2H1HfJ315Sc7aqS34/ggfeqWG+ab4pXypi3Qv8Xr+pEXAORQlg9tx0RTwMB0Q3ZdhuvThK0sgbnzaWvLHwYWXbUgq2bNvVD+pAWuJNObLR2NGW2vMx9buJXkNfD0wglqyEowfjTqY7fbglklcg2PUtzHYE7LdSG1cdFQLttC5RzsVpZaVAynnGe3hjkwBGBk4Oxb6XcfbGydFH8HW9atruHAEv67+t6PpdmWhcCLlt5W6011DZY2j1Fr5JNEAQeX5J2BtOiRJMnIa3qv82sYd57etSgKvHlW3xxHpizdaS7yZky8ZRcDQVBbQiX4zZUg+0Zzk4P3slo1UY4Xl5IqQWyZOmyWSGGoPM76xwSWM1PeO0PB+Q3K3/ws7Kpato8n6T5awo9ul+APpm9VHt94GdYcxHeGB7ae463gsMFo5/b0C/nvPHaKQnH+MgOBagGm88gvVJelAE2y1uBMSe+1s9YolxkCedtMOx2hi6W4Mk7m7h440hMDNuk9Yr4sRSt0aTt1iBC54XFAscl/gxTOe3teLqZfVxOV/mBUF21cSSA2dzpPLHWIhYWFrGZh1SLsmyUoKfw2kS5utyJMNn7bTS0wGeaXNpzGgmM1zcJRVQxRSSMiVe658MYVSuoIvLVB/ajzff6P0N996pz56SNV0cw6BkERNkBmw/kjlbt42jxIpCgp+O4DztYSRfD+vskjxFfOVWNzalcdN+ECSke9eACveuZy5zHrWtp0/B/aD4Ki5cUGQpUAu0+f7NLWRPbIW0eY+P+QCx0EXNGebqkaVKnD4ez5qWkhqgBKIbrinKZ83glPL0Q+gU1/bke46lcJ0UlJ/bSOTJ5CQsPKKbRYictvVp7nV+oisbLy6j9gfMKY4yFDwSOV6roA35VQDHxLbA1xVP/jEFP8I/YWqj4e5bsqjFgdmwNkcj5P+se1G/8O2jGpmY6bIiF4BpbAXesbbDuM20MgTWLoDdce1da6/S3kjGftuIzq46grYzy7scn9grKmmP/I47Hj2JKgawQdkgCkGEJ548y51jZQjchEhIxtE/eRtwaKCdA8E+DV9Sq7j88IwmVs/00givtXm5G4wu38kmbnN9QbryrIXXY01m3yxJ9cGVj33uJ3sJTQrPDt/aTk8NCPg1Lh+AimhOw5A+OKfIzqPPPiOpp2SS1d+tmiLq6p5PG2BrO9LXgZHLG9+XtU6VOayaILDjpDBXw5xcFJXpHloqW+lDKYbBxYT7NpCtOmGTxYuKe/XWhsLM0HqtrVe20FCMmQzw1MaP6wc1t4VCitGLNCbOMMgvrR/j0IcqXHM7h1nHIzYK0rr0aPWAvhQ1v0uJ99Pub+VLik2igluE55pSm9M2euujoV1p0w3Ze6sBzPIVryD12UU03+zm8hy6E+hovfoAsqGpokcHoiBYKWo/Y8iyrWSZRFrW8dsFSJ2PIuVoF+JvjAndUywDLqP73DHHLrmoPxTBhh7uOna+Ee2OjpjCNDG3Ew3DUF0i0ekHEmJxbphigFDShxYVdIHqKMOeVuPSL84WMdxnSJ4yco6Nslc7UcibkbhvVpgPNI/ou9Qu+KcaIQe3peEgGfYfHaTrxMWpGu7AS3h3sp25JCKs4k92JCivcDAViZDpJpWprTnEA/GP4SF5iJv/JqGcl++2GbviwMI8vmuOaLu6tHrhPcxFGDJttGCdmCn1a/mG8E5FxoCJbDK05LsjUcNrYD7U6w3ozUF3os2qE7axOZCMaJ+U0RU16yBaECkXetSkR60fHnxV4wdOmINC4sBtWG0q6WH2VEofRpDcUpr8UYUg4i0LaOGfpk9uxE+ojBoM+7jmTmrlHsiMLYQGG5LBOv9755SN63YLiovMEBSqJD4T8eLSN1zc/TySr+9yqbW59e4J7aVebuwoLcupuw/zhApAMu6KKbfmrEQQLOrmB7lYYAfKRgeYwxYdhnk8tijEjGGdEhayRcKkark3WFSWp9RO2Z1z7N//jgTFqfu6whI44zY4WS+6DinuFFRBB2z/Cp+ZUjR3kjiZ3zxqNZhdvvyCj30kEzJSQs9zRMv9JU+wYV2tii/dEAcrrce2WuxwkXIBCU94i0VUUtwfQwT2GRFjSUgPeX5IIAm10W8xKiij167WxQWsIXPjz6roR6/4Gm7YX87Oa1W6exGOnSbTNc80zV8jkEz6sVPQPgrMT8uSX68R37buV44cJOtqylemId960pbabihurWQ0KFZ1nT9bIxePfH0ZQ61WzvUDNyz4EOn+BHe4TuV7xKHLNwJCdgwL7XHGs3tb04a5EhnqNrvYKD9JwTjfVps08mSXan1gPRwH6ZadI9AzuwTGrwQgYMtDJh29B6qemjpiE7SpIHCrLngWPnuU4KE5Zgx9h451EQANbyhER5chiZhHZQv727eJmMk4bF2Y+giBm0JU9SYb21lVo4lroRmBlqbOy+P77g4xNlM89Km3NKIZDXazi0Hls9NqupVPOSqELX0NvkZUit2X/0R+cLU0Q5u7NgO/Rc5Dhp/vs1Pi6M5Hk7ugJUdHXvad56FkHAV3fugLQjI2VXk3hd/aUrTAGRku20gXSHgQ5fW+sr0HfaWuROo7goa9DbsgYKi4vbk1Ou/7jFGMeDfEFnvnAVGrQB1zLZfeDhUU0Rx3YZcWPdvEQhvvP5lwv7OjYCp/vbq8CvWnI+rxn6YAe/eCA5smYQDgFu4Cf8A7G5k+s25nr8HXEUscTvh70Gy3OZ/5RQfaYeyw0VjzXRPKx/MHsawiLf6Oa6vieoczbBkLGBZxn02zhXQCEfDB1FpXs3dBOaM8RTCfsN+t1OYysTgORvHYl51oPCest6WAmIbJZyUtJka5/TLXS7kh/jrBFNrkGHhQWw+uKJwXt9mgJsGFkwzErZ+JjHcjXuqLBydH8QdZL+hfK+yoFL7R7wzLYRbF5U2o+2XhKmIph9TG+4iPtieIk+8d9oTP3IYeUntjJcCqwbL8DJBGbU/lFEQwMjHbbnsX8Pqs3NbK/dG1xLtBscAAdemSG1r7SOZ7SwDAc9mQUC23qxwPU3iwGeRRbp7r6o1LoWJAx78M8bXQoIqFRvRfF9pkFBR+sG/xGh4XuOdHmLTkNmY6ZbR2Tl7vIGi6IZan19y2W4ymg5KNQAdWzqH7jf1AgUnQ6NYLQkJSaR6Utm7024e/A+Ha3S6v+MXg6RlGt0TUQ7I5xUuojVt1EylMx800d0uLKG6pto7CDqB4ry1EmO8BGoic9HwP18JhSmrreCQ3150NB9EcW55Sow95V+374K5dWVY+tSsl7rKFlS1D39kQvTEx+93WKFQW+99wrFYZdqIKHJAfCyAgFMfG+gtjLjyk6S+wcaTijoB9K1u/3hyxXmXV+gGMUC5q+1apGyE+1fV3RgMvCo9OiHLTL/oYYYk0YwSOHU6FEM5t9aIhPXMAK4PK3IvX49N8NmY/YWgYZZUrZCxv1uBBTdtanvstW4E0/oIxwX9XbKbLjt+SlCVBbZ8yRM17MzJNO+U8OBi5XddgJcx6V0qsgHke/jYDCGjBn6bfj++VOSHm5vckxH3y1ltZ5wWnvQ/NfruEy9M51GO3gBnbXSp/j0YhZgAgxiEeXP7q0Eig/C1FG2yVpeILebj5fZVG9wxQ5V5Suv56U3bB3/nuOZr462qH49cH2PzgT9ulU/UWAGhBon3iwD0cV08bFP2gI22k8u5aaMYwtP4tyTPWrVm67bPLzzK5PmhhYkNKpV+FibpM6kj1uzplcUppihAFoF04S2ZYDi+0gXU6k411kdERwYW3nrgOjSrh3g3gOrzEOBsBJEJ3jurpTr+GGKEMl47q57QrjoM0/MjdkRXfl11sjsc1obIXypXh+u0QXwct/Ouwmj6Gj3FTWdImhrwj47Zv/d9OuCrdscMqJ5ncFxq5r6lw/Am3RRVdR3CMtUqwdzrSyXzi5YxlL9UNZx64ZmeV2FnTV/ZxxvBclKLNT9uMXNt0ZWov6rL5+Tngb40GMCOPk17GsYdK9ZUeHhN7FAMrtIoq0H8t5fuzILQRUsYpUKMspSke61CDTevwAeXNYOFwZCbgycV/5aSvROkB9sP7r3T7DhbO/vPlJCznGFLh/YrBO4mfp9htlGXX5ytP07xcQfOIhJKLWou3NrrAcs46dG9JPBNesMOpcxOIkRclawxOlywCmgOj8ytqa64K2jKbmqjbnPyY2K5owhwzViLQU4fR3xdSoO9RwEFBCxBVxnswzR99uhlzbbK5rHaZZXoYt1oDIPyKTZatHawNNtToF85lPyWL/uKXgtTUHhGPMs9t/W/N9VX7U50OvPa8OQ3944aSigPdUa9o9LxfQMkQoCsRox/l+gryee/uZgnNJZQlvgpYlSHG7oQu+4D2n0icADx+3/5j5YWQM1MGDCROmoGtLhB/8WFoxdmnOSVE8At8wKQGUesHNz3WjxNYZ5wWIiMaMMC2nA6JOr7TQ66XuukOvFwQudybqrOjn+4TaZ0arVQpS1XJ+nzMKwtquM0aN7tv113WtkfJgxPGjufJHCUwxobXJluhTHAUUSTiMt/4IWFq0YuPu0Hcwc5dlmz9YEhKfLj0OqbBgMhieXv2m0hVx5N2NHIg1wNg9K7Jn0swHfg0f1YxpeF7EkeuWJ7unsWLeYOnFNNYs6WtCw3aJXseQ9FDE3pR64+Cq5wHe7RyCFVpLLuyf1+7+MEMXbHslVPk4zBH7r7/q0Aa944Dx29I6q/FDkI8uAdEY8VmOUMETQF/dNwkO4PvElT2MzQ9XZCHF/764NlR9OFTmcyJRI/Nt/8ZhLxa4ZBN/bWKkGb1eniDn6S0JyZ4P9yAfm5QXU6wlC47TEZeGTz2JZU0Wtow4X+zRfn7PuxcBG36k0kZN/V1vsOBGA4SeVJ0wiowtpDBmJb9JSUWKy/tWiJ5JB6xMwhJi/Kyy6tsuzQUtAsl8Pms5y6W42Ag/L8gETpX4BYRItftujRmz9mdZqvKSeQOtRW2d08nSC7JgMzRn8O12qIU0cUpS09VlWIYRrxJU5eKCd1/DOLVWC8hDiHFhGDGGo/31gWW9ayD5TwALWlfwnNRYGs1kkax0aKYZoVox3ij/mCEmw+EEh5QLTGQHcQr8Oe4xWEVuZ6/dzNGHAelfuum3gOrlT0EEBab2xRnCHmoEOPIQPUSGK0pSwkwzFJv0t/Y7QSloMnZidejOJKxodIO43dZ4tQDfj98nH1Ik8RRZakJJnJ4djONV6qOnSD+qfkQ40kSEVxvmhNw2UfpMi2Svr8NWkFf5sS9sdzaHGsJ/3nDlj5QlxAFfQyFB6t3H6/QtEGRiePL38hkZzjTcoQLrX+rLHz79QEzZjdrUBs0hfa/PX/KAEmOgv+cSihKYFaJIBjZqbfO7MwnQWaIUUrI5KxVfyd/EmF+7Ue8kqWlPw+EYOV0aIN4R/uOhznybF1meUt8rx1ijE1PJm3T/cgR1Z4ELiK/7r2Xo8VT2Hh4Tr75vdxXlzm8gDTddkWctwhiBqyg1SgdAcNE3p183QiwuPjLtMzIf88/+Pi9PfT7xg+ZPW0eZJMW5oq4Y8XhdP7aPMke/a+qi8YcBvIo5gua0FHQhHI1rm0257CjLEmOd3kj5tDUWnmaF43Tz6Reln34KIVHZLnHIy+pjaxua6xYk0vN2GUu7Zc3GJEsrX7zHjchG6MR0A/0vY3iXK0E7PaL8VtgG1c5W8MaEJ33fIi1+JWPowNQmrU4EsTTSyavgcPE6YMiSrygCVXhc1MK5kpuRTxjCFGZ3lixlVqaf5dySqXLumYjKAPBf353Z2JsJbWD2lgKoPqNx55f91LggofCYBRCK4vbdnzvCZGZM7T3IPE4nBCYQUgAKXuQOQPIJxkBlewNiJ1NrScZNk2hFb4/8md6zlXAdhp1kWMjkYxZCzSOP29ngCbTxqg52lSJeCMtZaA1WGTVUDNSLPcyQYnPD0rp2X2KZUDPvJkjIdChXCvb+8TzzRXwusklnOuytddyh7oETQdoZDQm1e7hrJvFJcmdD7klzPnizi3DBx9HPaYLiVX+1Zvkvw2cz0mGX+Z0rkp63XZsxgacn3VgsgqJ3ktdrM87cFHYkNmCn2qFl0GEhI3c/lzx14QxbwPCjBEqMwKpk0p4YwOFVelaKmbzdjHOqh2qFzYLcXsw1fB1tgNpblfYnECHZ2KBNb0MlGhFHaTmQfS8yeWlJvKq10vlpBuuDlcoqBCeWiqwJ3lr7VJ9CBocU4WfP0zjhlgQLw3cM1njGFLL71eeVC17Mi8gfoTPGhAYWO4FhaAv11v4Mu890Cp4iffMPvGWArxufin6L75xEs7FJ1B88tRX5RYgP6C/6n/PKO0KgQUCuwgxhIZEAZNT9RGdib37UACPGLE9/ulaU40i53f77Bi1xmQwrg4pzUk47v8IFtNfjEuR8Bi5oyAsD4e+Y99ml/sWK7wX8Fsz7GSnPv4LsBiUJ4v6f87MrdSZ1QoWXtK589yO3l8TnD2MP9Ha1ZTO/S8Och4R45nJ8lMrM74reRwk/n9O8GfC/Tv3dqHkaVvXmdSZgx4K+hkiMdzAVToLxCzY/DYr81lwW1IEgtW3d6Q2YY2+LrjUBB01GrDZ1DMK+9XQf6yZX+cbpmZlV5nNcX+ZIi6CNiKv1arAJt49ofb8CJ0VJLQcOKDrLZssUpQ9bjncnqssruERniXCvZbDLtzcHjrPAtu/8QSwNYmhLeNN0FL2fMJW4WEaTx3QD+hmGMiQcXU5dzeppOUdZv9ngRd4bAnsFIdy6HGldyuIHPXTtKMgc+vgmbp6cQVP5TefWIFehX7sYkO1kJYVgZlqMtpY1a193CsXGZaKZV3Dq8TaTqi4ImNhHamGKnU8UHjbA1EYbvQpb/NhvEmfDhly8+feOoVL87TFUbRviyzDxod6SOy0mNbW6sXqpRkA+O1UOriDOhrW28GPfkJKTfzOgXPsuY3YtrR72EwR2oOtb8KB0RdKy+8K+J+6ZFDQPxx2gxHFbAF7W303GMRtkuTT8Izoe+kuNTeyKlmIWoEUtdhT474QQjFONT2cDwRjfwJduZKHh8NUkEoe7xVuVLIeYbOwYvDE68FSit/DeqiSB3CADC03nmr5fGc3GMQgr5b/RnZ09cfpHRY9ywPAND1UOb9PVgQYk10pQzZMD80La2txluzV7Rv595uWm/jhf7V2pc/8ZKIHPmQRsjhLYGKTB8AnYqYLrUTsRcGxzXKeIET2ItjYDx07DDlAWoWIxWGjgzI6QPCSxgnr/pHUfuG3tXDzN1EIPe+s/uk3j3wen4q7RcNIFwrjC7RoNP33bidA3aGcPsIAA7dTvfVIXICM2B057qbBsq0Z15G5LftckIJbWP5e4R/i9OTi0I+YMhFBXYB0vpvGL1Lirpp5XZ32DOb5hMvZUY5eHRVybZsMQfHWZYIdOuuRQmE79f3TREHOwyPbCcUWh3ARMFYokURl0GPRfPKklE6ef8qVzVVjsplfZI3jzLIR0eKx0sJkM9zgYjljCvjd9zP29Lv0XpXaXVtX75EuDdc6FoIgApj1MWh2wFe/dST3M09j96OrpToGqDF0iSqwyrOxZObzUMQSz/GC27ZWwoQXI3a+R3rqJ6oY3J6yzHrct+AXe3Yt/7lHDqQohr5efYwPJQ5Iz7jyz7Ut6CInDj0SWz7f5MOuSyRoB0J0HjQLTvpCcNBkJZy90GGafdl8mR9i87hi6vXdJQOZH5fWbyftu9otriItNybpK51T5wgzVkFoASXiubeO/QCnyYSIsmBfu8d0DNPy0dSYbkmgJ7ZNOH4Nia1K+YLBDco1G7y67h3unvcYw1iG8mGOzrUWlgPA8HmPyjGqxYIKokvk+JxAf9KuzgYsF5lSq4HsEJPd5r2eL0seHqOWDmMFbxxGG8msgx8tzDzJO/qxZC2RBGEcW/YmTfRDxuUVT7LKz7P/ycox3Lv0BjTWWS/51LewvEtjMxlecnIr649DJCT4gtw+Xmwqk1MKiwN5pacLp13X9OV8EBve5C0k+lGKW6hN8nKI4LJfg6IbQU5Gea3cdKCbLb47q4yPEMe1UjuRwOFcoIaGFU5xV5MBAl3kenGVJUtX/vE8jo9PFRFaaI3VjIckZGV72bnAZ6x5bJ42trjRFVJ7W9Wu9v3v0G/znDMGRD/fITwXzWOfY2n+RUljLnQ+jx7li4cHfils89SLs/47cySM/GJqz2e+HbXIMyPD+QoiAAViZvay/CZ5/ozSDlaWhWLfX4+PiPdSrgFEGEoZTFYr1hX42Y9/6QnCDs6xArhPxGbEW88hiRxDz48M/nP3ws1oaJ8yP0jNP3tHl72VlsMIYSDeB7ikj30+UnL/2nRI8c0sF8s6IXY5izfqDj7H5SqVQzS3BCkdYm1/91KPSVmfNTq4MtxQc+Mfa8HvgrBaZCsCmple0J39dmMK+E3BVHTsmbtTiCTSFqrXeEbGKiUrnj+aWiS0ndzkSPC3Ksbvw53qywANUfAAx5847KDELUD2B3BFdISOoLEAlXcX40uGAAlDVrVYXSigo+KOk1GIM9f23K5nOZj1Pw6Y9bDoY6QVXq7MfsAlybaNMXMITh0ARCxHqf7lrS8gwsYCugW1BCW/Y3eUtKCWMNqht35YNTFbvuRHz5xMVJkangmFDVFgSKzKgi7gddk2VI1NHMQNaqXPCVCxJLeHTJdrpxj0A/nyximkiCydl2fI7vzcHM9N4kJ/VbayRQcd4lhLquC/7kJvEq0E+OU18LmfIBMwWR+u3Wo9rV0mAD9/kJztVRdloLBa54sDUsrKAOvj1xBahAtoghqAlqeFm+Rn63I52rlLbNTZaPFogkQeISrSJnBXLW72MTmK/dP2wTxlN2eELgBy764qmHXec6cKuPPAxAWudau24kD0BqnVoBATKhN6kZiop0PO6yJHk5l0gu7DAN9JrR9tHpE5Y75htKFFPHM5Uxud4I77B9z0keht5l+8zm/GJ6EIgnFJwaZJ9jhdggg6PotWjXXJbPctcrn9UbmxZD18sIBKCVTQx/W3e2Gm/R/8kekEYy5XSg6qsyJfI4Ufz9i9DVBNb8l1xeGxD+eIVBEqVQfVSrZIqe0WaRLNZPGn1ubmqh7xsdNn57TqRJye4UOHmirg2gq5QLkgWcP2g47EZgwUlfg6ua7abgn4LzKcxYDe6974jmSr2YonGDFPeojs/P+o/4ojfOpCGgXl1FplHu3+xKYkqPprCxi1fjlkjAhg9Gai59vRjBniccbVcTicnYVmwU1Z13CNhfLh5BwuQktEoFoJyvzYWna2Zn8m2rMz7+vTZckKMe5ak71NHImipZ4AwFQtYDarvfY2eLBGLBp8/NsVwSgFiiQaYJr+AEOKkDyaUzslv8oA0QZI/f3edOlb3evuYzRneJxwmL1G+bPudeF2zah06O3Ul8twd5wZp2NlQcXFVfRwWx/bJgUiwIVgC431pHjiZL2WjH/Nr7rT9tTa8TbggGuQp654rVeFGtjil+NqnI654x6NYMYyInj2NhssFML3ciGBcjGDjJqGllqTpnLjD0l9sJ5LOIQ1ccxnSPzE8kzY52lVLL7iaObzvearY9sByNC2b8iowo43wBw8l4woqjAmwXyUSzjZ/KsNL6dlKSZc7/+MC9n6D9j2BmcgFdSSHXC/whsulcxZxkIWPIansubZv1sya5LmcOTuOAx2tcGkD+14B3nJYgckQDbXFAr+GmJ7IDpLM3+K08TRfnjn8a4YX1wdKoY4W+wQpo9SC3nmdBbD4BeR+mhE3VaQSIzKIbvqC4WehxvaFgI9ZhcdpkZ3BqVd3zYIDOzg7GJ6RUNuJ2QSaKvsILvZ3U/tDqpWq1odPEg7hFnTVHbXzA2ovN+zooW6tO1Ni6pj9r1QxeD+UqSW0dRRcaJ/v3LoqQbYFE2jWDq+vWPuW7Pt+3p9gjGbT5NwN2rI7gKJ34KcVuyf4am+yMhIhYE7orCfhT+ci7doo4ZZPIjVX4eEeQGxrrmdVm3wfOCyl3VYSux1UPJVltN/URm9z7ZMdAu7DsxG6rnBFHrOhjpdxK9EsJZSY7hWuuJxAogtXHaE05aJW/Icu8+hnwIBO9IW4vaG2KLz9Mu5zarOVFlw1jyEi39soMXdcWke2byCW1CyCAwPqOsS/59xA9MGGaPLyb5drLAcQxGc1frC04T64dODis27qhiC9kJq6YE36OKc+ozJOOg6eEQMQAywZPaqrHJFu5OPU1DV3x6Rcj0WMK/6vLTx2O6bNXMKUU8Usz20wK0Z4m35aUaQyhdgTRIYACG+xQVB0AyKJFXQg64IMnCSLPpsdkwGqLl/B18RHae9MXPX+zc23Ko41akTIUUVfNr/7/RqTaimroSg9ufv20Ca42BzNOIrdDGgS7QwM+OS11RoAgPZA8+EhewB4DO5FMS9DUcAblhBqc5+WHB4SQpaLuu6gKe0x82KHIOqLlvy2VxKpJy32fdSn5OIfABcRpAgTzAgvoK6S9FET3EfajLnCgsnNwP+0bOzZKtNuLYJiCsANpqpYABGJbK2Z+HTIJAcdoJbrlcJYTYgTbwWjVGREnH9tivqniZU/pwrNjY9sldubwnAIxsqvbbsbXbijvntaVHB5FCEMkOZyx5mWaxre5Ac+RDviyMyjQlm+03bARwgyJbtPuXrdCHPeZE8hpXpMeGgGkRZXG+KgLd6oEiulQnCl/VpOofwuwDgnNGMTHbpt5RnHrZtIeI6+l+wM83dbgUlyYioOESE2HmxTxv5QqOp5nfNcF60yfT/6ewvefGf2QgfLx76tox8f6si+5IsI9KwGyocQGTxKZpFZQaGDgUrzfV6kHLDuJlyGU1ApHVx+tol6KHmvBq0jvibTa9ZXu34pBHdc/+TVwp2CdAQemGmkViPmJp5rjj51JHMAomOScJeAomZRSPKaXsx1qTpBphe+jcvvG8JQfDAE8UcA9CNnoP38cAm09elpy6YUZuXim42pCPeggigEnY6V+1NgQD09y/qeyh2GnfpV7MZ/mWSrr3eQvqAV+EtORC6QmQ1q6HYIl94aQnEOxeYqw616/MZy32lDcn4ddf0kXSMn+xE83N7eLBky5a61beoJ7SxjOyWvxgy0c0mUKMQIDypUtO6NymmnnMujOhLMI6v9LpCpozqq4yrSjLF05Rt9ALHDwzmpGgoxPOaCTBa/fInri23TC0IupJP55sYvg/TJ4DH8ry09atKXVQtgv0448Kismqnt0CPHcwOJ499/CP2NHEfconLL1FSJkk4Aox9r3/6uTfoXZUbhqKbRNeHyUMAOy6mBZZdbYBmdCEXUB8hNk037HKJxFtGL5KJYnVs+io0P78vdK+L6pDwLd557XDr6c/JNi1nAfDNkeZeoltsDHlLIoJ+467aI17uXpOcdjOAw8WvS1yh2TWl0FBSIHCCqrKSFrSyVFMaABuq/au3wpXPVjZfp23Uf4P8prDAnNAVsJ/R+qR7lu/xwwEZv6qQu+Il95PLe5yHoixwUXLDJ1B6/5a8HHLWW2ZzZNiSqwRQy8SfxQjjBIZxP8aElP8gs3cAxNHx/Ky7wnvTg9zTMU94JX5WPQIa5ZqkKwLRas7O7OxE+zMBQz0DeSFuMxrxcN7AfoFACTAptQ5ahS+pe8/jFQWSsDnj8PdE6BizSeCzZjCdxM22a5UpK3GyEae4A/a9Ag7TwwkXaDwpvcxtzLU7cvflHtDa3vcILTHny6LTO4U0kxiSQxEhslOM62wHHLNnAg5Q93NThGWwuBf3ie6E3jnHscFbkU+BTurnFeGfxkkW/cn9hvM/Nb65WMAEsYQCFRiHLyhfzlJmFq75/0KOfEgSjkBL1dChIUver0ZszV15m9+xWMzZiZyolglChecTysvChPKqsBNq4Q63UfCLbVruRNUOZUi+z1qWbMPW/zNv0DMlWG/sx950XG3Y7PBGjkebESEm2H2R7VJn/SIIhzc1eBp4x6EDoMY+9qH3hKLLUPImaKjr2RClSciumjDNWlpd1A+Chm07yXnBC6ngl2UMzeIahjDvf/B/3h2Tb+0iUAqnFz5DpUlQrNPUUQGIrwy2m8DVlc0GoZrNt0eCFkcI/Tt5Ri9qyKCIYJ8MiN47vdK0H73MBPpv37L/1yPHebFi6tbQ9XU6QQxnyPrjMJkcY23xZnc8Pzz2ab8pJ8cxvq+MVcguTpjlPG998fNsHmKSZXaO8rXctDMHGF6mOr9vPwkYwDyG5rBzpwWTbfS5jX3dQ/QAPZ9k7i55WEqq4sJsDqCfF6MjE5FqYqzXc5nq62oIXDHVCYv8CIjQ9ynQmyyzOsIu+vAWjOXubzWz0Nf1TgYBm+ZufDwv3vTiQb50rK5TmNaxewhgsJ7IVjL1B2KxKec3sbTqhmkWU2jVwJu8OP55L84bpGzi/R/S90o7q/+Un5hUjg6rmstSzjZMzunqaRTp3eKVjCKD91kTbc0Dp2cSB13tk4Q1rl/PEGPIw0U4OogKReFRLDJzAbbtvZ3HtK51+HDpNtoNeK1TsjVlGRovh68dSk21Fs/xnbOTLJ2xxvdfLnbDqWyvZ14s+htPPVNpJhFwcC6mgvYGKdRoJxKSt558Fvkm2Lda+9ja1L26KWMhftimb37vs7UmhRXJgv/7JyGvQcMd6fMxqyics/IZ3fN9smhOVwQ9JvN7Iuvi1HfWgELca15MFdM9aqvXPl60LFH+xvPwhTJw8vFRYUBwLreBkgO7CZMFgrW3TuRaOJ2V19l/XjZqUosjdddw4OpLsRZcE0nXi68nge3CcJhkGV3ROWiv/MtLFrblDgEoJHYCizlyETYF3dY9ldzPLhr6BDUjbUMBdQEBIejEPYut6MyzioXorjFnjYBwHmL+IbD1RowOmYsF5z6iS98MGy5jmTjEZi4xIJ5j6hGeyeI8bIa3OU6EdnSzEilFRsfSnOLCHkkCzrchAUneEC0djFtZkbxKp1biwWpdQNCK6YVcGiI9VyardBNKZKLxlw8AIhoQazlWEBkqQaOJWx2VP1TkLbfY5Nwye/SdjonQU9c/kt2GOnNj8EmhtFZd1SXxlPamppqeltCweskVaSLgTUMQ+rqh6MpFqhFrIMpmeAwemVIW0NKYfIUHjkU+YZVWiZ9ZcBtwek1crUB4kBPwp9Oi+YCRMtS9rYQShOiSTFYKTxYf2olGpjqhGQ/dHSGL/Vu0k12F/IqPk1wlS3eKzXNxWDEzu2jVDlDMSI+KISx+xBgyFiyIq05kdZrvrpUAH91rcAGYpiHjdVTma1wsxR4kpOt0rQA3AOfiGp51LzjN+GNbNg1wDH4ULJ0d3LS1nWnaNsxt3IMOQO7uKacI85OgcE9fDozWg909MYpcQDS03r5sKNQ7PQqJ1EIu+zrj73DrlKi2H+OzNIDWSJz0MKJJ1elGXXWQvMHwH/hB3MIBaSrkna63DNwVhOyShzYndDFQHDDntnoimGMc8PIX523YkBGBEZ3j6sqLTJB5SmxCzH2FDl1LC4dSW/1N3Ed0SPVtnuFz4p9Yze0VhDv+SQ+5ZYumH6IV9ozd4XgpDL+5BQ7680/AkIBWKzdfe7VX03k1uGEDihn6iciEP74LhYozQhAKtpPfxqBJVDCuJp8FP+G2N0Tya7fd2Ol/JMq6+JoBiOTKwgrmvwkiQwdUBQFUZ7+Xco8ZtGHzkmLC+kB41/e/3dh80ZXWdngs7BndbnZFGUM6M7l7WblawoMZGG1MiKJNaY9EfK9r8ITADz+lkfWKoSfj/+uvU3E6d0jOlYVcnaETdSCK5QOJuNAx4ch/2XJjp+EjGeiL3rNpz0YzFWNzjhs0qi2VM/lkD8ygF5M7ZeW1yciZFNnrimuTY9vDzi8AqWXkCVV7g/rjrtAu/3wpkLvLfcMtzYbS2gtEv2D+lKfYpp2CMdWrP7t38uggHUrdYizA5akY/3naQHQQsjYqZZNwxmWbzD2PpxTOzuBs78U5i/blKLI7WMO1Z6rT9GTVhS5kJIc46dUf6t1NtCPFVwnFw3FGIWunwvzb0EBGEyO55e34j6kNvJkVk9+qoaH2XG2aPadvzSoVV9//uc8eZNAbmlXXrFtZg0Rz4fMkGvyc1KQph1vBxdIAYci6C6cZP0c+Ep/ndHEPpciMbS0mbmjQQ2se05LvUH9KC++e4T6Dr3+gJi+6dyJIV7Zu20z3akStTLUZxZU3+PT6rWVFqzTGmY6u1uup8Mi+PZmvzqQxsr/6ghJtqi3w2kVoWU3YvDIY5xoZ+iDZNraukrZWQ05Ej/FqXL9PooP4sLnLPBE8yVbLh1DDS+wUR46CVC9AyPlxAG0JDN+vyfcvEedO09WddKn831RfbUvdoqhHC8maQOw9W5yWc+8PHVTCCknCs79e6dJtTs8aZms6akLFmVL+kNPWF86LHwgKRb9N2tOBSJe/7MXHxePcXJgIIeK9Yswx+oUoU8Nkt3B3EoRNnhm864FpFehptXZBCT1MKc20FnmG5jRYZ7vpkU5V+yxyJqDYj9BL2DTKGxPVPULoKh2IVkP/NL1pL+iTbuJz0nICF/DU/GAAlsTgwgdKhi0HIt0A3qYqXg8637VmiXh3957LskSSql+0Cq/hmrbHzDpRun8/4H8tvubLAVD3vVlaS1JPe5RtbSua+B3wO/rIlfEpMopXNpvGdVRf/ZtOpX1M4M5e1pFUvEGP1NLjOfs3/xaqftHqpvaNRxfIW6DrudLiJxYtehK7jcaM30o4DMNu8G+3HjZpe3MgIrjJD7flsZ1KGQbBg4qUBQyVKR7HLXmEIDbG1mzARq0lO9kQBVt0HGH+6WUXhxrmFTGuUdirnkMEc2ufuJVISgL58TWRyq/dktl341IWavktRVRw/TAikRpqXXBb8czgXQtERRUWlb3OEPvB2/VTnH/uWSyhts/POvh/ozrwazbq166+0+NrPjADfGnxs8L2z/UsoMlH6X1E4IlDktBk6P00bqd+DjwCAP1EmAKpswMrh1gn/CrTH1Y2EG3Tc5a6wu/qMl24FunNF2U1U3ho4+3sVHmv0nZmojY19sgzbleZeH+zvOarKcojcuMUJ5uXk4YTXY2whhOKx42TjWYuV484mazGzoOoNYgMRdTe/jsBPOofjn66cS+FBfpChzD5qHim13iS4y0g77kZrUKFRkkoorXWKDatrGIyE7Rxp3LR3Z+F7QIeQN3PULimZMGptEV9XrECjKpdYi2oeWYlpxAaSS4zEl6wmv9IrERvhp/seq9JiQombDRr9CVqRnLog36yA+rxq0m3/gGEOnuHZWZg8PlawM85/0TxduFIm7PqW+CEoDuXrVvhcVBHThTz1s8FqKpk/LJT6ff2R5l2rZVA9CO2hTjvCQbYwA9En58DmyUqinU6mENILTRgMJSB5MBv69yXaHZcWOQBKPxZ2XqPcMNfN0J9ar99ao69ln6+ljvDuY8ZQmMzjwG57a4uzCK9NnJUKc/IM52k3P+V3TNQ+xp1VaIxXN2zkXNlI5vyd0DyyMnzsY4UXrLrENi4FliKae9mnk8MffxxGMgnuznG4ORqTU8mqcd4COXSquTPz0tEGlE88qC4eWMPaM+v+GGamBL/e+Mmy3oRwgrfSfuxyGeOfXNjqpI1jfTVq566tRq5NGaJHX+ndY6BuAXNHcrYUVytlB3mvvgygUfbMGC1O91lFea3cEkrxM5JhzXqxD/RtsCxRGgdqz90irFUKWDxDpPq7i1p5Hv55H+vmS6fqFByZH/ryDe98UlOKAeByJwcp8HUcH6xz2CLl64iJrDoDiIHvJDzeWGHDwmSaTsoET/URrwyVrB8/h0z3KCMIhpnyOjlgMYy3Ew3JdFBH7ujlTgnAvQVHsssf7OS3Mr0g5qWRPOh6moGIjDOIYkTn1ZtSGp5LMxTOLIEiW5uM9CIXf+1EIKPbUiojbuLCnTZhlzDHxDwDPtVAt2tbNd8vGowTxK4uclnRGNyipXwG/WNVPcVA0mjwcSrCH7iaeZlK+XJicOsemWxNjaZJVR4ZDId6VhytV6YXW8Fj1ymMLMCA9myy5rl7c8yfOBkcNawafGB4oTGOz3pE8T/NwgnjOmFKeQANO8m15CIHHlfWVM8v+T34r3/m3oPVuPCdm/HlkavIYhFg3B1UeDYA2wt/4ZjfAnADQ65+tvpHXKoCIyXYCpRPH0Op+yzVM1k3bTLuK/ZtDk4PDB8GzfolglqEoE66CB/yPzk+rPsl2GA6RcoGfyVKAk07R8bh2DU2a0G8/62T69bgOVE7+Uu8NRxC/msP5GPdWJgsEGiJH/dD7DToAPIMEkeQKR5uaDTb38od1AZfRk2pzIrirhYnfiZMfbEPzG+pOzrKEUfs16TRsldW5Rrz+cPfkNzA1ujQmt/nLjoxYBsvZl5wwLCPeiMkSN0MqyOv3Dsbkvx/4OOubtOAxKXS8NeEdErCaojgotS7AO952+oBFgE7kjosHknQMCszexQSAQD1T9C6NjDHaDzvAhASGM3df7fxDwf4w1CuD+1arei/Bv8hoGRO0EciPICSdzklYiifDmWSyGdagAL/RB4k9oei9JismelEbQ1+cDJI+z1Od++JPXYG5LJW1zXxfMuUnuEsBAY0yhXNrVjYCkVsVvUHZ7a7MKbW4G2O5Hvbex9G5+BLV4ITEri8w9jJK+ifh9wZtGqmZpMcwneH5EuTER/+XOtx+DWkrUjvZ09TGRodsYPym6D/9y5zbdiRJZUORiuVBk5JwIpnKmJgMYUncEoseGZwkoHKixOH0uvHocaLAFJvPNw8dIK+MyIBi+MUROIo/dqDFG9ek/w08AYWSc6HRpWPOfSQelyGOh66M8tfBmkUcT80BIv+mkPntvPypi3j1t2DGT3dyAJN3ZKa5Ts5ZWMxOtU+sKgQXeO5cIv6KsGfVD2cMqmEnBsvc7J7O0Te2/XJkxbrslfMwjodyVRB/oeryKOlBwzFzk9Gj7AZBrpTAlTXpkYw7Txb9CRunJA8e1z+CJxIcXC3E9j22qhvgjqQG+H6QKp7/IQWTnlkQ4SMf1Ls6wNVmPfx2SUgMax55M4uXyYve16xbEFz7OPFbd0sSJ1x6TF9y1SJprncGeTHdRaV9LvZht/xYkejNLY9Yr+iJZwTFQbVQlfdYosmS6ObiPXq4oWaUb3Md1+D9Bq/eQNcOpHhVe64Bjur5EnaR5QXEKFifp/NH/jiqdI0QbXLA3djEm3oFXj39MdHfcYrDO7e8envYq9OiD90PjUhmOS3TocPoiSlMW7ZFguBeyt8F5KLmIy000eG5cxg+FX9G6V8RNT/R1kuWzzg57SjisvC8JkkEmbF4+ER4pOr8wOVFxZc3wz9mElP1Qy5QRvnRoA+GHK5CNPY0lqz7BieNylYOrgvoE54Jie6dKsgfoXCOokKXTRZ5dzDWYXHk5WjaYoOxYB5NYjgyJtPqIBG/+dRSQxgmngnzyel44TDVi7weHXVVdiateiMPU1F37hDg8jFn8RpzDSbRc+x2oXITqeac57NCYDFFhYaXZ9TcTF2MulZMBkXVu4RcZRJNmwayJDCBjpFDDvlCWDZNdoMlNm+5G0/zCpgrhJT7pZ2KYqg6Jto5yqIP9nTo8B8fBeqK4lWLHXoekqhGwMJzf+cEPKbx6PIB0WEIF4fpnWkrTgBM4TjUnOD9mlTOGP8t0mcEqSepKj1h9b4hGi0TPj2uKrW03y0CU6fNSit4NWh4jjyRekfcIbxq5fmpXl4/q1vrmFUVA1Ts4WqRbigvE+mfKUoXTbDvpcTd8rj4HpliQNvAUeJeCm8BNnj5x3OIPwBORD4H41SgDtxpYdrTB2k60st0gNfRRDQimsqWB2VEphM1CEN6nLGkIYcoohvIPwek6oStp5MQLrbrcnTLiutj/FiXnZbB/reNptsmqFtFohgHOZEKtpLBqzFtJ+44U0eDFIsAxuNXK8mL1cZYdOtESKPZfemGXgcQEGRWpojX3qxKLaF/v1SgLFiytmBLWWhIqbya7qVRrBJMfjLVXFv2r3gx4C1yaIfixp/L/SI+jhjn+wcWAE5xKoz6VhZv3uQ2vB41l7gqISRPXdteA0p8NHuK5nmIztlsUmV97fqJZpAEzW7F6Eu0xD9nNaSd+zxQJBRMQT/VcRiwfxGiol4omT0W/ELz39QXAinXHT7TfmHBHYXlbil3X2gZROF/0JTT8A09MlQz4sTQPTqdpav/JILKKrvoGFqcMyNc1pXFCMJdjla+8Cg2xY2OeiUq0/qst/hwipixayZXbWs0aM4bZ6dzCWadMoGRGRDZUub6/Cf4fVYVDfkluNhbdyquVwlJmB3g3IPmg4gQiAOq9DBXEf6vHt4u/A9v2SvAPf+sGz9Iy2Vz7AZyGP5mkLOESld4cfSsVKFSG3v2nYyGxYLdr8GtS6o0C3Mg9wvZv7OQCREh4sJQ46ZnzlCterhE7Dp6Lazkk7DKvQ0/+C7bXeeX/MbnfUL5r1oheEd4kNq/UV6OVhhlABzajjXIG51uxS0HKITHAxf31oLHM25TkLC2N5el1z5rt0IZkjsjwrOxzuiHjThUVZYK2GEMJvbXVQA+ZJ9+XLSEnPt9wXurgcZp3BvXANyiitcR62HBDRdG+9DAwyfj9Psb1a1Ciq6UQYXN6vwJFdofZL4qsDRc+DrwREV0ZPntiVcebP416bGDDnOJxK/ikGJYyjFcsSd/d7zvcjKwQs10Kr6bzM5TQAij3zj97DMH6Lct4+PR6UruJT+wJmIX2QIFZIzm/nbsBiYqEbI+pB5y8mArYMfXhTBzSOVOV4lMywAjYQx8eJfQb86ZSmetPM4orMPj6DWKTD+Zl1csCVvN24IBXmyI1w1//DwUfW+LwtSqr3JVMe+W0bAECTD8UqOA7j1DtDph0nfU4pAS4S7h4C+o9azdm9C7UtttHjbH0bd8/kNdUVCPUKgum4wyR6Mm/UhNS8gej2TSKGIH4ULTAN4Un6078pVSxgrPkwf9K2q9fIbAxmTPDTYUsHZhl/Vb3GqJHQPS2/ANBLa6D7R+IH6janJyMJqHWYvPdc9vCRgUuxo49VbWR2TlGNs1w4kluvLuha+8gQIynIP0kZ50iQoSncRTdPhDZHhcJStNJJAQPhePRdE3nKRPYn52Egw8gTxQIbGb46zrHdvaymxPqSexny89x2jAISeKChY0hBGGKQhs51ez5dVu5zzP0FGn8u9jNlMa5cXBog6h8LKrKHmdUnqx+tb6wgEoBN2may9MfvF5etXCOP0baKIeNiPCSW4fTLfW/i/7355ZMtauBLf18JOUOuY3O8sEQHRjcbRnnCcLPo0d8BEMOhlxLj3w0phA3pWH+l7XeIs6r6k13F3sfeP82dGIBiM6lRPaSLE1ACycVRU1kfRlmq8isBiiW6K0URKYcmdHibCws4CNS9n0WzQAg3WuVFigQ9wT5cEZRhIYAcePsNk+bNgFj3SmZzsB9VHJGT2IfKs9saIu2lJAz+JT0oK5xUOj895axr0Yb6P3ABkAvoT8T3bir+EzezYQ+Gx16JcWC4yLFSVdvK9ckJLiW15fpSFAJQ6sWIJ89diHXA9pOPeE/hxFVWJXRm1woYvqqgGPZc0sLjA03dwKy4l4t62asyqHZkiTqyG9pil6t86rePCbbWOZXmkzQZUmeNYe5MUDcI5y/E8c3CAX7Z4jVScO31gAqMoZEVI6XvIeNZZM3eAb09gUkXaiv1sr6mIjiWvkII3QSBR4AwitUSJLQhzYKJOKbCckjRZ5Q0LNlps+JE3+LLrm/KhbXtK8hzXrf6yedEknV+DYNNc4aLpxlXqWNw/Yd+FCE5jT0SK4sBeD/CSKbVnHv42DdRGZqjtjAqDyfrMsUPtDUYaPSvR8WI7zp/Oc/bOdN0hHPTeD5NJ03ekhQoH5T2wmwWFvv3ZzHozHH9JYlBqPvP3SzLEE0/J9del4w/38MxkYP2WK6FHY8ee2S7pJWRMLU0olUhP8+M8tpj7eqtiGSIVcDURf3L5LJ36MZg9v/sh6pnv+SWbw4I0t/6qo+96ZTd1lrP+PDOwOBHtdWlOK2+qyfe/Y4U6E15kXaGOysZZAq86pITkDye9aqU6493K2GN3uPAL/gNIO9n8DMpl+mZIi4U6HWIHMI52WBypJa8cZ4AMlNjXf0SgXg3DS0S0MXyf6L3rW5xkhod1FJ6n3JWvrhCbVsWTpGUWyt7dHZYWhMLfuqQFrKIXgQyiWARYvabz9+hqvv4A9XCzwS3EMqvzGOIctE0zPuHvr2R/IBrP85iTwDPYmA13UhhBcXWR7bwZvNMk04ifQX8LiFxRKCsRBA9NsWQK5t0lzjDhDiyKHC1orIMNXAaYA2izftYfy+bTWMdKrjX4k6gkOgQeX6M3/34Z9biDKmWU++keMa5t/fRpDdLPL6vXZDR5ZluCYyVh2eKKM0JpOboEb/WL8MxE86UgCm6sIYU9ijvB1PSi63cewE5ck+0m944GufDmo39/2jCB9lTKrBGm7jzv/pzuvAz3CPkKSbtUnppKxydq2a0K7KzTkhQ4tj53XEQTN7E6FuTdaLaS2XpEWMNECyB8nnLhU9PvFeAeIy4WBmNaoAN5x6NePeN29IL88ND0Ehn9zI5YIPgbakOuPP/H1T5Fa1b4ScsX0DWe0pU7mMK+x1gqPEMBE2+t321cN2UO6yr4l8h2Z8L95pLCGS9KuJDtRKXsSy0Hv2GEarZhirEW1pY/ZeyjieqKGa6DJvLgoxBRIkVs5cBwP3hDkOuT5FPi3LBqpDy1/AxDnQEfDMTcz5yiG1D6mCkhqezlrdECcxgp9nnstSaiiUktBV8YbFNtbjDalTui+aU4fmEQbgxj2pG7QRJG7+ox/2lPsfFK1hAhc95944bDXLpwHodOkmBu2EypF/MQeT86Z4XjrOuR6Jn3cZukS1tuI9WDk07ZbmmS1zBKpxAGdCYcRKWAsWCyq/cjidxjGCbNVImT5cY6G5NZq0zgc5BIVGXM+h1J6ODcl9v7BqHNpob3sI9zxwLYpoPomSDHtvsU1wtSauuGZA6rFpx9CFTSxv6Fw/qtLQaS2kd4zHcbbOHNltbBXtSXC8kpda0k8AQAHjO5dbjhluVzdLIBMeLqu2fCO/eSuqHeD936TmOYjl7lQFJVN1Crbn+JNQ3oir70yuqR9sSOKYttFMl4eM7zI10EKApdafym5oOT1ygeBDYutxfLV3DHg+gIdPIGLzWpUTU/Cr5pnm4ZLwB5nt9aALstQrAma4xJm/I0CZ7f1HGaLKbJpA0aeSITkxP5or7tszpzNr8xIniGnaY1PCblk3n1EPYdNDQRqQhrq2RG8OOxonfi00ApxZk6tbY90n+eKiL1NHcFrXKSFWrx3JjJRxVzgXbCLt9X2DO6n7pEFXBR9VnholuxR9HQqBeZv/NYgvnA7+poICkVhWAN7nddHrFd0eOgV6uAlIkuWK0Ah9FE34SqSQdVR8zM9/eaP1sNfOoHOl0VQY8t7jPRGV18QEUjwdqKum3Y2Au8N3cwPAANUfP717Wqj1N30t73zgF6a6UvpztxN/LLmIABg95YIBVeusWc80QseX1i82Q6iE8/U2eILPTwt82fX9QeM5+yyWNHalvu3jTiLZBb9tz8owYhWq3ebVDgPuyTvV1JrWGBnMkTuxstOIbS30xW8po53KPNjmRMcOVgKxN+tFNiYXZHDEzZmEyKthvezpYCsm8nyGZmPA4k3nZo9HD/OvAyOKvYiq4nmtdKhem7eyrFJUQ6hvxlZVm37IbRuv185kaM+ddHlh6xrp4zdE8wDA6OlN1Jt/Dj3RWMuSXoGuxLyvkn3XjVxrm9Oib5RVo31WeT1IPKGiie6BzIYXKTRzBUDOfwabq/Kli0NnbGspOBl71qSEA0LTILzlyzewZW3QDbQeshCrUDxV72IiolJiweNCKtfQw4CVFWzcdHbDST0izvqO4EM5VQgG64xh5f5a12YEhJA7T03YBQF1vATtt8ta7JbUEQO3y0MM6jw/52OjJA/sknR6O6wQl2JvqaUkOdoInYLfXbjBEeE7O9OhmvA6vNBcCYq5SkCcqnNW7PpS//gP7i/CrlYTitChOcp5Q0Xt7m92Xbv+y49ERDe/e506XPu+/yQ3kTOcqbKpJDv/rl581JQDE1mrSg44tjgepWRUOD0Oor84qDEd+iTX3bCkG9NnscA0pqoiFtuJTLoN+bAfziA746wDy5vIuRTbgq4M9DloOGTPLC9OpYABgRNHSMK1e+Iw6knFi5d7g6NbZXiedYyW5UnRFlgyMeJwBmK83gtchRbqCVtXHXL3SCan2r+AsxJqGb5Lif2Guu7RATY33p+SixCtSGqeQ/TCpLJwSn/q1M8+SpRyhkTMOUP8jaWtT8TjMZFmQ6nTPamN67fxWc+VPMjmwZT7L+ga1IW0b7kZYd0PDtQigXgvzk3f9STVU7taQ26tWy8CnrBxKnbLLKemq5+Dm5N4EE2heSyLJvMqeoSADbSsQfSkTBXP+L8TogAOR9CmXmRgkhKzj7m+pbgopc7ngUSQh+RUG17oMoee/vYc3At8rT1WdcXyMkKIoPORIa7aHuc4Q4y/LhTg8hvA6haVTduWjOLvw4gvAHxCqCjUPoOBifFRiFe1i3hh+3QkUY6U17GpwpFoUcF2ZdsHhYozqEtOeOKcXpAUonvfizsmWbnZt5KTgr0n1wBAdIi+N2Njc7Sd474X1jJg68rZWGUba5rG+Yme9H0O0+x1FqjC0lvemQlT/bg4Q9WesRv0gQRnGpYxfzpwOf8xlDtI6U+42qxcptF3lbIdeHN43RZ/NObn8UkM0kb4tgFmGCtcBp2GYwu5n2kcygnc3GSKa+6FElwg5zGhCo0l/SaXx1EfHxNHqhpawuV0FmblrCezimfze2gVX6/TSS5phW0RwIdfSklEoZxd2fe8TsP9l8IMzYQcSOt6ogD2DLsuhoJrO+GqgYlCEhmsk0mPY2/Z4V7X5MCx9BK6M1V+3d/sY9Bw3hK3TGflP5Rsxhp2Aqy88cMh2HdPPFF5lhLP8DkIiT1YIvIGkYlClUSac+tM6YFlvxwrrxjj7XwsuM0NJ7sDr5oF+PbdkUH1ng/Sg0UmX5KvO32EuiYrBUTb3ts1eyRb11xROLXXe3iAWRBWyMrH+33dstfZSgSaFl/s2D+NTLwVGu1jOxiyUyKanmoyX+WJnHgM6QZsP4oXUaqVvOLlUxbj28STEB4mAqrde5Nc5VGAySwQpoWthGvbg5Upq9K/EUDK4JJ9qPmxBLaDyG1bGiHZhBHquoiFLSvSVTyRXD8qIL3GYwEGGxK+zSh0Ao9LFryQQRV/5fmKg9KsrHgyXleoYv7hE7RdlntjfJTlMQaJfoaLiNEE2G/+Eqzzp9HoPmkldzC0hh1Zu1/gN0OdREFsefwOcTPFiTXfSH1l30sqrYXEh9nM0IMXuSka7VUeglGIMMqD9uQdawW5ici/lDZLjLEw4sreGk65QdrpFb9KwcU3D4eqm49ivgdxRnEmqmMAWdN8MkW8pp9zEcbHsH+UBm8h7hzM5cRsNAV/XDhRZsZD4+vKDpRF7gaOw+CI+6CwmmPiwjwZuZ5EHsaCpWi+2gMCWwHVzaDC+J4MFqPrNtKGDREHBbQ479MRbobJHtNtk5bkSpBmFFaOgtprKaPUqvFxPQo3mjabkSMECaIIc/Csw23CbooLHoPGBXh90p6zwGCyTS3sFof7V57Q2N+my6O1swT4T0O3WDA5m8IfriiEQJjrMusAyekf9l428KHQvqDGH9QwRT+bU7qViv6vik5BAYBCuOhcMj3n2aWM5W4SSNjLXO3sA1qruNOuEUJgIVtgI65a3RKz408JYB+TyYCq9s+b9L/jZm0dM0p1tZNK5/xJNFltJxZJQo2BLJx0Ir/9KQLNoBXN1dBiIFSGhR1K+Yqj8s/fLwfHFsrHCsaC4ykMU836s4+aOUtTOrTM0k5yIciV9Gm/SXZEIRERVhlTyG3kabMS/dh5KQieJffIA4A2pFL28N3jlsCt28knMbsnUij1wEugr5R3DvjLzquUG6AbopzX1pa8C+95TOaUloiF4smVzWWz7ySRNLSg4aPJTvIqX3t44iKRr1mB6UdkmJvCO0e98wWXDRiH+2tdevkTK5kqPnXzpxbH3eOEWAAp/9D0Ph7eJpPRfH//+pxEXg1aHwzz1+4a88jjOsvrONRzhYJMBjwss/174NqCTVbWq08lUX3EhUh729D/XdZKv7c8LIg6pEw1sMzQJ6R5n1qh6AJ+NVTxUETIWgG7FJn9rVHhrnhG9Otazm6hPLMoUkLXFkCQFR+7TEHWA2P6kRjPL36kKgj9FPDoVqlsJ/LuJ8x5JVrv3AmVDDvKAQXQJHNWIk2AX9KylSmBgrsXftiWM+e64NtO6SHQNwZABIpI2Z4r1T1dle85jZC9viJPtfh+OvR+U5TWhlzkD8zE8GzpLzFfKnerYOtYtsxipPkrO0YAyZtlJTXVMpvbWSb0qVWJtT9WQ5cBFtPxz1a0w8n1KRTNZBA0r8FqJ2Cg/ZS+QyjXwzWsUWGcM34LIMhI2PX72C0i0rd0xQSaav3vGh4M5aJEDyVnxZK5KMbAFjB05/RKziZwx6J2HbL1zOZqncBpBt7QhBQP3dYX7xygwfr8DtCREstXa2LXZ+uMnzQaKTG742vIDe1Z2LtJ8ltBt9iILn08qrfM3EjDjmy89XzIVBF+s8X8k4lExy4gOdgWamteQub3zWAOOBmYyepE1ATlaUyHikurfsjeYw9bGuRzU3qYSibFOxCQaaeXh8G6s9qVvhV5B7WNQpPlZDOJCWEnwaGYfeRGyfVtdZVmmsZ59gupEGUdKHzNd+YiCiijKz09pjH91lRDhDm++Lzl6g2UaPh9gITjE43Jcbcw5DtaoW81kAuCGy1sHi0wL+SbII1z99STDD4wRfLOITKspudlVstealHHGMC7we3WxMygcLdc5hQ8pPOeQxazs7eTU9a8hOJgncRl5nhnWaOFu47k2IGjglwvVrXFV3YDwluyRWC6s30OMoxB6ZAxzSPC4AINx4ZZ+KsROqI/a1alP7oxs90992pPZNJfCDDaa4zzW1GO0em0VTJ/4s22gkjfX/siPhTszQdiavZ3j6e7p1ipiHnu+tP15k08w3JlckjEW7X1Zw3+rIJbkPsbiFrUaZQO/M0RZ7sf3CBH1OcPhY6aLVw1J+iZzlMw1s5Edo5Y5tsc6la2vZmr3S47fyH9guB+picioVBACXeilfKMjnPuQJScyd92VV7LWAw+EgyD1RwNMiK6LBH2c8pCcDbDdGtWelyTCCDbkyzUVb/Mkf3MKkNcEWblGxkMBAqDyK+BYsnh1LE++BYeOApYscEFQ1lL8i6Sl9qbhr99mNOlPjWYS1QrkKVboDDwPF0rKw5LUa+HAeukZGDUIgRrUxn3FNSCBr4OV6XqfeN29Vax1PDR/O5zIpRNTA4JAbrLMq4tHZ0WTqcknoHQs3C20q9MmRqX6gs+8QonJuvXyYrd2slgXjpn/7VI7BTea+8GrQ0I7dlgnv1gWAjN0WZtWqHhZaPYRw48Etfkx4zrwEXviPwE2dNsULwiym1iP1+kkOhLWSTGwmKORtF7nxT92tmut8Arqdt64n4CK1clwgs49/2QEHPxAYeeKABszueuruFe+VPAVZBpUPYCIwi9Bmij1qfaYYeO29i5kF/h6Idwbz4AZQXs02k0T8CaoJHwhf4oBdQEjr/gLrhxowGMWsdpp+5mf8yJwOx1jGg9Ei2dt9h2syjcKeCdnGJS5s0452qZQxLGEtfC59vV+GFTVf3mq7Dv095l/1pJyvFeWYMYPBqiwp6/iY5lcxLBOjezP0g61u8eadzQ0TJjGpjwgiKHJ84+2riDTJrLjcXuQPTEtKXZ2PbAP09tmTQnU5gB5vR6yOj/QH9XjpLjdDYL5SJWD3UrBKZqC0Mjk24tWkhWQrM3XMxUQ60gwn9OncVQQiCe82LYSuEGhFuvjiOrMasKbEIERwuH3Ztwnv5lVok6AojBCJhVf86DLAkly+p8hhIWySo64tKAk0M9Gum/qkzFUcZSHnjR2ahzoALy1All+HHJzun3yeygMHrJq6aUIgH8cCF61+KFsmD5dmM7VanJ5C3jHh72QiXupJ8ygk4Eg32ZSGYZJdvolzwCH7x+Gxn3n62QKrn5ozfzozYyEqfYpOXitPi4lOJhOLTg0vyqbGm78V7qhJoAGUhh0v/ixhGsPkXO1gBrjy39J/oY4DNPPjQAXUbOUuwzcavKuA2aXbhlCxgPv25HvSXRCKWQgdlvm3x1UrzXtg7I/SfHqCBOjRO+PLxHi+BpxUoN6toX2NY4S5RRaSXDcv7JgBnYb7Pv5gvY00+9tSQBIgR7knRW9XUq5QmdpegNsGflu7kMGgmFr6sB7yDx98aQVx/pltARlHKDUG9xGFX+55UntG+qS7zAFjHXbY6EQbQjm0Bpt7HJvwFvF7K7VNylZEbrHX1G9uTx7S5hrN6JU29DlQKgrBZPVISRAT5oHhWuyPyZU1bubsKGsdEn6xG4S5d0OTMvPLySTj7Wd9EB0wt29MqjDFS1eIHqKbOjKwrqXDFcuOF2rmJs48CPe00MWNbzXBJmpI6iuBE5lwBHLtvm3+7U7T4ydHQk3j3HuKhYVEWzA+DHO5q9v3+0zOyBYAqU9RBx4j8DOwDMZyupHRmn465LFca+V5DiIM/gfxd3YhEjOu8iqqx98RqxxVT4YUcY8F1COGctEKVosmZ8nvxXOIjaVdodi+7d+ssRvE4WJTW92J3htaMO6S2dZwWLvRff8fQ854z/fxlmGGaKk1cKRlydQw1FiA+k6Jc3tYS8dKBmESCMoE//e4QfkJwXp+73zuOewxfPfujUswlcF3T6XC7ETvhl43K/Zv6K364U2y4WSFIzN1F9KmUt4TtjnvWjxJKFmAntHAo3YnjlLCIds7RCI7EyBRi8QEsOWfCMwREEUROGzHeqk5b/FpRxKTkoMFFBfi6KnppyCd8wUKbIBfZ0NbT6R6W+dEYE8LpJ/Mu4ngeRdmQmT2hbBAJQ7Qf/jLjs3WhoKjmoWFZ9aJS3IkHjg2yGoruJC2ymTqpvkUWhE24kspBCHT2wWGKoPl8sh1dyb9dX+BKmKuQUSlCIuFhnqgHnKAJbMGltCGAt5XLWwmJmF0BL2iEgryTZk4Bi9vERM0j+NR5mhqjxhLEctj2+fE3BGo1Y+15SdnfQVf+vwzyWpSdWanZFi2H1ARIprvT8eg//4j6e0YpkoN5kQbOIL96cH8Ui5x8Amdw1G31cj6EopobuHPD0LMjanhOZEwbrHzaHmLchj1PUlytl/sDtfTru5FvrxoxeF7/89Nq6IghxxyHADD0ZKSqAg5D9HthPubUFF/0qA=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2603" y="1268413"/>
            <a:ext cx="11525143" cy="4969556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btfpColumnIndicatorGroup2">
            <a:extLst>
              <a:ext uri="{FF2B5EF4-FFF2-40B4-BE49-F238E27FC236}">
                <a16:creationId xmlns:a16="http://schemas.microsoft.com/office/drawing/2014/main" id="{B995238A-E815-4B55-BEDE-EE44B741F42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8" name="btfpColumnGapBlocker891886">
              <a:extLst>
                <a:ext uri="{FF2B5EF4-FFF2-40B4-BE49-F238E27FC236}">
                  <a16:creationId xmlns:a16="http://schemas.microsoft.com/office/drawing/2014/main" id="{1CDEE9DB-CC08-423C-8182-453ADFA302B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tfpColumnGapBlocker550320">
              <a:extLst>
                <a:ext uri="{FF2B5EF4-FFF2-40B4-BE49-F238E27FC236}">
                  <a16:creationId xmlns:a16="http://schemas.microsoft.com/office/drawing/2014/main" id="{C07FD90B-DCAD-4199-9216-070B36B5E97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btfpColumnIndicator220941">
              <a:extLst>
                <a:ext uri="{FF2B5EF4-FFF2-40B4-BE49-F238E27FC236}">
                  <a16:creationId xmlns:a16="http://schemas.microsoft.com/office/drawing/2014/main" id="{8A63B388-4952-4667-AA68-924ED2566B5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168536">
              <a:extLst>
                <a:ext uri="{FF2B5EF4-FFF2-40B4-BE49-F238E27FC236}">
                  <a16:creationId xmlns:a16="http://schemas.microsoft.com/office/drawing/2014/main" id="{E2D8A8B2-0152-426E-A945-619D3B452BA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IndicatorGroup1">
            <a:extLst>
              <a:ext uri="{FF2B5EF4-FFF2-40B4-BE49-F238E27FC236}">
                <a16:creationId xmlns:a16="http://schemas.microsoft.com/office/drawing/2014/main" id="{E0887E7D-0EAD-4D5F-BADF-D89F5F97448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456268">
              <a:extLst>
                <a:ext uri="{FF2B5EF4-FFF2-40B4-BE49-F238E27FC236}">
                  <a16:creationId xmlns:a16="http://schemas.microsoft.com/office/drawing/2014/main" id="{1F66A2E0-F339-4326-B2F3-E940873168A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btfpColumnGapBlocker994246">
              <a:extLst>
                <a:ext uri="{FF2B5EF4-FFF2-40B4-BE49-F238E27FC236}">
                  <a16:creationId xmlns:a16="http://schemas.microsoft.com/office/drawing/2014/main" id="{E1DF4B89-8C12-4095-8EDA-1812EF08897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728536">
              <a:extLst>
                <a:ext uri="{FF2B5EF4-FFF2-40B4-BE49-F238E27FC236}">
                  <a16:creationId xmlns:a16="http://schemas.microsoft.com/office/drawing/2014/main" id="{00A1A74E-56D0-487B-AECC-0A299925DB6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59082">
              <a:extLst>
                <a:ext uri="{FF2B5EF4-FFF2-40B4-BE49-F238E27FC236}">
                  <a16:creationId xmlns:a16="http://schemas.microsoft.com/office/drawing/2014/main" id="{CA20584D-B04B-4B2F-94BA-668480C2463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tfpLayoutConfig" hidden="1"/>
          <p:cNvSpPr txBox="1"/>
          <p:nvPr/>
        </p:nvSpPr>
        <p:spPr bwMode="gray">
          <a:xfrm>
            <a:off x="12700" y="12700"/>
            <a:ext cx="116595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500342913428507 columns_1_132500342913428507 4_1_132500342913428507 34_0_132500342913428507 7_1_132500342913428507 5_1_132572778776400791 10_1_132597959374508981 </a:t>
            </a: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ross players, majority of job postings for technical/ field related roles are published in NY-NJ-PA MSA; Target is hiring across regions incl. New Haven, Springfield etc.</a:t>
            </a:r>
          </a:p>
        </p:txBody>
      </p:sp>
      <p:grpSp>
        <p:nvGrpSpPr>
          <p:cNvPr id="43" name="btfpStatusSticker443151">
            <a:extLst>
              <a:ext uri="{FF2B5EF4-FFF2-40B4-BE49-F238E27FC236}">
                <a16:creationId xmlns:a16="http://schemas.microsoft.com/office/drawing/2014/main" id="{F70B1298-D66D-4B46-A915-81CD265629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44" name="btfpStatusStickerText443151">
              <a:extLst>
                <a:ext uri="{FF2B5EF4-FFF2-40B4-BE49-F238E27FC236}">
                  <a16:creationId xmlns:a16="http://schemas.microsoft.com/office/drawing/2014/main" id="{F778B632-4F03-49DB-BDCD-793CEDA9F808}"/>
                </a:ext>
              </a:extLst>
            </p:cNvPr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46" name="btfpStatusStickerLine443151">
              <a:extLst>
                <a:ext uri="{FF2B5EF4-FFF2-40B4-BE49-F238E27FC236}">
                  <a16:creationId xmlns:a16="http://schemas.microsoft.com/office/drawing/2014/main" id="{76FAFC93-DF14-4F85-994B-11E71C39685F}"/>
                </a:ext>
              </a:extLst>
            </p:cNvPr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tfpRunningAgenda2Level456905">
            <a:extLst>
              <a:ext uri="{FF2B5EF4-FFF2-40B4-BE49-F238E27FC236}">
                <a16:creationId xmlns:a16="http://schemas.microsoft.com/office/drawing/2014/main" id="{E1C193D5-1DA9-40A7-9DF0-4045C469D8E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979627" cy="257442"/>
            <a:chOff x="-1" y="944429"/>
            <a:chExt cx="4979627" cy="257442"/>
          </a:xfrm>
        </p:grpSpPr>
        <p:sp>
          <p:nvSpPr>
            <p:cNvPr id="39" name="btfpRunningAgenda2LevelBarLeft456905">
              <a:extLst>
                <a:ext uri="{FF2B5EF4-FFF2-40B4-BE49-F238E27FC236}">
                  <a16:creationId xmlns:a16="http://schemas.microsoft.com/office/drawing/2014/main" id="{B284BC70-4ACD-4135-96D1-E71BEDF0FB2A}"/>
                </a:ext>
              </a:extLst>
            </p:cNvPr>
            <p:cNvSpPr/>
            <p:nvPr/>
          </p:nvSpPr>
          <p:spPr bwMode="gray">
            <a:xfrm>
              <a:off x="-1" y="944429"/>
              <a:ext cx="2630749" cy="257442"/>
            </a:xfrm>
            <a:custGeom>
              <a:avLst/>
              <a:gdLst>
                <a:gd name="connsiteX0" fmla="*/ 2630748 w 2630748"/>
                <a:gd name="connsiteY0" fmla="*/ 0 h 257442"/>
                <a:gd name="connsiteX1" fmla="*/ 2327780 w 2630748"/>
                <a:gd name="connsiteY1" fmla="*/ 0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8 w 2630748"/>
                <a:gd name="connsiteY0" fmla="*/ 0 h 257442"/>
                <a:gd name="connsiteX1" fmla="*/ 2576026 w 2630748"/>
                <a:gd name="connsiteY1" fmla="*/ 257442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9" h="257442">
                  <a:moveTo>
                    <a:pt x="2630749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btfpRunningAgenda2LevelTextLeft456905">
              <a:extLst>
                <a:ext uri="{FF2B5EF4-FFF2-40B4-BE49-F238E27FC236}">
                  <a16:creationId xmlns:a16="http://schemas.microsoft.com/office/drawing/2014/main" id="{37634B02-051A-4A32-9E29-B5A33118EC3C}"/>
                </a:ext>
              </a:extLst>
            </p:cNvPr>
            <p:cNvSpPr txBox="1"/>
            <p:nvPr/>
          </p:nvSpPr>
          <p:spPr bwMode="gray">
            <a:xfrm>
              <a:off x="0" y="944429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62" name="btfpRunningAgenda2LevelBarRight456905">
              <a:extLst>
                <a:ext uri="{FF2B5EF4-FFF2-40B4-BE49-F238E27FC236}">
                  <a16:creationId xmlns:a16="http://schemas.microsoft.com/office/drawing/2014/main" id="{C76C152C-4E27-4B0D-8D77-CD626E729158}"/>
                </a:ext>
              </a:extLst>
            </p:cNvPr>
            <p:cNvSpPr/>
            <p:nvPr/>
          </p:nvSpPr>
          <p:spPr bwMode="gray">
            <a:xfrm>
              <a:off x="2495906" y="944429"/>
              <a:ext cx="2483720" cy="257442"/>
            </a:xfrm>
            <a:custGeom>
              <a:avLst/>
              <a:gdLst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960420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54722 w 2067875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0 w 960420"/>
                <a:gd name="connsiteY2" fmla="*/ 257442 h 257442"/>
                <a:gd name="connsiteX3" fmla="*/ 54722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54721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32691 w 1532691"/>
                <a:gd name="connsiteY0" fmla="*/ 0 h 257442"/>
                <a:gd name="connsiteX1" fmla="*/ 1216681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124199 w 2124199"/>
                <a:gd name="connsiteY0" fmla="*/ 0 h 257442"/>
                <a:gd name="connsiteX1" fmla="*/ 1816204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4 w 2292514"/>
                <a:gd name="connsiteY0" fmla="*/ 0 h 257442"/>
                <a:gd name="connsiteX1" fmla="*/ 2237792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470449 w 2470449"/>
                <a:gd name="connsiteY0" fmla="*/ 0 h 257442"/>
                <a:gd name="connsiteX1" fmla="*/ 2237793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9 w 2470449"/>
                <a:gd name="connsiteY0" fmla="*/ 0 h 257442"/>
                <a:gd name="connsiteX1" fmla="*/ 2415728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1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0 w 2470448"/>
                <a:gd name="connsiteY3" fmla="*/ 0 h 257442"/>
                <a:gd name="connsiteX0" fmla="*/ 2749369 w 2749369"/>
                <a:gd name="connsiteY0" fmla="*/ 0 h 257442"/>
                <a:gd name="connsiteX1" fmla="*/ 2415727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69 w 2749369"/>
                <a:gd name="connsiteY0" fmla="*/ 0 h 257442"/>
                <a:gd name="connsiteX1" fmla="*/ 2694648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909671 w 2909671"/>
                <a:gd name="connsiteY0" fmla="*/ 0 h 257442"/>
                <a:gd name="connsiteX1" fmla="*/ 2694649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3069971 w 3069971"/>
                <a:gd name="connsiteY0" fmla="*/ 0 h 257442"/>
                <a:gd name="connsiteX1" fmla="*/ 28549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238286 w 3238286"/>
                <a:gd name="connsiteY0" fmla="*/ 0 h 257442"/>
                <a:gd name="connsiteX1" fmla="*/ 3015250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6 w 3238286"/>
                <a:gd name="connsiteY0" fmla="*/ 0 h 257442"/>
                <a:gd name="connsiteX1" fmla="*/ 3183564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491561 w 3491561"/>
                <a:gd name="connsiteY0" fmla="*/ 0 h 257442"/>
                <a:gd name="connsiteX1" fmla="*/ 3183565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1 w 3491561"/>
                <a:gd name="connsiteY0" fmla="*/ 0 h 257442"/>
                <a:gd name="connsiteX1" fmla="*/ 3436840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1 w 3491560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0 w 3491560"/>
                <a:gd name="connsiteY3" fmla="*/ 0 h 257442"/>
                <a:gd name="connsiteX0" fmla="*/ 3677508 w 3677508"/>
                <a:gd name="connsiteY0" fmla="*/ 0 h 257442"/>
                <a:gd name="connsiteX1" fmla="*/ 3436839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8 w 3677508"/>
                <a:gd name="connsiteY0" fmla="*/ 0 h 257442"/>
                <a:gd name="connsiteX1" fmla="*/ 3622787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1 w 3677509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2 w 3677509"/>
                <a:gd name="connsiteY3" fmla="*/ 0 h 257442"/>
                <a:gd name="connsiteX0" fmla="*/ 3837810 w 3837810"/>
                <a:gd name="connsiteY0" fmla="*/ 0 h 257442"/>
                <a:gd name="connsiteX1" fmla="*/ 36227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1 w 3837810"/>
                <a:gd name="connsiteY3" fmla="*/ 0 h 257442"/>
                <a:gd name="connsiteX0" fmla="*/ 4107113 w 4107113"/>
                <a:gd name="connsiteY0" fmla="*/ 0 h 257442"/>
                <a:gd name="connsiteX1" fmla="*/ 3783088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3946813 w 4052392"/>
                <a:gd name="connsiteY0" fmla="*/ 0 h 257442"/>
                <a:gd name="connsiteX1" fmla="*/ 4052392 w 4052392"/>
                <a:gd name="connsiteY1" fmla="*/ 257442 h 257442"/>
                <a:gd name="connsiteX2" fmla="*/ 0 w 4052392"/>
                <a:gd name="connsiteY2" fmla="*/ 257442 h 257442"/>
                <a:gd name="connsiteX3" fmla="*/ 54721 w 4052392"/>
                <a:gd name="connsiteY3" fmla="*/ 0 h 257442"/>
                <a:gd name="connsiteX0" fmla="*/ 3946813 w 3946813"/>
                <a:gd name="connsiteY0" fmla="*/ 0 h 257442"/>
                <a:gd name="connsiteX1" fmla="*/ 3892092 w 3946813"/>
                <a:gd name="connsiteY1" fmla="*/ 257442 h 257442"/>
                <a:gd name="connsiteX2" fmla="*/ 0 w 3946813"/>
                <a:gd name="connsiteY2" fmla="*/ 257442 h 257442"/>
                <a:gd name="connsiteX3" fmla="*/ 54721 w 3946813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760864 w 3892091"/>
                <a:gd name="connsiteY0" fmla="*/ 0 h 257442"/>
                <a:gd name="connsiteX1" fmla="*/ 3892091 w 3892091"/>
                <a:gd name="connsiteY1" fmla="*/ 257442 h 257442"/>
                <a:gd name="connsiteX2" fmla="*/ 0 w 3892091"/>
                <a:gd name="connsiteY2" fmla="*/ 257442 h 257442"/>
                <a:gd name="connsiteX3" fmla="*/ 54720 w 3892091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1 w 3760864"/>
                <a:gd name="connsiteY3" fmla="*/ 0 h 257442"/>
                <a:gd name="connsiteX0" fmla="*/ 3507590 w 3706144"/>
                <a:gd name="connsiteY0" fmla="*/ 0 h 257442"/>
                <a:gd name="connsiteX1" fmla="*/ 3706144 w 3706144"/>
                <a:gd name="connsiteY1" fmla="*/ 257442 h 257442"/>
                <a:gd name="connsiteX2" fmla="*/ 0 w 3706144"/>
                <a:gd name="connsiteY2" fmla="*/ 257442 h 257442"/>
                <a:gd name="connsiteX3" fmla="*/ 54721 w 3706144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230271 w 3452869"/>
                <a:gd name="connsiteY0" fmla="*/ 0 h 257442"/>
                <a:gd name="connsiteX1" fmla="*/ 3452869 w 3452869"/>
                <a:gd name="connsiteY1" fmla="*/ 257442 h 257442"/>
                <a:gd name="connsiteX2" fmla="*/ 0 w 3452869"/>
                <a:gd name="connsiteY2" fmla="*/ 257442 h 257442"/>
                <a:gd name="connsiteX3" fmla="*/ 54721 w 3452869"/>
                <a:gd name="connsiteY3" fmla="*/ 0 h 257442"/>
                <a:gd name="connsiteX0" fmla="*/ 3230271 w 3230271"/>
                <a:gd name="connsiteY0" fmla="*/ 0 h 257442"/>
                <a:gd name="connsiteX1" fmla="*/ 3175551 w 3230271"/>
                <a:gd name="connsiteY1" fmla="*/ 257442 h 257442"/>
                <a:gd name="connsiteX2" fmla="*/ 0 w 3230271"/>
                <a:gd name="connsiteY2" fmla="*/ 257442 h 257442"/>
                <a:gd name="connsiteX3" fmla="*/ 54721 w 3230271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069970 w 3175550"/>
                <a:gd name="connsiteY0" fmla="*/ 0 h 257442"/>
                <a:gd name="connsiteX1" fmla="*/ 3175550 w 3175550"/>
                <a:gd name="connsiteY1" fmla="*/ 257442 h 257442"/>
                <a:gd name="connsiteX2" fmla="*/ 0 w 3175550"/>
                <a:gd name="connsiteY2" fmla="*/ 257442 h 257442"/>
                <a:gd name="connsiteX3" fmla="*/ 54720 w 3175550"/>
                <a:gd name="connsiteY3" fmla="*/ 0 h 257442"/>
                <a:gd name="connsiteX0" fmla="*/ 3069970 w 3069970"/>
                <a:gd name="connsiteY0" fmla="*/ 0 h 257442"/>
                <a:gd name="connsiteX1" fmla="*/ 3015249 w 3069970"/>
                <a:gd name="connsiteY1" fmla="*/ 257442 h 257442"/>
                <a:gd name="connsiteX2" fmla="*/ 0 w 3069970"/>
                <a:gd name="connsiteY2" fmla="*/ 257442 h 257442"/>
                <a:gd name="connsiteX3" fmla="*/ 54720 w 3069970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2 w 3069971"/>
                <a:gd name="connsiteY3" fmla="*/ 0 h 257442"/>
                <a:gd name="connsiteX0" fmla="*/ 2909672 w 3015250"/>
                <a:gd name="connsiteY0" fmla="*/ 0 h 257442"/>
                <a:gd name="connsiteX1" fmla="*/ 3015250 w 3015250"/>
                <a:gd name="connsiteY1" fmla="*/ 257442 h 257442"/>
                <a:gd name="connsiteX2" fmla="*/ 0 w 3015250"/>
                <a:gd name="connsiteY2" fmla="*/ 257442 h 257442"/>
                <a:gd name="connsiteX3" fmla="*/ 54722 w 3015250"/>
                <a:gd name="connsiteY3" fmla="*/ 0 h 257442"/>
                <a:gd name="connsiteX0" fmla="*/ 2909672 w 2909672"/>
                <a:gd name="connsiteY0" fmla="*/ 0 h 257442"/>
                <a:gd name="connsiteX1" fmla="*/ 2854951 w 2909672"/>
                <a:gd name="connsiteY1" fmla="*/ 257442 h 257442"/>
                <a:gd name="connsiteX2" fmla="*/ 0 w 2909672"/>
                <a:gd name="connsiteY2" fmla="*/ 257442 h 257442"/>
                <a:gd name="connsiteX3" fmla="*/ 54722 w 2909672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731737 w 2854950"/>
                <a:gd name="connsiteY0" fmla="*/ 0 h 257442"/>
                <a:gd name="connsiteX1" fmla="*/ 2854950 w 2854950"/>
                <a:gd name="connsiteY1" fmla="*/ 257442 h 257442"/>
                <a:gd name="connsiteX2" fmla="*/ 0 w 2854950"/>
                <a:gd name="connsiteY2" fmla="*/ 257442 h 257442"/>
                <a:gd name="connsiteX3" fmla="*/ 54721 w 2854950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54721 w 2731737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900052 w 2900052"/>
                <a:gd name="connsiteY0" fmla="*/ 0 h 257442"/>
                <a:gd name="connsiteX1" fmla="*/ 2677015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2 w 2900052"/>
                <a:gd name="connsiteY0" fmla="*/ 0 h 257442"/>
                <a:gd name="connsiteX1" fmla="*/ 2845331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1 w 2900053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2 w 2900053"/>
                <a:gd name="connsiteY3" fmla="*/ 0 h 257442"/>
                <a:gd name="connsiteX0" fmla="*/ 3060354 w 3060354"/>
                <a:gd name="connsiteY0" fmla="*/ 0 h 257442"/>
                <a:gd name="connsiteX1" fmla="*/ 28453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1 w 3060354"/>
                <a:gd name="connsiteY3" fmla="*/ 0 h 257442"/>
                <a:gd name="connsiteX0" fmla="*/ 3336518 w 3336518"/>
                <a:gd name="connsiteY0" fmla="*/ 0 h 257442"/>
                <a:gd name="connsiteX1" fmla="*/ 3005632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496818 w 3496818"/>
                <a:gd name="connsiteY0" fmla="*/ 0 h 257442"/>
                <a:gd name="connsiteX1" fmla="*/ 32817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674752 w 3674752"/>
                <a:gd name="connsiteY0" fmla="*/ 0 h 257442"/>
                <a:gd name="connsiteX1" fmla="*/ 3442097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852685 w 3852685"/>
                <a:gd name="connsiteY0" fmla="*/ 0 h 257442"/>
                <a:gd name="connsiteX1" fmla="*/ 3620031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4021001 w 4021001"/>
                <a:gd name="connsiteY0" fmla="*/ 0 h 257442"/>
                <a:gd name="connsiteX1" fmla="*/ 3797964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189315 w 4189315"/>
                <a:gd name="connsiteY0" fmla="*/ 0 h 257442"/>
                <a:gd name="connsiteX1" fmla="*/ 3966280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349615 w 4349615"/>
                <a:gd name="connsiteY0" fmla="*/ 0 h 257442"/>
                <a:gd name="connsiteX1" fmla="*/ 4134594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517931 w 4517931"/>
                <a:gd name="connsiteY0" fmla="*/ 0 h 257442"/>
                <a:gd name="connsiteX1" fmla="*/ 4294895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678232 w 4678232"/>
                <a:gd name="connsiteY0" fmla="*/ 0 h 257442"/>
                <a:gd name="connsiteX1" fmla="*/ 4463211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2 w 4678232"/>
                <a:gd name="connsiteY0" fmla="*/ 0 h 257442"/>
                <a:gd name="connsiteX1" fmla="*/ 4623510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4846548 w 4846548"/>
                <a:gd name="connsiteY0" fmla="*/ 0 h 257442"/>
                <a:gd name="connsiteX1" fmla="*/ 4623511 w 4846548"/>
                <a:gd name="connsiteY1" fmla="*/ 257442 h 257442"/>
                <a:gd name="connsiteX2" fmla="*/ 0 w 4846548"/>
                <a:gd name="connsiteY2" fmla="*/ 257442 h 257442"/>
                <a:gd name="connsiteX3" fmla="*/ 54722 w 4846548"/>
                <a:gd name="connsiteY3" fmla="*/ 0 h 257442"/>
                <a:gd name="connsiteX0" fmla="*/ 4846548 w 4846548"/>
                <a:gd name="connsiteY0" fmla="*/ 0 h 257442"/>
                <a:gd name="connsiteX1" fmla="*/ 4791826 w 4846548"/>
                <a:gd name="connsiteY1" fmla="*/ 257442 h 257442"/>
                <a:gd name="connsiteX2" fmla="*/ 0 w 4846548"/>
                <a:gd name="connsiteY2" fmla="*/ 257442 h 257442"/>
                <a:gd name="connsiteX3" fmla="*/ 54722 w 4846548"/>
                <a:gd name="connsiteY3" fmla="*/ 0 h 257442"/>
                <a:gd name="connsiteX0" fmla="*/ 4846548 w 4846548"/>
                <a:gd name="connsiteY0" fmla="*/ 0 h 257442"/>
                <a:gd name="connsiteX1" fmla="*/ 4791826 w 4846548"/>
                <a:gd name="connsiteY1" fmla="*/ 257442 h 257442"/>
                <a:gd name="connsiteX2" fmla="*/ 0 w 4846548"/>
                <a:gd name="connsiteY2" fmla="*/ 257442 h 257442"/>
                <a:gd name="connsiteX3" fmla="*/ 54722 w 4846548"/>
                <a:gd name="connsiteY3" fmla="*/ 0 h 257442"/>
                <a:gd name="connsiteX0" fmla="*/ 4846548 w 4846548"/>
                <a:gd name="connsiteY0" fmla="*/ 0 h 257442"/>
                <a:gd name="connsiteX1" fmla="*/ 4791826 w 4846548"/>
                <a:gd name="connsiteY1" fmla="*/ 257442 h 257442"/>
                <a:gd name="connsiteX2" fmla="*/ 0 w 4846548"/>
                <a:gd name="connsiteY2" fmla="*/ 257442 h 257442"/>
                <a:gd name="connsiteX3" fmla="*/ 54721 w 4846548"/>
                <a:gd name="connsiteY3" fmla="*/ 0 h 257442"/>
                <a:gd name="connsiteX0" fmla="*/ 5006847 w 5006847"/>
                <a:gd name="connsiteY0" fmla="*/ 0 h 257442"/>
                <a:gd name="connsiteX1" fmla="*/ 47918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006847 w 5006847"/>
                <a:gd name="connsiteY0" fmla="*/ 0 h 257442"/>
                <a:gd name="connsiteX1" fmla="*/ 49521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006847 w 5006847"/>
                <a:gd name="connsiteY0" fmla="*/ 0 h 257442"/>
                <a:gd name="connsiteX1" fmla="*/ 49521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006847 w 5006847"/>
                <a:gd name="connsiteY0" fmla="*/ 0 h 257442"/>
                <a:gd name="connsiteX1" fmla="*/ 49521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167147 w 5167147"/>
                <a:gd name="connsiteY0" fmla="*/ 0 h 257442"/>
                <a:gd name="connsiteX1" fmla="*/ 49521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5167147 w 5167147"/>
                <a:gd name="connsiteY0" fmla="*/ 0 h 257442"/>
                <a:gd name="connsiteX1" fmla="*/ 51124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5167147 w 5167147"/>
                <a:gd name="connsiteY0" fmla="*/ 0 h 257442"/>
                <a:gd name="connsiteX1" fmla="*/ 51124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5167147 w 5167147"/>
                <a:gd name="connsiteY0" fmla="*/ 0 h 257442"/>
                <a:gd name="connsiteX1" fmla="*/ 51124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3914048 w 5112426"/>
                <a:gd name="connsiteY0" fmla="*/ 0 h 257442"/>
                <a:gd name="connsiteX1" fmla="*/ 5112426 w 5112426"/>
                <a:gd name="connsiteY1" fmla="*/ 257442 h 257442"/>
                <a:gd name="connsiteX2" fmla="*/ 0 w 5112426"/>
                <a:gd name="connsiteY2" fmla="*/ 257442 h 257442"/>
                <a:gd name="connsiteX3" fmla="*/ 54721 w 5112426"/>
                <a:gd name="connsiteY3" fmla="*/ 0 h 257442"/>
                <a:gd name="connsiteX0" fmla="*/ 3914048 w 3914048"/>
                <a:gd name="connsiteY0" fmla="*/ 0 h 257442"/>
                <a:gd name="connsiteX1" fmla="*/ 3859327 w 3914048"/>
                <a:gd name="connsiteY1" fmla="*/ 257442 h 257442"/>
                <a:gd name="connsiteX2" fmla="*/ 0 w 3914048"/>
                <a:gd name="connsiteY2" fmla="*/ 257442 h 257442"/>
                <a:gd name="connsiteX3" fmla="*/ 54721 w 3914048"/>
                <a:gd name="connsiteY3" fmla="*/ 0 h 257442"/>
                <a:gd name="connsiteX0" fmla="*/ 3914048 w 3914048"/>
                <a:gd name="connsiteY0" fmla="*/ 0 h 257442"/>
                <a:gd name="connsiteX1" fmla="*/ 3859327 w 3914048"/>
                <a:gd name="connsiteY1" fmla="*/ 257442 h 257442"/>
                <a:gd name="connsiteX2" fmla="*/ 0 w 3914048"/>
                <a:gd name="connsiteY2" fmla="*/ 257442 h 257442"/>
                <a:gd name="connsiteX3" fmla="*/ 54721 w 3914048"/>
                <a:gd name="connsiteY3" fmla="*/ 0 h 257442"/>
                <a:gd name="connsiteX0" fmla="*/ 3914048 w 3914048"/>
                <a:gd name="connsiteY0" fmla="*/ 0 h 257442"/>
                <a:gd name="connsiteX1" fmla="*/ 3859327 w 3914048"/>
                <a:gd name="connsiteY1" fmla="*/ 257442 h 257442"/>
                <a:gd name="connsiteX2" fmla="*/ 0 w 3914048"/>
                <a:gd name="connsiteY2" fmla="*/ 257442 h 257442"/>
                <a:gd name="connsiteX3" fmla="*/ 54721 w 3914048"/>
                <a:gd name="connsiteY3" fmla="*/ 0 h 257442"/>
                <a:gd name="connsiteX0" fmla="*/ 4074349 w 4074349"/>
                <a:gd name="connsiteY0" fmla="*/ 0 h 257442"/>
                <a:gd name="connsiteX1" fmla="*/ 3859327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074349 w 4074349"/>
                <a:gd name="connsiteY0" fmla="*/ 0 h 257442"/>
                <a:gd name="connsiteX1" fmla="*/ 4019628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074349 w 4074349"/>
                <a:gd name="connsiteY0" fmla="*/ 0 h 257442"/>
                <a:gd name="connsiteX1" fmla="*/ 4019628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074349 w 4074349"/>
                <a:gd name="connsiteY0" fmla="*/ 0 h 257442"/>
                <a:gd name="connsiteX1" fmla="*/ 4019628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252281 w 4252281"/>
                <a:gd name="connsiteY0" fmla="*/ 0 h 257442"/>
                <a:gd name="connsiteX1" fmla="*/ 4019628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252281 w 4252281"/>
                <a:gd name="connsiteY0" fmla="*/ 0 h 257442"/>
                <a:gd name="connsiteX1" fmla="*/ 4197560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252281 w 4252281"/>
                <a:gd name="connsiteY0" fmla="*/ 0 h 257442"/>
                <a:gd name="connsiteX1" fmla="*/ 4197560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252281 w 4252281"/>
                <a:gd name="connsiteY0" fmla="*/ 0 h 257442"/>
                <a:gd name="connsiteX1" fmla="*/ 4197560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531204 w 4531204"/>
                <a:gd name="connsiteY0" fmla="*/ 0 h 257442"/>
                <a:gd name="connsiteX1" fmla="*/ 4197560 w 4531204"/>
                <a:gd name="connsiteY1" fmla="*/ 257442 h 257442"/>
                <a:gd name="connsiteX2" fmla="*/ 0 w 4531204"/>
                <a:gd name="connsiteY2" fmla="*/ 257442 h 257442"/>
                <a:gd name="connsiteX3" fmla="*/ 54721 w 4531204"/>
                <a:gd name="connsiteY3" fmla="*/ 0 h 257442"/>
                <a:gd name="connsiteX0" fmla="*/ 4531204 w 4531204"/>
                <a:gd name="connsiteY0" fmla="*/ 0 h 257442"/>
                <a:gd name="connsiteX1" fmla="*/ 4476482 w 4531204"/>
                <a:gd name="connsiteY1" fmla="*/ 257442 h 257442"/>
                <a:gd name="connsiteX2" fmla="*/ 0 w 4531204"/>
                <a:gd name="connsiteY2" fmla="*/ 257442 h 257442"/>
                <a:gd name="connsiteX3" fmla="*/ 54721 w 4531204"/>
                <a:gd name="connsiteY3" fmla="*/ 0 h 257442"/>
                <a:gd name="connsiteX0" fmla="*/ 4531205 w 4531205"/>
                <a:gd name="connsiteY0" fmla="*/ 0 h 257442"/>
                <a:gd name="connsiteX1" fmla="*/ 4476483 w 4531205"/>
                <a:gd name="connsiteY1" fmla="*/ 257442 h 257442"/>
                <a:gd name="connsiteX2" fmla="*/ 0 w 4531205"/>
                <a:gd name="connsiteY2" fmla="*/ 257442 h 257442"/>
                <a:gd name="connsiteX3" fmla="*/ 54722 w 4531205"/>
                <a:gd name="connsiteY3" fmla="*/ 0 h 257442"/>
                <a:gd name="connsiteX0" fmla="*/ 4531205 w 4531205"/>
                <a:gd name="connsiteY0" fmla="*/ 0 h 257442"/>
                <a:gd name="connsiteX1" fmla="*/ 4476483 w 4531205"/>
                <a:gd name="connsiteY1" fmla="*/ 257442 h 257442"/>
                <a:gd name="connsiteX2" fmla="*/ 0 w 4531205"/>
                <a:gd name="connsiteY2" fmla="*/ 257442 h 257442"/>
                <a:gd name="connsiteX3" fmla="*/ 54722 w 4531205"/>
                <a:gd name="connsiteY3" fmla="*/ 0 h 257442"/>
                <a:gd name="connsiteX0" fmla="*/ 4699521 w 4699521"/>
                <a:gd name="connsiteY0" fmla="*/ 0 h 257442"/>
                <a:gd name="connsiteX1" fmla="*/ 4476483 w 4699521"/>
                <a:gd name="connsiteY1" fmla="*/ 257442 h 257442"/>
                <a:gd name="connsiteX2" fmla="*/ 0 w 4699521"/>
                <a:gd name="connsiteY2" fmla="*/ 257442 h 257442"/>
                <a:gd name="connsiteX3" fmla="*/ 54722 w 4699521"/>
                <a:gd name="connsiteY3" fmla="*/ 0 h 257442"/>
                <a:gd name="connsiteX0" fmla="*/ 4699521 w 4699521"/>
                <a:gd name="connsiteY0" fmla="*/ 0 h 257442"/>
                <a:gd name="connsiteX1" fmla="*/ 4644800 w 4699521"/>
                <a:gd name="connsiteY1" fmla="*/ 257442 h 257442"/>
                <a:gd name="connsiteX2" fmla="*/ 0 w 4699521"/>
                <a:gd name="connsiteY2" fmla="*/ 257442 h 257442"/>
                <a:gd name="connsiteX3" fmla="*/ 54722 w 4699521"/>
                <a:gd name="connsiteY3" fmla="*/ 0 h 257442"/>
                <a:gd name="connsiteX0" fmla="*/ 4699520 w 4699520"/>
                <a:gd name="connsiteY0" fmla="*/ 0 h 257442"/>
                <a:gd name="connsiteX1" fmla="*/ 4644799 w 4699520"/>
                <a:gd name="connsiteY1" fmla="*/ 257442 h 257442"/>
                <a:gd name="connsiteX2" fmla="*/ 0 w 4699520"/>
                <a:gd name="connsiteY2" fmla="*/ 257442 h 257442"/>
                <a:gd name="connsiteX3" fmla="*/ 54721 w 4699520"/>
                <a:gd name="connsiteY3" fmla="*/ 0 h 257442"/>
                <a:gd name="connsiteX0" fmla="*/ 4699520 w 4699520"/>
                <a:gd name="connsiteY0" fmla="*/ 0 h 257442"/>
                <a:gd name="connsiteX1" fmla="*/ 4644799 w 4699520"/>
                <a:gd name="connsiteY1" fmla="*/ 257442 h 257442"/>
                <a:gd name="connsiteX2" fmla="*/ 0 w 4699520"/>
                <a:gd name="connsiteY2" fmla="*/ 257442 h 257442"/>
                <a:gd name="connsiteX3" fmla="*/ 54720 w 4699520"/>
                <a:gd name="connsiteY3" fmla="*/ 0 h 257442"/>
                <a:gd name="connsiteX0" fmla="*/ 4859819 w 4859819"/>
                <a:gd name="connsiteY0" fmla="*/ 0 h 257442"/>
                <a:gd name="connsiteX1" fmla="*/ 4644799 w 4859819"/>
                <a:gd name="connsiteY1" fmla="*/ 257442 h 257442"/>
                <a:gd name="connsiteX2" fmla="*/ 0 w 4859819"/>
                <a:gd name="connsiteY2" fmla="*/ 257442 h 257442"/>
                <a:gd name="connsiteX3" fmla="*/ 54720 w 4859819"/>
                <a:gd name="connsiteY3" fmla="*/ 0 h 257442"/>
                <a:gd name="connsiteX0" fmla="*/ 4859819 w 4859819"/>
                <a:gd name="connsiteY0" fmla="*/ 0 h 257442"/>
                <a:gd name="connsiteX1" fmla="*/ 4805098 w 4859819"/>
                <a:gd name="connsiteY1" fmla="*/ 257442 h 257442"/>
                <a:gd name="connsiteX2" fmla="*/ 0 w 4859819"/>
                <a:gd name="connsiteY2" fmla="*/ 257442 h 257442"/>
                <a:gd name="connsiteX3" fmla="*/ 54720 w 4859819"/>
                <a:gd name="connsiteY3" fmla="*/ 0 h 257442"/>
                <a:gd name="connsiteX0" fmla="*/ 4859820 w 4859820"/>
                <a:gd name="connsiteY0" fmla="*/ 0 h 257442"/>
                <a:gd name="connsiteX1" fmla="*/ 4805099 w 4859820"/>
                <a:gd name="connsiteY1" fmla="*/ 257442 h 257442"/>
                <a:gd name="connsiteX2" fmla="*/ 0 w 4859820"/>
                <a:gd name="connsiteY2" fmla="*/ 257442 h 257442"/>
                <a:gd name="connsiteX3" fmla="*/ 54721 w 4859820"/>
                <a:gd name="connsiteY3" fmla="*/ 0 h 257442"/>
                <a:gd name="connsiteX0" fmla="*/ 4859820 w 4859820"/>
                <a:gd name="connsiteY0" fmla="*/ 0 h 257442"/>
                <a:gd name="connsiteX1" fmla="*/ 4805099 w 4859820"/>
                <a:gd name="connsiteY1" fmla="*/ 257442 h 257442"/>
                <a:gd name="connsiteX2" fmla="*/ 0 w 4859820"/>
                <a:gd name="connsiteY2" fmla="*/ 257442 h 257442"/>
                <a:gd name="connsiteX3" fmla="*/ 54721 w 4859820"/>
                <a:gd name="connsiteY3" fmla="*/ 0 h 257442"/>
                <a:gd name="connsiteX0" fmla="*/ 2910568 w 4805099"/>
                <a:gd name="connsiteY0" fmla="*/ 0 h 257442"/>
                <a:gd name="connsiteX1" fmla="*/ 4805099 w 4805099"/>
                <a:gd name="connsiteY1" fmla="*/ 257442 h 257442"/>
                <a:gd name="connsiteX2" fmla="*/ 0 w 4805099"/>
                <a:gd name="connsiteY2" fmla="*/ 257442 h 257442"/>
                <a:gd name="connsiteX3" fmla="*/ 54721 w 4805099"/>
                <a:gd name="connsiteY3" fmla="*/ 0 h 257442"/>
                <a:gd name="connsiteX0" fmla="*/ 2910568 w 2910568"/>
                <a:gd name="connsiteY0" fmla="*/ 0 h 257442"/>
                <a:gd name="connsiteX1" fmla="*/ 2855848 w 2910568"/>
                <a:gd name="connsiteY1" fmla="*/ 257442 h 257442"/>
                <a:gd name="connsiteX2" fmla="*/ 0 w 2910568"/>
                <a:gd name="connsiteY2" fmla="*/ 257442 h 257442"/>
                <a:gd name="connsiteX3" fmla="*/ 54721 w 2910568"/>
                <a:gd name="connsiteY3" fmla="*/ 0 h 257442"/>
                <a:gd name="connsiteX0" fmla="*/ 2910567 w 2910567"/>
                <a:gd name="connsiteY0" fmla="*/ 0 h 257442"/>
                <a:gd name="connsiteX1" fmla="*/ 2855847 w 2910567"/>
                <a:gd name="connsiteY1" fmla="*/ 257442 h 257442"/>
                <a:gd name="connsiteX2" fmla="*/ 0 w 2910567"/>
                <a:gd name="connsiteY2" fmla="*/ 257442 h 257442"/>
                <a:gd name="connsiteX3" fmla="*/ 54720 w 2910567"/>
                <a:gd name="connsiteY3" fmla="*/ 0 h 257442"/>
                <a:gd name="connsiteX0" fmla="*/ 2910567 w 2910567"/>
                <a:gd name="connsiteY0" fmla="*/ 0 h 257442"/>
                <a:gd name="connsiteX1" fmla="*/ 2855847 w 2910567"/>
                <a:gd name="connsiteY1" fmla="*/ 257442 h 257442"/>
                <a:gd name="connsiteX2" fmla="*/ 0 w 2910567"/>
                <a:gd name="connsiteY2" fmla="*/ 257442 h 257442"/>
                <a:gd name="connsiteX3" fmla="*/ 54721 w 2910567"/>
                <a:gd name="connsiteY3" fmla="*/ 0 h 257442"/>
                <a:gd name="connsiteX0" fmla="*/ 2483720 w 2855847"/>
                <a:gd name="connsiteY0" fmla="*/ 0 h 257442"/>
                <a:gd name="connsiteX1" fmla="*/ 2855847 w 2855847"/>
                <a:gd name="connsiteY1" fmla="*/ 257442 h 257442"/>
                <a:gd name="connsiteX2" fmla="*/ 0 w 2855847"/>
                <a:gd name="connsiteY2" fmla="*/ 257442 h 257442"/>
                <a:gd name="connsiteX3" fmla="*/ 54721 w 2855847"/>
                <a:gd name="connsiteY3" fmla="*/ 0 h 257442"/>
                <a:gd name="connsiteX0" fmla="*/ 2483720 w 2483720"/>
                <a:gd name="connsiteY0" fmla="*/ 0 h 257442"/>
                <a:gd name="connsiteX1" fmla="*/ 2428999 w 2483720"/>
                <a:gd name="connsiteY1" fmla="*/ 257442 h 257442"/>
                <a:gd name="connsiteX2" fmla="*/ 0 w 2483720"/>
                <a:gd name="connsiteY2" fmla="*/ 257442 h 257442"/>
                <a:gd name="connsiteX3" fmla="*/ 54721 w 2483720"/>
                <a:gd name="connsiteY3" fmla="*/ 0 h 257442"/>
                <a:gd name="connsiteX0" fmla="*/ 2483720 w 2483720"/>
                <a:gd name="connsiteY0" fmla="*/ 0 h 257442"/>
                <a:gd name="connsiteX1" fmla="*/ 2428999 w 2483720"/>
                <a:gd name="connsiteY1" fmla="*/ 257442 h 257442"/>
                <a:gd name="connsiteX2" fmla="*/ 0 w 2483720"/>
                <a:gd name="connsiteY2" fmla="*/ 257442 h 257442"/>
                <a:gd name="connsiteX3" fmla="*/ 54721 w 2483720"/>
                <a:gd name="connsiteY3" fmla="*/ 0 h 257442"/>
                <a:gd name="connsiteX0" fmla="*/ 2483720 w 2483720"/>
                <a:gd name="connsiteY0" fmla="*/ 0 h 257442"/>
                <a:gd name="connsiteX1" fmla="*/ 2428999 w 2483720"/>
                <a:gd name="connsiteY1" fmla="*/ 257442 h 257442"/>
                <a:gd name="connsiteX2" fmla="*/ 0 w 2483720"/>
                <a:gd name="connsiteY2" fmla="*/ 257442 h 257442"/>
                <a:gd name="connsiteX3" fmla="*/ 54721 w 248372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3720" h="257442">
                  <a:moveTo>
                    <a:pt x="2483720" y="0"/>
                  </a:moveTo>
                  <a:lnTo>
                    <a:pt x="2428999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3" name="btfpRunningAgenda2LevelTextRight456905">
              <a:extLst>
                <a:ext uri="{FF2B5EF4-FFF2-40B4-BE49-F238E27FC236}">
                  <a16:creationId xmlns:a16="http://schemas.microsoft.com/office/drawing/2014/main" id="{CB7AEBF0-AFC6-40A7-80A2-38E62B161751}"/>
                </a:ext>
              </a:extLst>
            </p:cNvPr>
            <p:cNvSpPr txBox="1"/>
            <p:nvPr/>
          </p:nvSpPr>
          <p:spPr bwMode="gray">
            <a:xfrm>
              <a:off x="2495906" y="944429"/>
              <a:ext cx="24289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key regions</a:t>
              </a:r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6F67EB01-2F72-401F-952E-E439788AC4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67" name="btfpStatusSticker149086">
            <a:extLst>
              <a:ext uri="{FF2B5EF4-FFF2-40B4-BE49-F238E27FC236}">
                <a16:creationId xmlns:a16="http://schemas.microsoft.com/office/drawing/2014/main" id="{EFF9A0EA-2C77-4E07-8F5D-02B69FBB4F2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68" name="btfpStatusStickerText149086">
              <a:extLst>
                <a:ext uri="{FF2B5EF4-FFF2-40B4-BE49-F238E27FC236}">
                  <a16:creationId xmlns:a16="http://schemas.microsoft.com/office/drawing/2014/main" id="{D96E473D-7556-4485-A149-A1C61F71D3D2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71" name="btfpStatusStickerLine149086">
              <a:extLst>
                <a:ext uri="{FF2B5EF4-FFF2-40B4-BE49-F238E27FC236}">
                  <a16:creationId xmlns:a16="http://schemas.microsoft.com/office/drawing/2014/main" id="{30CC9C0E-5773-434C-B4DA-3108F72663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btfpNotesBox194876">
            <a:extLst>
              <a:ext uri="{FF2B5EF4-FFF2-40B4-BE49-F238E27FC236}">
                <a16:creationId xmlns:a16="http://schemas.microsoft.com/office/drawing/2014/main" id="{3D960D64-B5EF-41FE-8C74-58549A63901A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Series shown for key cities with # of job postings across players; Players with N&lt;15 hidden from the chart; series represents respective MSA regions, for e.g. ‘New York, NY’ represent MSA region –</a:t>
            </a:r>
          </a:p>
          <a:p>
            <a:pPr marL="90729" indent="-90729">
              <a:spcBef>
                <a:spcPct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ew York-Northern New Jersey-Long Island, NY-NJ-PA MSA | </a:t>
            </a:r>
            <a:r>
              <a:rPr lang="en-GB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D322C0B-D0C0-2980-A70B-2DAEAE4D0F61}"/>
              </a:ext>
            </a:extLst>
          </p:cNvPr>
          <p:cNvSpPr/>
          <p:nvPr/>
        </p:nvSpPr>
        <p:spPr bwMode="gray">
          <a:xfrm>
            <a:off x="2393667" y="1717549"/>
            <a:ext cx="1198473" cy="4473817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2AC48B4-3BBF-7925-3A14-A3C86C6E1255}"/>
              </a:ext>
            </a:extLst>
          </p:cNvPr>
          <p:cNvSpPr txBox="1"/>
          <p:nvPr/>
        </p:nvSpPr>
        <p:spPr bwMode="gray">
          <a:xfrm>
            <a:off x="10718709" y="1579508"/>
            <a:ext cx="458600" cy="19200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i="1"/>
              <a:t>LOW N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BDA7A39-CC82-E5C5-90F8-A9E04E71B760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9524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7726215-D1C4-6F1A-6E9B-492CB55CA3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31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06" imgH="608" progId="TCLayout.ActiveDocument.1">
                  <p:embed/>
                </p:oleObj>
              </mc:Choice>
              <mc:Fallback>
                <p:oleObj name="think-cell Slide" r:id="rId10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726215-D1C4-6F1A-6E9B-492CB55CA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7DB5C9AC-C7FD-9345-CDA9-22656F16F03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160029">
              <a:extLst>
                <a:ext uri="{FF2B5EF4-FFF2-40B4-BE49-F238E27FC236}">
                  <a16:creationId xmlns:a16="http://schemas.microsoft.com/office/drawing/2014/main" id="{BD267788-30F0-F201-B2AA-73425D34EFB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ColumnGapBlocker209094">
              <a:extLst>
                <a:ext uri="{FF2B5EF4-FFF2-40B4-BE49-F238E27FC236}">
                  <a16:creationId xmlns:a16="http://schemas.microsoft.com/office/drawing/2014/main" id="{CEB2B347-AAF0-B1E0-73BA-C260F5BBBFB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773219">
              <a:extLst>
                <a:ext uri="{FF2B5EF4-FFF2-40B4-BE49-F238E27FC236}">
                  <a16:creationId xmlns:a16="http://schemas.microsoft.com/office/drawing/2014/main" id="{516EFF9D-4DC2-5E26-47AD-C85840E98CB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406692">
              <a:extLst>
                <a:ext uri="{FF2B5EF4-FFF2-40B4-BE49-F238E27FC236}">
                  <a16:creationId xmlns:a16="http://schemas.microsoft.com/office/drawing/2014/main" id="{C995703E-A982-682F-0382-D1E29D07F02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btfpColumnIndicatorGroup1">
            <a:extLst>
              <a:ext uri="{FF2B5EF4-FFF2-40B4-BE49-F238E27FC236}">
                <a16:creationId xmlns:a16="http://schemas.microsoft.com/office/drawing/2014/main" id="{EAC45C01-EC45-6662-591F-022D1A0C8DF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3" name="btfpColumnGapBlocker304580">
              <a:extLst>
                <a:ext uri="{FF2B5EF4-FFF2-40B4-BE49-F238E27FC236}">
                  <a16:creationId xmlns:a16="http://schemas.microsoft.com/office/drawing/2014/main" id="{86E01DC7-3B54-04F2-FCB4-4CCACED9CA0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btfpColumnGapBlocker687016">
              <a:extLst>
                <a:ext uri="{FF2B5EF4-FFF2-40B4-BE49-F238E27FC236}">
                  <a16:creationId xmlns:a16="http://schemas.microsoft.com/office/drawing/2014/main" id="{9B238E70-2E1B-8620-173A-C176D7EF30F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799630">
              <a:extLst>
                <a:ext uri="{FF2B5EF4-FFF2-40B4-BE49-F238E27FC236}">
                  <a16:creationId xmlns:a16="http://schemas.microsoft.com/office/drawing/2014/main" id="{D770FE2B-45C6-C459-91EA-D42B0405CA7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140903">
              <a:extLst>
                <a:ext uri="{FF2B5EF4-FFF2-40B4-BE49-F238E27FC236}">
                  <a16:creationId xmlns:a16="http://schemas.microsoft.com/office/drawing/2014/main" id="{95A82243-5296-2CDC-8797-E6AACD48AEA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Ors9Vz809A9tOjB0Ql3r5tWPzQmrGw1ve4RoG1xQzfCcgfQqGY2PECulfomUwOzBaui3ZUBUvTyQqkWJhs2c3iXSu/yOOh0G+0U1x6nE7e6sLQIkxwvOvecLQNBdFs/wijX0eJQL5Xb5dI7yOQNctvDjj+n17s7EZqybEWemalcDPnbnbdFvUCRqeeR0FqUg5bM6Q3LGFpmsc4Lbq2bkFxsCgni6d6E77jkQ20If+g+UkeKPaOBMPnc70w3iRgcwJloMQZIcvOol/67kgOy+8T6u2fq2EuLZ2Ng9Yw5rfrjysakvTOQ1iS/dDNkdQrk/aepdl3ej5zn1/sor/tSk0jY1SsdWBb6OxCjxBLyASFRe/P6xTWuvS2YgInEL6CAbsb8nt2Mr+uCXL+QGyfyhk1ePIhbHQl322NfC+jGwJ911SW81SEcpfS9npGcPzaz8LzmxfbZEqa4iC/OlGcwlnjZZMbPflg8LInQA4OAW7xiz/Ifj6PD0ebYD5771Dh5D66ifmAhZ3zJAihid8cvF/xzCZnt4w2vKQWsVHm8WzUOf35U7+1r4RRhOofBUE7t9IPdk3LRBNUsZkEP/6EKnSJ/fUa7kKoFjG/MAS6Q/DCUr7S7baoGlWIbMIfyaHd4oCgUywGvOQym6xYZ4JwYzDqrF7IZ9+fsq5esqCXddwRkW0Iy8MmRC9M0pn2TWeP6vRt7bhrIm4aFmw9Cyiys9msVvt1qR+EVRkhF9rw3xkTBJ11Gl9q2HuWTKwZgtlsjI/HAMyjfzqRukNWmIwiAfHxC+ADWyM+/kUHJrkZs8qbIZ+KKcZvweBdLwJAlGBSpqH6bynl4hjQV/kv+gCSyOQQi7Zd2DS2gD0w+FRtiszs/L2fa54L0RC5c8FVO1QpW/Q4wb66dgcpftk9CI+LVeKET71sNVC4495pxv+8+xefJH8WTW7iekZ82jas5RR5Br8SyfLMnD50RbNnI7sefCVPG1CRsJb+l9UDJx58fL6HukWBqZ9A+rVSkc9mnfoVd9K2UfshkmXPPOsb2uzIKlI0JhPr472uWhkfLz+tspiKwjj3yoPcBf3rbVDEWdZZez14B7Gx5hKpgyCzzUHxyL4oJTe66x0wYwLhynDcjGpMrvOwAM1Q3L2/RZVlP6pGRlij41Zb33Ut8ahMXyekrktHZ2JvYcMyvaqeSca1vGVQQMz7uH8mwWouynBbcCyoS+en6xZLutNGpGRXZGUBeHBdk383ANrqFGkwUIbmx8jSlWuqmiONWv/tbCBTccj3xypce7e8egamncCm+5LGwiWREgHhHVGo+JXLD0scnjTTRg5+91p/1wp2R6MfqKZETWaho4RyqqeVqognJz1v6mGl29k4fYrnXgYfTTDSGGcp+lu/eQtBo9y22ka+4CvSAPtPIe42oEp+gc2o/eCQUdoi3ihrIIUa06NKSVWstJzLsl+dG5UcarKTj18QsTELjN3P2gmlMUp1ABc65ThSjzupsYrdtj48h2MUX0me/0ObSrEURcraZqVJN75whBK0PDoVMv2edEPLM9+nl2mzqiYRX4d3QhZBKJPsP1rFQnGoCPaU6+qia+7s1/dI67S0RYM7pZlfQE+XphPjQdyiLS3gM3UIQOmgsltqzamn+CpYm/6G0/pk5g/dwzu3Y/RJY523+qxs2otuLfi+kxgoQi/p40jSkO1Ot2esnRyvcTk7r1l0g/tqZaXC9utE3J8TV45YPBdPYvUKSpono8VBYWL0sIew7CFosgDBCkerXEtU4r/clmP2f2MBx0aJsmXjLun3Lfuv21QauXpFMlrAG5WS9EGXliJNg/RGRbBh3AKT/wDrGatc0h3hCqu2tGm64hNZ0M9/EYdSVd82zIvTW0CY/yH6n9G7LoPPVlLvHYCFeOfaF89QjAqEfNKziwyx2//m6NmbERh9pGnt8QzI8K6FXvNTiFyGdr4ssoNcRN8COq0VXIOQidaw4YMCO3MZaG3FG/2ipCRMB/zBl1tVudVi5gPOrzrx8B4mJldIPl+WWNhMv1tlVENxx8OuxLF3paZpgZS/ZZFDlk9JKhbn7VRw6hPJcVB2xzCPiCo3iQW1LlZ0jQFYbTi0S3Lj807fvv8IWw6gn9ljVtV7ThinYOfAIOGAgYl0YkYmpIT+4djObyGcqRahd6Bn+3W3iOXF9o00X4zmUs75EMouv0HrBmcWoeGdslsTsK/gdfVd7JmBJteomY1H0Ui65TRw361Apc1EMpFFNywILVXJKR6RcIbb3r55d3KQk6rPVrr4avjs8XMAKbifxwPNKC3keKhfn2dcWBp2bv8yimzSrjeAMq/ERZ5DF+zfbInOQxQ4FPhmijvwOpwKFNjgXiL767Ws234TSymdDipYsOkbFlgXsDupGLCz5aI8k0h0hR6CDPq6PBIMf5kyo2b4tcba58WGKha6pZCJZBw2JGM1moYvSusSou5ht6xM12RLrFIjPu5AFNFMlWA6h6ey+CdsPov6z1drCKdpGoHay3ep03dz0IOLUI6uM3VJUsYjioa4jfBG1SQoHal15DTkyObIk+g4DIkvWv42ZXnEAluZW2xyxvaJm8PZyt7XBTkXUJPsogpJKwrMhge+lorE3mbxg5SS8Q+/oqrHU9puVbRMiTOelzhC6FpShRuomeS/uVC7mAa92J0ZRAJutZmnBiREggJhpyULwctzIRyHHJ0Hqx9cIlliCg47bECTrKCIT0GzlmVtIstOsPf20ZJbUjM5a5CwOJNN7dU4Nsamvts1CV/uxAz6JAOplMdEblB8dT6quwkxfbO6m0uc4UxQMn/XfT5py1i5TzXo/sDlF7t4ySvrevhir0x/94q0w8dmDcH41HXia4AQKyMZc6+6gt+Ao2ywHdc/Y8FDTnxQOHOEsnJJDHYgoEZXHRNzIvTTuo7k0gFqXFjiIAurn8CNZl9bY79+ZrBFduP5hOAVKasRMtycniMKpWWJ25WTu0oETOiW+crkIBLLgHlkANlfOGXzZ51Q9Uqi7J+yMghrzCFzoy/6hOhOV9WH8/HLNVuPl7Ndmi0X4xZbUB1yB5V2dhq3QUcMQcGo0wRumk/vWd36BuOqNdP6yk1GF5SFFqeTIQa2w33e3xVXDhghKJz+rq7Ha5bAeBGDurGEkhdKsGtnn74ip6gp0rRgfxj0jZL1mlOgydQ9y4U+A8KhekI7DH835BuxpSEqhvEYIi53xYE/GFSnNqcrIlzqGrb2XXMcliAlNAW6zgGMHJpDWzQBs1x/3Z31odw8iD6cOtkujpMKR9xW/XhgInPeHtGeID3MYCBHQuJXTq5LzUEHs3ju8HopTufL1dURsROf/235dhNOOmSW+IIyABTddmlUPTHAj+hrmPCqkve2LUzPTAdMfbotsbiSCO/1qiv08QoiRQNNTicZU3eaTKAp2VR3aDlGjlDQfbaZCPFwzl2XkgN+zFm+5SVGSGITpL30pFPVaYrOs3vKeuevRE8/EIkHPavZwZPW5+rTX+CZWPp6kdSTybmcBsZFz089St65LE9tIPxW+laliu0GosxrObOBW7knarkyuVBRctJI+hI5HfPwxZrIzpr5+4c1Qcn+Diyer1MqrSEe2kvUmwTQzpPv6NeYyHf5cuKEqIJKWJK+Ukrlcm/P3Cf2ik1X3blnG1sX91n1XRxZlsSRj0PC6DfT2KFrvel0wmWnEe+ZL91fz5AeexjedRy9YS6iRZ/xbc54wG9HF5VOoLZICt/YFujWeMw50b93/IgZgY8aBxWlYw/pp9/KNhvz9nR+qIwkq6EtSrYnQ7vk29TLRB/0SubOvfm3w38XNlHwqSxz/fJx7U80I8Z7eRrY/rGCL2effcd7lGcrzeka+qYF90tSxkQfldIANpKRPlg8ar3X1cDKqq09O3slwMNLjHeQa7/sJh8WfO/YtLn/2uWS02FGkX25KE7YoXuZYg+v+Hu8AjO44nXK07XxuD3TZwuKCMuT2AzuCu8dBb/F2Vn0OTtwxv1sPD34JwVrEiwKQfUG5OgLZ0oY9UYVNWQ755MYF8Ma67Ynfa2HK16/o4z3zRINV8tQuwCX5RB5hneGtPFWfcKz7SwktyFlZhAoOkBx99HcAaYgteO4UlE0VBcAgzkbFacVxLDVleM3pfJ/5AYOpzRl+aP44r/on0BRsCh/6WcfqfEMGMe1CdfbAeB5EjL6+lPYonlAHfAZjYC/CkSDmnx7uJ7VD7HlxQ8chkIEIOvHPCPQMPAkRvMTJFnf7HyWk+hGuIM8adYb+86G9pfL2Z07SNaOk0Sz14GIC5UtvIcpTH8ItqfPNxAEfW75LsKfjAwyymc1dM0wcuYQpaWF2tElSgh1HV32Tk92zswATbBr3BDIYVUsuf6WeZXMXB0U7LHgR/tkZgKRb+IThfXn42ZYdcAAU94mHlV+7KCifz02wqL62Ih/tRyJk/Qhg3ivCzS3S6+WE3OOer0zzxpNoHakDu1aSMuv6lnufGYkKqDPDCbMRe7IwytIQPB/rLtXoL0cfxI+POaci7YlfwxTsb2T11qoE5mqULNiVM4GULPwuIEHp5uJ/t5NPmf4QZRFj0QOqfmf1pOpLm/SH27cng6RkDcCgOkpRn69e3tTztmSqRiqXEqru55rtsx6qDHL+5U+Xs1/pBdp+NsMQSVAx8jRCTTB4pM9U4fhCVzFc9RS1omZtlPs6r499oAcHurNm5PPWhX9pUlbp6wfKzks6DWUVTqYB3kxzLcSZlWCg26qzFWOM/jhl7TAPrcajxY7cFMa5UyVWRkakZbMg9KKQ4QxZh1L5qAO0QAJ79x2SwZTSr6/LXDZxo/IZY0zlT3LfQsovWisWf3Py9UC9W85Qmd3ZOewxxfKThatqPYQE+6ZToCDkkn+YTuLmrp7hLwpZ+Z71GSPJgtJxMRN1CgK4yK5zMwfFsWR1n+/jP9yPhw08yMYgpRrgMYtvTVGyKtQqIkkJMr/uvuMTUq2n/90TFdM60w3USmq8ciTJb/3s4Pzdn6mc7Q9691ozhqMpedY/BlNth3rDb+L3VTysACP3O8ve6pS0eawJ3LEA6hzDAGHPWkxZQJGVqs0AYELc/TTapZN19uuhgprsxO98tOD1Q6+wavyzjBO2v9i+xMn7UI1StiQL01j2gIwlMIYIomoUc9wvw45KL0vRW9FzCSQKv8HjbL5PW55sM7KWOzsOTJabftchar5nURjlxfl2Y4D1Z3Brbmz2grInT0gs4pk1rVoZBu0cqqS7eiUEXQilSo9IL5cHDmBeiPWwrV7+YBxxrX46Iw7Omn0V7OjTB3TiQkj0gM22s33vM/dRzg6sNNgMY7idd2mLYg7L6zF3IN8Pc2LY0cLtoKDt8KmJ+LZd+e7OCrNByc7qyn4Cqu1qJ2quEZ+mumAbtUho7ZpHDS6dO785XAWFgftQRHbf7GhtFK3bo0qeiCXTedlX4lmPVxZApkvLcpmf4/hT17SosYDtas661D2oCbHuM2A1tg41ji8DmIeETXATAXtbOMyRo3UqdVu46ogVEa2j+qyLgMviReaTylq8oviuW+shLP3SbJdLl+H/psunUh8RZBjqn97vMUpwYolaCWm7BSst+OBAO4geCjKE04eN5/YN08/ZhN3PBR+yGtUOMHcYjIXgINfJ2kW58fnrnWNxZjnSlWi+37YG2JVmGGySHCjZtDxfW+kOUbEOUkxRfEoaRtRiLLGkw55dFeOaqrTPyIkwE1g2vuIIomX/WU4u69eJyvw9hYuwzUM9QGNZNam/WmwOf9qLGD3R0YYYA1xMPfAbqRwH2GEb0KeQrqh+bHF1QOGgZuRTFsoTe3eu2ZQkzd7ORIjQsk7qidUMLC7ZR8QQv1UxyKlK9NOQgQbNchJTApsDgMv4RVAVoDp3m+xxU726GBREuPQwtRnIOQG6Mw4zyaqBi320xL6RWr6JTqLRBMUCG4AAvxT/B/ivb7d/FJNLXvl40y/RDBHV2G4TugTLAYsaF/r7Iy1IWPFsBf19l79mmFGvwTfmdemCX1YZXytV53amrARJVMbYfz5OAxsaMY6u8U07sDZWaDziPFi5svDa+twCER/aH1kBFwD2ijhQHE4PIlCDrBU0aFDV/dZ5QCXHTACJJJSZ+Sq3suBFjZbhTn7IE3mW5P4A9LvSmN15usQ5cXXgM1ah8ZFRifeapveWx2FsN0p/WqFJWpQ3m/wpMf+8bAIfzO+yjPdwGFGOsM28ghpw0BfumiLrZABw92t1OuDmkhZ4UWdxFbUaaWNnZL6wFCzulCgE27aAafuC644QfhU5EdQqbbEJdHKu+p6qj3ZXtrcpCzmwpifi8F0OhwG5OgUqw0xbmCY14+dbHWydY8EbxQEyLwQp6Dc6V/GpjByWygI/+mKYUHUkcaUYOBqe3fKij1F3kLzex+6sSudQtvJOoHkxFfaBZZFhMa45N1w8T+uL+bCuT50cIebs1KynTBk84YlWuItzj580k9vskdrrKFF1PYa09vvW6713CECINAgckJkbiitANx6KPkhFqeMBE4adGeBk0Kltljb+YQIieYZA4eoumu7YDCtFlBJVBs4OxoRuNDb0AwhSxInuTPL4nT8EB2nBOAG0zyBlk40ybfccp5bLTwkxYiUrbr6NwxX0d++deudSR11UYyDqt4ryA9wsxlBye/9k8XVcdsnTuUwy3IAasho/BIU2EbbCKl4tkzx8BfWuRzS87b/K0fal5NkokKUWENp6Mha6LvfnNJqhzfXe1UZi7yc1ZOzUhTzQ2hpdtj3HkhD1j/BwtAnv6/7VE42+Tvwxt+IGtgiHg+6uZb7aXUek9zLo2gp2f8fZgRu/i+nB52SLA1Ki6r0od7r/nTzVhMZVLgk8AyhH5m6s16Q/CRusfg8gfjrD27s+ntToRI6oVnvOQV2g07ru/aeLYLvUGkQ4T14eB7hMYiwe0MA4X7CLLSAUBueZE1JDANl0v0ozxD651x7/XjQQy6oFHCWGuXH2SzUXMLEEhKNjvvNLlnxUQNiznqniburcaX9LkDLloZ4TmVrJTygJjkPr2Ybnabjm/uzd6vpxdcHxNNwSW6Wq1qVYm5v4ijMZT78rNT8OlgulgP7dyafv7STj0THv9PfsN/oOOHYM/k9o1wbu5bjs9vIvzQ6QJ6VkWOBNmZVAzSKiibiSBiSTLo4EdwWmkUvfOQcOi+6EHwZaR4ZBMhhg+1OESoSuJz8NVL95t2V1x47bwwb7kzkjPAZHrRLk0t9UhhUaDdmk6JRQxw2GoR9P+wKIQpA3q8TRoJnEPmT+qcyEROncLc/hq3saYqwHlQrHE/t8PmrX7nZyYaC29kLuhnPOMqmCUHy3EK1NUHS07eIjcPjj5Xdqxk3QrMpHTLSJ4/Vdu/m+C5ipOqFFgN7qQ2RGa7jmv3JBnMqjy3mZJcqcSsPFLJy3lyMyk+cKDwT685hb73/0eJJv4+2xbuo00CpcC+WNnA7ibkZNT5ckKNIiIPMTKZlLHm3xwavZfw90UtJexu6s1kjjlOzo2RwiXyf/mK4d2XBmHuYruHO4ksBbb6Ub23HE/DXdE3rlbSrFoBYSs+4auPtvSay7HhrRk8bX3XwHnH72mWr0DbJUupeplLmNU5BZ2T58iHVmWsRCQ6Ga1YfrurptrXpMhF3wo2s1LKrXx2duOI6U8a/58KQcIFMsGZMXphildivC+dXHY43713gjFYhPsKqAZqd/XsE3sb9CoPdNPE8qqCWrHezFCNQcbmNkqoM9dH6pFZHprtGMnpU9o3X3KeRWkYmVG6C/QFnJSbQLkuaowxSJIXe+z8LwKl3cQ08lS75Kag491S2kUZxP53qIUt+zS/Z65T446VBavIa6p/KLE034Pp+f3PEo1kqM0WSGrDWmKClSH9wbZ5VTtW3HDBhEsr56Qj+HMqObBkyz8o4EGKzxBCaFZVKfRGbc5yFgtIDERzrbOClUp5z21C2xnXzGhRVB4lMHjYW82GEao7Zq2MTYglgzIyDK1j7bxE3ebTsYG6YUPaOxvMIC6S9zerYYrdqNDWS2ZIFTEJxNZlUw3dEEYvvQvmou9LEUWZr0pYQdyLUwU9LFeR+yS6ErMFdcXaK0LT0Nh3qVOxdvhkgDj1rmg7bgtLjjBW7sS8BiJXGVzkdz7QIGXzLVqjznKuak76vLDnqEH9EA120JpoBCsvq201ara0g5SVHoitGQHfYbFZHpWUw7HO+qUKJFdlOk9cwC740Y/p3p+Gk3j+bv4wqB1LmirTApgRguSc0j/B/GsR8fNZHIhCJqx+gUu66uoJcRtveJITi4xhk7wg3A12Dq8krqzrnpSaEpugmDSq7s8ROSH2cxR5AlzYnGdxIXbHHBUh5BAtrwqAaKgvRi6W6SvQUpoeg4Eql7mN7aZ2/OdRaiDFkTNJqHXoHUxaQEu51x85+eNAttrcu7eVQy1dtwHvWIHJ1XRoThKh71pfOX30VBZDQWvZKYtbobFwJNe2afLmEEiZuSZN1jmuZkw8iDxAKqyD8scCGmZ+uNI7dO9VI5oYryCD0JFd2DEnrD2EbCwIu5NAHbsMSBxBEIdy2i5IwFchxaG6lrvXp6g1j3OG0wkHQd2KysUG8Fumid3eCPPnQ9BrM6JPSBWep5NB2Xmo/hCfbpnYzWx89miuiB5bCbfbmptw9tGzPQQPwL7AVxqcFBn+fY9eJRY4WK0jsOZErPeP322aq58pUpHRq+JByfMxno7ZuZ4kHGkYRtSeneSXGNhe0S5uEfIVWD5opS6y20VaYTx0NznTDE+bcpyKfUBAUW7yBDYJ9a34qy6ISz7RytniMD+79uJyl+XZHutl768jst+qGqje7aaUVmDjuX37zwEAj7lAb+oBhkxp0BLRUh8UZrwoK8Gc/F1h+CmmATf0fjF3sUOC6taXwDNtQmxG2orshglAr49fm6vUHkduv97S8seHKHA79VKyxE6+o2gpP1EPuYOrkwqAjLFSUKoMCVfHUErZH5LtKQJYKLx9JTyIDl/8eTzQCgi3HoWtGhwq6lwqeTwHt9XATds94DIRc+8wNnuFkl49P4UvqcXZyiTPaZXP0abx6IDFmPT7TvhctFTuJEU/Pi8pPHPdupBinUf3eB8/G/03OUbei/z7UGROBB1aa/oyTTVbjA9zYyagLgJbtF5eHHibJmX2UeVsJg1InUk+9iKqPeVAms2/5112uOcPd/92KKrnL4osI2RaI9MeVpi0emluNfNdsrR7JSXpOA3oFFFDmsdn16Qv/r6TzTkDN17+siF0RjaXIsMr+NWaXramAkmQF9M356rhJBYl8gvyE5tlKsQLdOsVyXotaKQIPFjR5IuSZiiYtkm3ubDTENkzItfO+iYFrk+KfsB7pBSUPR6t3/O/DJ5THzvffKqWhdCRYSOJLZjrhpqqUal75NqpW4JpeBLojpO4lypL1jOdFx/8ZocQM+BJ0GG5hl9D8NNMqrMnLrbrnZxOAp64bQTtar3GR0YQFVVypZD4tKieggzCXo9mLMKFMF9tbHPiieNbFsaW7+2ZJefVa/hjvuWv552FfK3p/caIOYj/Obiojn6UlMTjPg+lZmooz06hDxUPC282hfW88xCLnhxu/MI0JHoX3I89wckq4Ur4jfTrg9CiGzLJqmWsIjJUR1upj/5culLHIJaUHrCNcd89xYep3izePGQbZ6T7sDpf57DDf2aHB/mQgwRBXHnOzecpp0vBj8Hnspr6vefNGCRey8UFI+1IglLY7saqYA7Lgc0O64sOSfBvjeIaQ9zto3zflHqvV0sp2E8Wi2xQqXt9TXNBUeMLfI8dpylUfNhkDljKdRP6x8FVIa+Lit5Hyeh//e7cnVA57T+mpAkpEzsUQF84QI3LkWpc2I8WB/L/WilrbRd8SQsrsQludHmtX5klI0GqcAkNJ2sHotVfxK8/bbDMgLCCy0zOkFX4/Gt08ZgDXrLGUe3N+26gJqeuAenr5zchEm2oEIlukHnXfD25/NDYRo6L7aAVQjjQ/QFyNdlHW5Zf9NE2/FfZYD8x0Xu8QJjhAje0ufw3pbmqEFKB/SvMh3aCPjsgYiTUKXn/B04Zik2Gk6lmx4w96keFNVmhpzvMUmSSrL5F5c0wGdsrW2VxEuvkiN5Ymm/CvZsny+sTKDk8a31bw5BDFuXK6z3p96HFIP9Ig7zqo6fNePFaxWqXqbecbcVisZwGHfKYRGBAxpmqH45B2vecySYOcsSRDIoFG9uMman5XUoy/zI6oak4YNkAEsCo9o5dBro2HUl9lrDr7aqYmSYVxwA8AGlKPaX3NW7psUDRQeZ+l63FAIarhWjEZUypaNQDnXsN6uzT4HsjEKffyvx5Qh1iubALgV3pUBMIiRe3tlu0MSWvmfiWlJlDtKDifjjQqNHEEqKzS+VQoar7ISFkZbH7FP6QwwaIfyJLyD68u+JDvcAyrhHgHIUNtKeh66la2GgKYHSZaF1+ZkL1bJuSIAzn3aQ3tPOcGx1PSr9MWggbpfh+HDEM7Hfy1YiimENygt1ViYcTM9t11ri8rLrRgsYQaSLO+9GTSP3soFXPvOaZtrOWCOkpt0UD9RvqeG+7aVKKfDvOnQx+PABiPFpwoz9ToLf9m7GxIrvptaSXd4D9OM0G++oJ4hcYdtbpPQTFsetn48sHMmvLixGt99eRl3xeCeCmFtoQqJUiBfgl5zg50ikNz+TnqljYT38RLwfqKMw4t0Lib9SnJFSXIUrN7QHPI7ARTYVGhaTtX8oBSVmjmx+64s3SVTG1rKaJAcg3ytgC+LeFmin7BQqWe6E9WDv1TN7ICQ1PBIf6x9hha6cr/fRG8TR0rA0kqQM3+JvxCiMu8kHG8ZUgVCSv46xHUmpGSGPoQf9gOPyY3gLIOQPytkb/vsFkzWL9u7CKSchTbzygYh+FmL1cVJ3b8dQigEKaSZoA1dg9GlJcnVqpB/qqsbcG2o4jtP3NFFYYA4avmNeSCm0+gt+/UgwiM4LKa2jXKaMewIZ4PW/YYtT9NKttsMegrf4o3ZPxCbTGF5yVHxtNQDogHte7Uomkc3Oiyk15bjbmpcZe0EninV/l9KiZe9LMwOOf8uoiaufPnUw6xxAzXZIk4tBgsq05VDa9woFslPIJI9tEZpeoLaa44LY+AQeZid/r/YYhg0ZMrLP6YcKeEkd2df6cCh4bGoOh//3nFllG2l309wfv3gBsqIn1TgnrTtjoI2QiLSZYhLyvvAxSaSYbZiNP60o756pOtYZfvJ90X/Tm3kuBEtMP+4qWKKg1vd/qRuAJh7JgZIz5BomXOtWa8P1U8NikcmnqTL6r7qGBP/WiOcT8m7+aMC6XpYm7hW4xowPyANBqqSWjuliUrJiNi5yOyoDXLN+SwUNZ3qPqToAsR9JU999Iz8omKB7OcXcwtaeqgfBXybLUeNvDM5T3ehpwz5ZPU3MFndX2V/eKMS3g3qsFB5n1ta5NBcy5pOdtKKTv2WefxHTTcv1Vn9GQG8KZVLbzv9FC4m5GHZXCbdih5UTZJBcQhyJYNPTBkXwwaoqsKNSxDMd530PKJhyX17LSdnpbTwBWE35QiYDpF+1zNN5yf9SgI1WiFsFWS+uMnvdbZ9ipfs8TQY4dJbs48IrcBv5MjyRugPtHsqLgv89xLeguVQmOtg/4japCKsq3Zbkl6BhJusGaWvZTGN42HiYtL4DBkmpCW1KxAvXswuBKvr/nKQxdzspzhbMELW/IERkCuHZpnttNQNt+ZKosAraDxcOTCxmBCnfJvu8RAZp+SSHAdtWYzeW/ZgaVlk15VA/fMFmRo0QDizWNjJx3bW+EtWOmmsKOrdRVbiDwsUmBFF/VAhPgkC5bSXZ0EbS51ab92mKoF1RjQS+bhZCMikfslQZ27YmSpp1qZFHfvCwTlDG6BTHXSQHPld9KyzWRZ9F+Dl30jJ/GCza20pgzZx4rlwXIlB8z0XLF7CiKZjYQEgV7KKipbEniyky9OD1Af+ZEV4DKsP1Vp1rjqKe4B7nIkyxMdHS6bf3EVKpjbeHXzK9n5Kc29UVneEaVeM0CK1QNC0bF443noFpabJulhr9wsuQxm6DYC8fpKgpKxaCeHeRsU7ArIIqij3N8nqck0PesgUzggjs9a0sIE6NJmBHZvjM9MAiAQvNEgmmv9VESEFJCHf5b9UGTs3efCLl2YivfmEYiBJBGLLEzWZYtQzNp0lBnjTeD05bwEFUmdNbFhvw2yYQzdPaGZy4Hjtv18qEsxKjkCRmePlHhalz63qeJM/oxiTYZSAmXxscpbN8CwxApXvLm7fBa3Ig9kMRj5t/ETwTpD+50TBm+O8Bq+5us3xxych4FFcqMFBUHwTci/6/wTgXhF2P8xktWw1VWayPspis49SPmur4uyZPZQLSfKCxwdvcjN4nejpuI46rqAoPv/EFalNe0PcFF+d226rNlhvuFqvMUeqztKeDQ0EIXPz5rxNpF7suiQr+zpHpwrO/59iKoOEZ8avFKXr45J2+vhs86a5rrftQgojyiX7SnBtTk2OzVuB44F1JF0d6H7i6EUw57L6xo14fn3LcQsaA2p57NdDV/KzO7eWHgAY611SkYKo50fbUx1GiDwi/C8OD508SqRGytab2YXIID4RUwjKXrtf7bW8iM5a23R3XTOOVe4hwL5amZM/Y5G2RVAU9gDwn7iMaTPfDv1oBUjqnrbEa+nHTBS0S7dvgmSxDOuoCrDRAv43oXWsrNNDqMbnM8aBgHCVZuK0+hqjn2zqeJETOZyRD7GaVCecSaik2Azx5XDJZtVoQJKL1ibyW90FQrmh//opq/HrXXV3pOCqhdCe0eopDBI34S2VzS3TLjqMzZ2SEV0xhKbuBWFdPHxN7uQJUQbGxlOCyHP1TO7BipJs6O4fWDlwaR0ylVmyd0qPwEq5iYR0GWxqonEP5zhFbIwf7hTcT0Uz5JIE8K4sW2vhembvQUutxuRAguCEN7evKiIaVgX2qOL5gNX7Ou+O9BdRIDnk7uLU+DbyWIoP7SpQon3ZKzN3mPSt8KLf1jUTVtZ6S2502+iABdIocZS8xlj9xWIrhIxaowNaClsFnOa32GV+5fZvQa+KvnN8/b/KoSzopCtBzT8gXJc6vYjxDKh3e/IuLK5727hTDaeBYIG5EadYf10ll9pTtjPo0OGYFdAubcMCMGQbCxOvyS8fjA4knm0d/aPap64UkmnCIcXKuOEQ7RA+ZKWThAionEOjXmBpzvC88MWLMqqbingu4OW+8TrdGqkH8SHLqFIjolJvGZHh9Hkwg+Zjegmhr0lYdLS3ro0Ci7GcB2AhMtvMVbBjTISTw4qAYRqgfxuZer647DVndiV9U/45ddNKXvQZj7dUGJ2OSsptRCDcJQPx4W8vhbNU/N5vBnwbsO/cb70/H2UeLiJVuzNwiT8voBAum8yRARpemLF9P8gZIsOv1Y4sNcUKFuQDj8/3TvY6pEzzpkqRrtDAZgqZook0TYzUh1ugrK94Wur9/fFNSkJs706NmaEdRKBUb1s319Plg9g5dzZvOgC/0a1sn46OobfB2f6hfuOVPhKpDtFA6ij+i/k/Ie6exvhbC79YpIio6CtrI27kugo59hVIHVSTVy6ZhbZrlvkiAufdvw/JqhKf0RKOWzBSoFe4rvi1A7IQ7QCElngdfbeN0sdb8gZ6CcZO7fLerV0WPDAicYDxrfe7WkJfmbPzwzDc76F3br3nU7TcOWJ0cth+X4e00eyuYzWNOe6pdvnZfaxoh1nkYTmHXsjfX98A7J3Mn/I0HjUmQVq4OVAQ+Yf98NU2vOst8QlWanzibPDMGauMUawDfx2q1FPuPaeSnLsy4UTmRJcPaH4YclxJEirS5TU4/rH2bcjZ6fMJpq7MEwBoH6NGYgsrnFv9IliZlXI/iTzyDiJhOeOblio3FSFeK3oecM4TocG1ffG61jUtWe+UVz+A7oI6FMdujIiqaNeSkncwHTwUxAlneFco7REi5Bt+vq998UpbbNCbFm+KKJeYkfFy2XyJXYL91K5pis+gL6tf3D0EuDX1SLL0LfsEF2LFih4GTyZzHI6poV0XHPorAUYF9PzxCaUNV2MilR1+V8x95pVHwqKwwXsZXSPr3Kgj0BOcRcXX1ifTjQud5sApivAm0wStLso9K31QmLonIuF37DegRpgR41BWtYc8fEb+t/ituowSI8wCqurZuxJqEI1wjyLZGOlKE+TyK/2o+h73K1HyQ9JK6Uq06Gc/oXHxQ+5Wdp8eL+VWUTLOxHWUbECyutOiJM/sPS+hOMVFVXkiQSWq/cQMkexRm121GEOA1fZAYaRHzXZGKApBec00S4oq3ezwxN6uu5iyK4PEJ3R/hMraBFIESIrpGNJR0b2JcxhJNOWhIUu00p4OPyqMOmav+HiEm1sYgoy5mef3hUdcqB301U+liV45u+xQqS9talSrZ1o4XXEAAKQ+pE9XyxExZpHtb2PElu1EUycGinNtqnOTu2mqvNE/nABpH8QIfwAdxJ5xloQqvzPZXoAprQSng19w3LRl5XQDBtYuPYZ3Mub4ru6I2Q4iQHwHYHCqRW0P0xbDPpGFxk8sbq8w6UqWQBJQ3WBHC9CdhfPfnkhC9UwteneCfMedFGaiuxQ12w18aG4e/05c5AsxvNhDVcBvdKirYW9vXlquElHA9z0EjSHfGbonH1Je6N4daqpHCLQIdy8Ec1kNDoLu5CRMss7gEQD0zkXu+PRC/28dYMzz+XUeRySUIzThOCyWv73N5b1KDoJ24zRHwl7GbTKwThdlsQOXWeKsmDrEnBOTSiwh6F8Uvx5DnfM3SJSqXkBeMkQshPl7qzWFf8xE0B7R7bv9RUGsjnfm0outJXdK8+KUCeGJLKezbjRpaHeA8pL/NwMFV1DIvsGrcMxUldz6FlI/ycbUNkki5o9Utw4yiy5djDpr7zfn+L0Ism6SD5pNUaXbghVGC7yiSZ2PrKZPXmN2/n4yq8dE3dD5EvdDfDAmt/zPBlBrBufEphfIBthpPxJ/TEKSA+aFXSFyj8G5C1szXoBHY4O39/a9kdOw+/4zX+Hk1jSmB8t6mDyhirQ4eZ3y1EoRNI1F2U4radWpeZhSxe5KSKlbEgd9h+XPYGoecDbYW95JLr9lis6u7zhSsvHuvqxW0wOS/oBp6LnTK/W6302lVFKsaXBlA12DkfPxkoG0zrccFcxr2q5OH4axERPRcqtmN0qfSFUjM+Fgtl4suJTFkkOKmyjaFf0aYIWCs8r3HP49HkyYNTZ61pUo+0af4uLXV5IVuto9F/8juA3knaqFGcHbpyCmXOOG14fP+jZk5GQwJQIZosbUzK25wHK4mpCtXbPhB2SCMIJpmfXqmDjMWBlI6KbzmOsSkZPHciOFSGsYlV5dOsORfVJNjn4HSAqtG2UblOGXIB0WPuoMb/x2pUlXaLdVAJu9guki8sJBAve81B3pra7i7Vrk7inYZ1E67lUvwwqPZ4hdnY/qID3vM5sBYJajWWpJElxwVrYr6IsDSJ494Yj7WWQ09yAjtWIHmrmpOvjjPiyIWFf3rw82kibbBFd+qB1GTTG5AveuPlnk2au20Gd6w2PJcN+JHL09FMZxGkND7JzGJbanblfH/XYRXE1w0wac6nn7vjydGJLSigW96GHLSPIccnfS3ouc2eMObaVxJMkeRpVf2HM7WpOhIuk7MqE2sfZLbr8h0nElC8lLG9OjMdEUqMvEiNYOJ10e+Cy6rS+cJtpKPRaTWjdVGcetV/V0/ecmkzciWXRzMOOmvDOJtmuxakAQZx+FdLFxn8oiS8vAp7pto3No1DghBjijcp+tFpSV4t1BF0Gnpl2dnEcjOA/HwI3Nhgwz+1OW7MrW18lM+rhT8Ee9k6ZAaaOnePBbWMCyodgtgeRbdx04F7rl7SFoRzUunDF/fIzTeRaTxTfOgE6Gzlf7KY8hfYITeB2CCue6j+Iy/MuMUSYFsTeltQi/kCD1X3p2+im8V8e1yREEnNvFuTKSq0GkgFmhCxwJ6xRzXklvIEzoiNtb7ZWRrl46JW7E4if8LPL+De8hAbRCmn23GqY8YN349WsARzcBeIQxtxutGnkoFLdTfOewdaIoBRm9X6DujK4pRnKzJUArdStBm8F2inCjNt39we9r5qBIkpN5DFLFtzo+StCRo/S/lfjjyOvZWtXEo/jJ9PMERsGbsaMBhem+I0CbHCOuAPlIMLpAJFwe5Gzn0VPF2QqC6L8n863hhMs+26jeR6aUhJRpYXOxziQKf9vt9y7hby2lt8+rzIxXib5O8ntCCcgSPkIPDXJIhK3TBwh8sh7UnkoHfVTyTFhOdLSRzpnNVcqP8HlBPPa4+dehWbCbLzMy0jyZkTAvntt4oYcavaiHc2I9M8hXoXYug3uiKLRtGdiMFcPd+KH7Ltv0f1ehLoMr8keuuzV0pz1x7Cqse9KMKpeanGbCjatCwVZR++QGe4wiUB5tKpKojcs9AXXaGpErDxpPExL++lONbG+zNbH3vtEghC/MHU9bhrhW44x/Jlv2GH8fT7ZNFzqSfbyU4CyBWiPpGOFiWOwqU4nRLiOcG0YoRlBnbeU5T8dPlpXFLOykd3bD0vGNmiC2fi9/6uC+vWXW2SlgMZOU82fN8zz4iwNHgoY2dSOS6r6/hWFZLSpZoSp95WQiOpm3qzuay6xWSY3unoo+J+yEnwwI38eWkAe9Uuu8hfg9/zQl4OoNiEhBJCNWS3TxY1EB5xNP6yW3XMWi0gMWjNPnFT6hdoQA4q0Nr4Enp70G7LePpe1zYweM1aJamfYqPYUnCY/A3nzvYECE9dW1ODPiRl3xRLDH8MQfTiYrn+BtYEpnqgMc3Iud+KlnOMbw2N08EXz+UextLFDb2Wi5AlZbD+s6XcinNo1LpeDsI9CcL20g4d/Ue/vhfUUeJt117lp0jS2kRMSri8npAHquktwskBKCqoJHq+E3F/xYnN6H1ZeZpVS8iLnFx4eVyV7RdgJ8M2x4AAsnW6kwyRCecPQjIPHX06wlFMJ+OVRkbi5sZZQWGWA1gkEs6OftDQmXT7Um1btZV4k55FwiQFPQBgsSBrNCLh6hsE+fL6RKS7ENCAitpC/D8E155G0qil4gfVpod1dBoWUlwtCbfEKHlkGkq0n4Sh0OVIGmcTAY7znVghvtrTGB1UnvneumNIxE1ej9LOd8pn9dLA8Jw6n5z+vhV5FMPOv0zsqDK1POxw+87NOsz78VnMCQ9hKAks1mRG3atH1s57BVmPOUvQUjHuniThUPQzWPRaIgKkOeNfgjruNZuZKlTbZ52BSasS/ZbYc5sAWYSK1ob3ypYTgbpKIGk0al1SdtA0VglknLru7cVqMs3pOQC5Q5R/5xevkgP/VJy6qZg3WeKU20N1YZN1qHTbZgFFuVflZELlsN9UEiNa6P1/wO10m01amS4x5gK0RELm0Ia64lEuC7Oljoh3PTmOLx9DeNVDGnJZN28JNFJY7ot6tiYJhfhNQFdwaeQM+ZsyRTB9dEbEtHeSV2S9Gz+F7/w3zQk6EKENcCp8xu26mz2hIvOkee5KF63Kq4yAsrrtecKydn+6SyBaTQ3duinr2CcHNLFhjXYcPjuo/2LTVmjOAwyzwW/ngXj5wsIR3L1MBGeBV92c2khYA3sckNicaOKpnuikht0Rzzr9KePBYzy8yz15GEvGWr3kpp/0kqAsqzJrCEyFdfgyEygWwIi9uSdcp/sWfQle18goVpRAOI+8+B0yE7q90Mv++tw1EkS+5jXmfgQAFfXUvTOvzeabJsnmYCwI4FrUIMzS85Bn3G65TW0nhCjDMlgLNWJE0cYsrSq0bRqZdLfVKL7AEphgyIHLFcNyXR7jWdl8RXlTrGQD9OiPKDE8t5vJllVuJ7+5gOuIOUafiG+ifm7vqU3xF5n6tqbSv3JPbQjfXzHDU3N5ULnv4Z9A6pw24RXlf7PFLBrH1ThZke2puA9NyIN20NJ0DnYafrmhRXr4/fcg2a12MIS7Ssuc8N/w+fWBnILwdXIo62wxElub9WLnoAbPhQ3wJ9zvEV5wHMha6z/A2hqc+YFje2yFpspgkqVoZyYRq/rjd31wuO4eX2bZpwafvpztpg+XUtI8uvAvFiiW/PjQ/aacxZH1pUNy1hBWWhee85ZFWNQCPOJta14zxgi2upa/5KR7WLq90zYH8ovMl8RMvRA7h6HntUlr2HgDcZk12/BbgXEfBZMI0T71lICJ0gSAI5r/cVdoXV0qyPuC7sZZdvVfHev0dmSiGfYKRo7WCJcr5SvQbJdk9PHVock6pCmCiWHniUTJEP+57LNZoZd43L4nOvnPqRtkjlmmnt3XF+dDql+pNefhM4p3selgHdlwcR2GqK1YbKi3WorrM2mdn0TQV0tg5Dflc65j7K03HOsAnfk1j3ct1IiMHOWOI0pmY6qqsRfS84DREFiUTdtSOerNKEeX03uLIkr+/ugNJdzwi5G+iJK48bNEHdMjeIuqmo7iZoYkLPYP+jZYyCHa/ET7hmkWvVtqaSdA5dPpTvPz/c/DNGkJDhGMCrKyFeWGlKnAamdO97CYbubh/wIoiOfTXY/qpTEyroLGatrPDEnixq03LpCxeWMq4x+z+02SSCiMDDvN2fsH8Lkn1TKcJ82OEa5FSf6+2TZqI738yIMFO+HeFhDD4WEWjHTwgwiWOyCtjZoW5SbULWK4nTg2PR3cfoZoZ3oFOHIjLlBfG/DJ2KMbDt8PZAzKvadSsG7Bu9wldTB78BMLXppzz3T+/MMWqfDAXKMF769EkZjt+V/kv5NH4kOwenTU8oYvM+NvgutXmW151XcF+36FzPBvWfjdFA8CQW4Sz6m85GMXAOGJa6SmneIbFPQq4uTzNg1H9yBEo6HFpB0cA9N/RgKhY1M7TLkkvvJ54WoppQV1oVYSEo+VPhb0L74eB0Y2X8aynMNVcrReGSz2yMhj0FUBO9qVEwSa1M+h1zTu6I6pu2c2gLgugOePSPv4rVn3iKEpz3UUHWm7Oc/6Ign+RwBNDFnrOB+kmAvdkoGP7eifMFWcqDI0ROEYsR+r1uVaaqwefzzcP3mMWM18a9ZhnEmRhZafCMWVnBZjO07cJ4evBfvNX0ShnjmoQ68Au88gFsoo4jWugw864Ygs3jY6XIBylrRMr+KYckAIQokiff38DpuEa2lBGDv8DNHDqWzkbMdaUDTVAra+mv67SopF6IXNxZF+WGJcE4y5VVWUIU/ol5H468IbvkZB+jN/PCJ12VKtSk7TCbpWYXpIQ8hzLVNw2lAELTa7M4nchohTTPy67AQ23MNJJyiwBgnUukYp7UFjxTiYPHhA7rFBcCyZvWUM6Zy+Iis3dEd2HXuAn7qPbl1z/dDKP2tuQuCy0kFIhQgRwIoK84W9woyX//A4Xcamn+jYD9I+qZLSZ4pxGwPzrVw0p+A8Ni20tJHlrW1AbNtrzrhuLUej74bVx0gS2MvovgZqMeC8w9LJZEe0/78NHvTu1N0PVCJLpo/KHiLDgDtmpJ/qSNolOmW30YdIlLE+obfJwCEbTx3W4YDrhcSAN8piFocBSnJos01D56CDoc680xefcCnYOWADsAZz3IhEGE5hMX0oLQFO3SD7i/l9UJX5evSXwLen/tM+WU1GnWGIdSTWe3MoBIRnNDY3tk4MAoR6GQyOWO2HL65NiMBz5BA6ypxrQwEefgcMp23JIMJ6TSt83QtQme4ksIJbzMhUkLRTewEWcdcdgFfw2R44on0qTN0uTSrgQUu68B6uYgScWj+sw3MaZyWog3aLnl854ibHtoKEcsb5GYb+H6GE5uZpZ2oBM5dmINxhSg3u0kwaRiQcpD3E0zyz30rBzZZT2kTnxiA8rnIjeei0dJT2xYfX6cnxPS/UdSZsCmt2+07tf71ogCs4aFOKYsjnEbCR2AdNjb5ONPv2cNnyLbXRi66SEcYBCZLpnj+TRFMjNkB5KSrPfJNoH2YmmJfWq9MoSvUG/E2nUdmD9aJ/66GTJekbEIJkxTYRassUzl+hX4L3I4zGCbdl4TYgii8449Ve0YkGPXyFP9WDaRFj88h4O1S1I9V50pDhTPUI+CJ26EieXOn1qBerwnSzrb2k3UzXha3Vmp2/DFchYWZrGw/LIP67IqTUdwHVqa2zOPeC/b+dOm/+dSHq/pLL2K4koko/ec/NK/XsGT/zWOnBb7bH5M4KfFLyVDqDSOcKdYmoNhAS/9AuyMzMuTYQDeXXlD/ff9BMeouOl4nSvVFu9qKdx9WzIoepj7fo01rx3ZKKEeL2VfBE2GcCd0e1COKd0S+Wj+8vmlsIdc2hN4Bcn8UyzgJ7ol/eUrnfGVSHsg1rz4G1qbe+U+InTQ7l5LnYIEgIulBkTJEoATyI/Ig1LqAuF8Gmcd6mq8rKNGOFdU/0ZRrJnY+zDRoacMZ6LsRBv3dYfCc9cmY+nHTPGQTEFNYo5sBvwjHlxuK27/wb+jT50WIyn8PSGssoqhp8BrzuSyDqGccsHRAepOU+1lmSPULea+vDKgf0pqN4XIvlZwZS3vjfdqYpK9POY8Vyf0vDLN3oKxFXzRy2ndsUMIYI1T+BRNvw+f30ZALNCxlZQw4CvEUgynReHD07WLuQkfAt5Nutz/sja5U1FEvF27yTj9BLi2VfJK7u9P4FMD5ehrtoW72YNAnWtKNeEvst9ecHIkc+X2z9qfBNcxmBGITQoFNRML5SdZafyx+jHI9soTilJX/JQzrkTT+D+5f82NI4aT13NT7Z6Mfnwb+XnCITYik1ylWTeK7GAi9ulWl7MQ3raFHyAORTmXBTjVJeMk7FAYz70E7+wgv/Hjhpz6UUxfiyWZAkYP8YouWFjtV9YQUnybRgjKWQKZkUL5PqwAmcBPzjlDuGepuayxUGKgP0t4AN1ohNPSzy/eyxUAhqylUupJ8eLfOonH6YNPT0hvaF0Hb6H/i8Bvx6Cw0H01LeZQNj6M5AvCCW99XHMmRn8uelMLTWpFvyFgRXFHXVF1go2QYrHRYrwMTqu9nJzmke5GczNYKAKqpD46nYY4vb/UA+XPiA2r5+wpjJ0HXmobrSPhnKr57MmVeUHuJICtfeN4WT1VQXFRKMCDExaPoUC9maZbotyhKoUR0kUIFrSsrcZng1rJsNQS7I57asu7K6dGHomLizL9rTGaLQe2yKSzT2Q8gTnrSxe8jUcrxCas9CEbLNJUP+ECP1ntJLyXRLug84qH3s9gNbovFyenDIduDOXIyWdaX1Hlq6UVNEA1vrAPuIQdzBFZrQWIOIfIwEnS+P72DvSgcpPxtDN7sx+AJvwcU58/fRwpTh817QNUcLq/CI7P6gVm/BLr9AU5vQiI3I6P7j9WtJGF1yNmS/8SDNIPU9kxQwj9IeoMrBcfpCa/HrXLrNQ+mFyarGRzJ5WQwumM3u2vPIvGdwVWa39gGLVJazaYkgYZLEHa88DdAZZ98CuY4zxoUYgr58IY35pFsn5kWE8xrXbv7sSas98qfqcNnz4eqh2zP4u8oxgVWGIvuLqfOejcvTqp7HYSlxKjDB9/VgQkkBw33W4966R588xJmM1nvqsFVFk6xKZspTXebsLq1aV8atGDtQ5ztvTqF2G8JO7Oduny9+9SzgiRFzG0/IuAOGZrjpRLUXwk9D5EfTvxfr2yw2de8Fk5Pnj3p0WRyMkmlU5goqvxCArSuLww3HUr1nzDxxPY6ORiFxBlvYKNIZY95YYXNaKvWyqSdZ0Y/n1mpQX2nYBlktsYdIIfoC7qenPXglaV7FnXxGKUpoEKEkLFpN0HTn/Gw8kCK7AyWziGa+9Y5puXSfGHLCmtDTJzvZ4Dn4z/Acp4xoPSYzCD06h4XhP0Mo4550DtV9BXFiEfe0o0+HrwVjNELsxRZs66InUq5wL5HLf7/oj9zzHj5a+GkIyy2hA6W6gkEPL3ymTgz/8j0DLZ1+kwUoY/AJ8h1+rG5CjPk16vTM2LzPlRuoaW1OqpTh0qedBZL3E2HUQch96BNJmxd62w+bwYNX9tDNhkl1fuINRyqHQFnc3ITZBewNbXGLvpz0+1Yo4Z/AIMC0UyY0Y8p5BjylkJRwNJa3Vkt+WzfOP6Bxg6KJ+44kog82mYl5n94CLd00Nym7AehEjr5sWDEfWHomB9qMynMLRHYVj8NLcaiAjvAq9THNfIlbQDpYNJoC8mjJRrRtbc38m0z75MzkEO2pJT5z647+aoMRQX9pdzklUrrmfzi1ZWThwL3PZz5hvb/yjIy6zn2q4k1CDBqZOfYUBz8HjXOn+pr1B0hgwjLFzWf91WRBOqVwZj0yjwf+BO1yQ8GkKJv6+zTvFY1ahyp7S+du61geZUXcmxd2Rj0Uednh5tSSNdhDk45f2HmLeEgvNTnJ/kNvEP+N/AOjA+6V9UrbWKj4E1EKK4shKHfPowytnFZ/P6k30DoqpR1hyuDvV71Nhdgp4qTCnnSK+0v81DEfEDCVNZijK+IVMdW3xD4Hujg4F0c2KovYoYT0VJKsG7BwijsvSqGyjgCJUwWrTFdTEK5DZWEJYNXYLmSEtRVfmaZEQ359f+rhdpbq2whenjlSnLgaT1DLlIAa0DJbYebUm3wMGJ7EVLgYjXW/oh2qru9ssuJRC/vtRIelLyD1L+JuXoYLTfd0mAA5EBloiYZ9TUZPDKpRGZqyDvlvt8mW7uQ93omnoluF6WG7R0Cj+S+JzKV4QrOcni5/jtNgEPW7SVEGCoFeSjo61JWjkZ+dO4n3H061Dxn7ZdxP0IAoUTTJO4pjKLd0LdZt7gOi4JGMhXh8eYxUctRKLqsmlNk3Mwyr/+75VVa/x+ttZaI6CcLNEj1vQqcB5DbNGiaLyD7OCJeeI3iJa/p3QCbAKVo9RQM0fk7x2jSc0OHnbLZgB1Qw/8QQ8+UtjAIijPt9id3lMo7oXpPFKv9v82hgEhf+xM+ED9bmHFMc7wlNQaNd5gjLyUiURvmcQwZa156yx1J9CQ4jDgZLrv3Cg3k+nrIdrWcSki8gUrYNPSIC3Zoy1QvjJ7Bf3jN1he/x4UeKvlaapEc/JgknDmfm/AqZWGrI7OcBs0LEHjSrGZ0nIiBjVajlE2yPDm5WIYgXps9hvB0EEi5eDQQpaT0hM2nx3jyTnXq1zZv0qhSjVApaQcleAFYZcncxXqVGqO9TnDGkp00lcJDJS4o+LU+W8oSCvNWfwdUPnHXJW7CRunibPObfWTfhOQKMltuJVyeQU+Wec7atMEyw+DKyXGp4NTloclf+8klbB7cvLxsnAq5m6oB9uM6kj2XShCJmgGAIigfqImYdWopdzLBdAiAC5uBPBTmZ3e+4NwcRzsvVuZjkDhfo6rw5DsH8oQfr+ra5LKy4utGxH7mZZfP4MZt+TOl7vWCSQm9/xbVhMkNXmxbgx01bjsyuwPVSJqKPjBmfrb8M/PCVGsufSX/97DJiR+603MfRKve0E0rwW0EfMDVo2UWA8fTY6UFB04sJDUCROwK0mQCq7qKolL7lJ2UwBX6FnipOJ2EL0xn7X2W+cVQ+QjmLOpFSlaMTNQVcWuf1+gbzhs2ifzcF+NGwLox0CACbdrxEIFxJJlaRBZhUGIdW5HPlcFVqeaEvd66blv7ky7p/soS9xh9sfGqifEokCfnP+4B6zA7V8H35Ex4xo2kZyqGjyLvphwombmVcMSIEMUY2v1O0IrKAGXH6rPQLg/GLoJSr0De8daPRk6UuBft4K6vUEQBBDoJkXP9LbkuLTQc7gTCHCXHIwkU/tml7iZETe2VIzGJY4mup0Vlkulpa/Nquvp4pxz857rGsl5V5wr79ZdxnNcknkY1u5Mq2OVau1H03TATlCCsbJrVHTpjnEC6JLPOrpkxKTYHEemEF4IFjUwhqLHMdded9xgLwBhBoRxMZ7OXK/jX8sqBuryRdxj1gIacIxvtIP8Vn6sa1d3k486N8lLI7dnOzt8W9txYspVn+FDJBq7Y/pZkCXFfT6agrhQu/GKJ41XDTsAblSkGgJQcrzIuppkMO66c2UmqYN0t1kmFdyckBFzxrlqw+3NcKcUKm4MFb9+vvKk/U2bSjJ/JDDX5xN8Y4+cpFX2ah5isid+QuyQSZpL63Ade9pe1LteiPTlRwUxGkwIOgW03w6owTdNxpUarFViOynTHzfwt4fRMe4SKhU2HH719UcrowSwlMeYnSPFkSM6lZgmWYN57b8Rtm351tCIiRD/bf8PpWi1xgWRBMI2GKHA9YfI26sR73s+FTl0/4LYIpoCpsktBMjIWIvn2TeLfktZmosa/2et5Ir+vR9pY4olpKi4SgPeJMnuFqUooumW+BE5TIi34a7wfg58TBXSFhcHGyUysraidq/esChc6VhoyW8U1VDHuCkZXmvQDGdsDU9c3F9R5tyFSC4+omXuqFj9c59B7YCDE1Uwo3NedyrR5J8i1OZJWXQBS1Ufpp/NE/FMw6kn3RpQVEKzB5osjMm9ZAclmyve6OvdvM82G632fJu31UxV3x0aJwG9ZQDXFoKCkNhZ0qto/PA9jRmi5zWWRSLI5n7vNrwKynmhZSQrzIZZYT5YpvIl0dRhAH2RZadTbG4QlQqkVlFp5SSsiKHypF3FBhAzE09KIX5i8rUHffucN3Wf2sO3RLC91IkJfdFEyNGlxIYlCZ3Fg5FRT7fHtFJDEZNP5rKaU8lJSiWiZzecG1lAsSBQQ2i77XZFpUEuyyQkRTxfjeYFhYGdMDpV2iGTbxX5j0zvCKqXfCL5ex0tDG4/TWt+x++RbnB2NYNDQ2DYfDy0OBxizKeF/d0jpro7+ExI1RZ0Tz+v5KjJ4w75j5SzDGzymguc8fbrXUPJMHqMw/cy1qzEXLKS6EKmIyMdad+/2M2FNFpGFF3i7zrgGI+g6ycQA7KyzdXUwQqMcS6i5Hb1ALumMrILrgi5ntC3qDTmZUdcKwxdex7M6L0nBIu686IE2+CpBnyl4C+OMrlyHE/iZjBrbB4yGRhydOoD+408bFDk+nYEnyZ4JVLIAg4vggF43frNYTSgu8FgpQrHO8Lk0NAigyQSUCbJ4g13k21NltJpSaay66bImn902cLms1fQxBRkwCBJnn3mmhQ5FkWr8z6Ab+8dbOaDj6hxeUyTKrox1aROWLmcZArtCV5S1N8pK0q7cOeLV9Pc9+eZJCN2mx+9uPsnYuL8uNDmQOkpJB4p10oup+uUj7I+4wHB2jjrCxcQxk1vAOnURyGFF1iR5vkj8H4fvutv4DN4tacz4dhy7d0VwofJmmSZffm+MqfZcnjTFpqe8A3VOjvdbIpNpOwcy5WQP392znL499HvarKSevNQhfMso3iDz8VVBudFfej8yR9exa+DrkKIu0tasLUnjhjQTrlsNC4mEl7NP14wd+7vLgvQCyaMst0FasKvSqd3YBewwptcg2weY1Ia07Q1fh9FRkZlUPah7wLuZz0WWqqCgAzz+HZvVsxw0KHuIVJZ8yktRrkAqWZjPg6AClb9kM9gdFvq4NaYbizwnGZtPNBN9zPZwF/QUkGRW2qyhbLlWwA3rLH4GKpRsZz2N6S8pmyK8w2KbhRAzuzCE8o5wmpKYhZpKl/NuZMbXQmwC8hfdyRezN+oAX41dHZFT6tDfvYW+sQyMFn1Pm+GUcKE9y/jd1zNlD6pCVL2lnNOKi23Z06feit8zgm6Jplp3RMr/YvkR+3eDHCGFnbii11fUvM9TpuaNsPwXEBKohxA8NmUJOhjw1la1h4hZ0yEUt7/Vq+2JpWRQQ3mdet8FysXYCyMcwY/ir3TeVFJAJNQARg01NgO84l9jhJ835Wetn6AsvKMrz10lylgwCi/zfJtkrebfm999hMmddIqg2IV0e2/2NtT/f6xAue5AQ64elLil9HxNzySwAlVkATPWRr1OsrNkEg5eiLayoHXB57XIWY6HHbi28AZ24Wkn0zvPOs+t7aRjhNQe+hIVnuVBRPXrfEkGF5bfqE4Dk0eGLAyWlNWjj0bRHYGF4BrH5TG6E4UIz1u7YVBImzt173nyote/XtotvQW563TS53zYMBryeHsF1OM4oQ5jPAI/loWNdN06l4G9Wc0YyNiJm3WLy0N1L+6gwVXuNdAkyJVi2vqUhgE/4AWNwzEEqgBl9nZCWqD5LyaWVryy9WnGNOWhLz9eHlFGlElLxETyHt6Z68o3nCO7JzcQgbMKsLx1IuGih18SxiSBbFE1f2nrBqN9FamBhn0s3vVhfSuugwye58w6HZ3i+vorIxuOcYRg222RB72wz2Vwz9rlG4lgRQLfD/dbI1XdpF5adUlKnED8qjjMylHu4s5pvwWCS3/tP+7TQzZfGH1KqqesmgIz2f9su0D+HDQuV7yuBPujud0N+QOZTyjPV8X/OGiZn5k4tVXKm/De+Bp3EzzinpUhpR0euzBrN2/OTGYKvyt7U/MGkviSL5WyI/GlICJ1KDf9ucUz9t8o/FKYRb6gH8JdnPWd3LwIjOHc3DSAZq5lK0XXKU5GABx++BHwKl+m7asBIC9EEf6y9WR29at3HGwI9PzQg0tT1/FWPicNAqPd3+TdxkywjZQ4K4qjJwzApNdD8sIkmcTv9rVGlj/oTIYKOLBFF2lOAPTunEsvxDTWGZLH2LW26neVFirsTL8/Hz9z5jbcw/MlBxma01nZc9W73MRWdXl6r0h5wfjBhWc6v0v2BLy6VbFyc1XpQeScEBerTcHZgspEbMf5PALkOjMon7TnL73RtBxHx77x75kL5BQ0vft9edqRS6Hq2yY/5TtyymF3ZI+TAnxeoGjOarsa3rwxubLoA0JBkbQoN5chllW6XPzYOAdB4DWmy2PTrJeO6GerHhLHDy+C+dTY0G+wnKBk9RkHvG+J/qMtjXL7wbTBtQnsjAgS6X7uX/qFrccR8h677O9N+6t7d/s4sS+KmKIjSl+Uwm8GYUzBIq/NnP9MtHtjXVdlCt4499dlYijL08qQAc/XnYze+jWJNNd/buPU1nfzIDIzxyOXmkwEnd3JK19VZIeQHktsXg0o1qkxHvkWZAIEIhmBRbTWONWO3RuoCICR2lnG7PTOKNbf4C1DeC/Rq1ynT3dVQoBuqYR5uVlZgpktDR6EzMKYi1M8cH5ys/yA5eR86tgBDkCE/9mF9XfYX3ZYwMH0Iee44QHAivXSqpfvCJvGkQ7Ai6ACZ9CSg9y9Nl8pnTlnshL2fFYtuENwus7x71deGyy84pyXpPsoyR1kbtFNXULlYECEzWujRifbs3xBdfK3B+McLT4qywPiw3sStaBRmm6F0mkk7koCVlMmXcinWJpoCzELUMkikCNdU0F25YfKCMHYGzOGUQr/OoJshzMTNi05x9/a4z65dWMcwnrTAnssTC7YBOj/nCA33hsHTw6KF4E0pSWbWCV3oWIPsHn7b4yn373DWLUZYHmg/XbNJkDp1+Ka21q8kD3ujFD9R4mtowq6+REh3kQPwwsR/fiF666DES+c0gFNcZSA5f6riKZcjP5fZnoGAesYkjjxyuVXTj+FOOWkX8PVfDEwYlQGXo8eJv3HO6Prih7qeqx8/lfYXIhScMqzz4RewDamua1NV/0g6vz8qPgZcbNz9z2W9MQjSa0pCkov2nn5GrlSQNRP+2l/Mm9p3gkS4U48EXW8ntnr2I+fX5d/sBa+O7ndFAV+xv8nmHO6x+nne9Vb+A2RLoMS2h8AszIlMWLgwlRw/MOClcdSQM5QY6lh9x2ZPOonei1DJ+3JU8DZBFOdfnoEVLHLxqRknxVtxGnolJK4p+Tw9DjHiS1YPiV4RakfK0YPu+gW+J1YiH6/J6XvTUXqqXrvFXEmUk+T5pfl5Yh4W4ZLgFLWWS9bjjqY2izVY/pCO9yMVX2aRMzsTp9dje23ikTC/vbdPtF53AaCe7F0yNkQd0u3gAOeeGXFgJEv7qiFDa+CnMMm5bDyIRh3kIJl6GmlOWb0joD5+PBGVBSNQrkAWo7H55HDOOa10CJ8EQGhovcopyU5cyE/gyC0Gi8cKgAo3turZm2AqgmzwcKIPyV6srUpsOTrWsqeJF3/2ZSzUWs1e6VeW2WoodgP9JyL0ZCda8vCW8NVVhkeqz2fNufkHAakJfUiyCMSuZAAxuasTsPGcRUB5IQUjT73TosVIrngzxy4ic1ZQ6j4LUHieTzHoWn/0iQ3Y4qi3Bk9azu4IYIzHfDnZRjFNAQYZb09zii1qXN3kGh4FsctxsLeZzgRVh35WB8VYxRXxWBv/mBgjMhJta/zh23JqpuTC7KWmC21YAyii2+sBcqiHSl3LmmMZu/UIKvos9QtPp5FVzLYYq7lSFdAef+IDGMCSJIYoXnSME24/RyI16Ir7xWd/t9G4qa8WkWRbIwm2kKSKeexAxIfXHap5wo7L2U8ifb726fg7c9Xwfqsnwgjf/C/JU0TIjkXnJ3rX587cUIhdeD683K2PlD10ctrvTA7IDwQ7ezUi0WW6F924EHTgEVLGmam10/EY2LGJW2DolQPOyYss4Gy8a0+JtC9KRw/Z6n+aAocNBE5/PFovmVng62gTI9HhyYsZxc0d/RPJ30Fs+6RhG9RqPSbsk1EZH470eLcGochv3kZxCOe/P3q3Az6b11pFCG+F7tkKjVnnT0zAr3XRHL2fNw6PNTo/QxhN1twg6Y2Zc2JT/lSGQ4LDoIPd27acFYvSJgoWUWnpJYUxrVlnUP9HAqqxV20GXg/wPOE17LuSnXEJVMz0OLWtNkvKm8C0VlFiMOGGw/nrTJdfQrYplZNP4ACJW600yEu8Zrm6JUBOM35G0DrS5f5c3p8CXYJ96SvWlg7iUea0rGg42S0ESIRoOQ1KnlYq/D3QJDRVOhvQ5Lr4UeSuz6nXb323xxhQjn5KoXMnPYsNdbmdXqxJkWyq09KGQTQGTYsaCDfT/W5MIlotLg6j7HF6f7wJzr2zVMpzMf1E61exaj10kstVg7JSbpRHw252JR5D1z0WTsXHzTrh8HYTbOSVK6l7aFyY/GTyseummptgZefoxqUtoNnfI+OBBcr+EpPSVLFZb7eGxBLf08fttE8raEWiI9V/minoRvuGi/kCedoulxyOUSutV+p5A+VbPUQNYdRWT4et0utf373ZKZgKxAeQgQ4SUVNjSZAc4H5eY42DcsrqCQ2CFa/zUOTCTyC+5of51f4xYpG8imrbWNogLsR7SnYthgwRSzxCz5+iWofkdttfOdJi0LUXmm/wHxQE5hGdyEpj3DAqcaIgg9P2CodKVeWshov28PPLUnqKYgbF7+Q1pBuGlLKkHTWUkRWxPO6P9kNw+zqLrsP4/2t5Ca+e/tGWeRiElhPbWv/SxaPbD4fmlU2rIAVr0qAZ/QPZfcJ1/fzHh03tXrUCaSITVLK1WwGWHAosCXIF3msHpoKKVWcHnhnnmlnrSSAKMashpL9FQmHzkwNSectD3IsFM0imuR16QzpaSy9TSqZR+EA9Gn9YOulrxEIe5s+3Vuj9qx59dpmfxPwqZ+mzrGVmec+/IoUXuv1lVvIUXgwz9IZ2ys6mZOQqSBwQg0dBaKCGTigC3kqFXL8IzU9f/ws2QJ0Hg88c0qGBP0NolAwUKp6gnp0HRPw/hHqOb4a6cw5c+nMYPE2xqAL+t4P7oY5i0/O7povDWTCml0RpHuqToyUpv4SMPqz9W+dzgo3DxLfaNrmPxH5t5iKeQBmWqveCdhxcndGQddI6Tl/W5koJkWi5EJv7eI8GBmQROLDrfn6o359CZESD4XJXPcyXeLPGJSarT9P9+B6RkApbxIHnesRiGNcRjk5nCDkAR7bM2/SC5mo/qpGJrrRMg7pMbRHv8nn6BgbOvA3J/jc1DT+Sn2Z8vzLFiVusZViKYUZ8cBWL+4YnKLZXPIrliMv/u2Ge16Itxn1Es5+3KjaGTnSPD0a+L5h+CRYnOtN6FoFLvOaS2/jU5uFSjC9L9zlwHiXy+5AEIWKaMBD8C+Z2GuDUDWoL1Yx5VdXBQcLCpwafNMKlzC0IwMqH97TV5y8x3xg4Ml8MSGzLJEDoGJeyJHLmvf4yJw2+FYG7Q9zRMBWAtuV0kSwH9KCRoCoxKpEF37avPisbNqO2yItlK1BPQU0UM9Wa1088Xl8VkRAFl7tuzqjOC0I7wRUK8inAo2K4Cig50JA3DiuDF8W+6+pLWFTeaJucjAZnlLtK4+pHFkFO3zDtC9V0E50Nm3Vsz4WonJPCKCVZfwJbqnjQDRyhx5JMgpZxD1ZcvU4rPuttTT9mXZxAcul9fC8yPfWJrfiwJm1/xDzXi+BGHvDwmk+7lHiHSj15mAGHNuDHgbwdZkqcyIuO+AtqYyKNVWvJ9m5CfRjTVTu3YmJWp8FF1OeL3hGBQk06HxO6skEyPBzf+KfJfSz+FNXPne5YQFrZWifQ+fwRXCcXbpmwRW3tRWPPdmCMxQwIyv5/Ap5usQ+U7eAgfbZm0s0TIeq9IAmI7z6Zf0O8BHEEQjmS9Ns8cEahWugIwIPNhNymOJMx+7xv+D5D2QNr0Vr6Xzz9Tswk6xi5KkA0WcxhKe8lx8JKuPColOm3nyJRysINFEPwJutg5uH5rw6Q/Y4mKbVXzD6DdAsRvvvT9Bwc9Lhi+hl3KfHj70ZwCgOh2jRNpAFHy6zah0bemUUoCaK41ZIJ1drpT20n8SbQ1rpqvL7ilQex69mqeFcw69OAMyNqSxpBVBQ51ymX7dbcSvrQsP3nssLRyPTqBp2fzBqWMP6eFSNEi4xkte49AFx7R1HBqlgrw1LiZzpRasC4NOPETa8fEkLb5IgDvski6x7av0hWPf1Lqr4IhjnfzXRc3ezUE80JqJ3FPlr1YsUkTOrzZ5nChn5tOzwadGjBQp7rhhghxS7e8vTOwkqbqL34pi9bos2Vwux7n6lkYDgidQsJEhu9OW+8+D/BP4hQGDo5ZSTcrqv+w93VQ+Xhg51ffrwOafFbXlH+WsBFmKT7/hTe/zGdOiR5UvVU5otW2XtEmmYPKJErIrjL7a+5wXZTsion8JnmWGlM9jbzNomeG+PtV5hk6nCQsYg84B1ivBC+eyvcH33d9UfdAyRXNUS5nUf3qkK0q7zDyIsg4xLyvaD+v/DzyYgHx7gz/ticPM3aGSGRELDDgJUem/qOhIit80ZullXTWoke+xnOD8Qx/O20qY6XQAtcDJ/861lYA7qZ7Dl4/XYvFjtVAP61zvofaQyb5oqkamuGuabqEF+uVcbjOWb3dDpvD+XKPvor521wGrnhksvHbni0d8ZhA6bYf6tb4PpNZtlukJquybzp8Bn0TRlSarWEGEjykOxOt+WFHrVRAPKyajNahGnos5FXcVey4546tiupNRcner+tHf+CKv27n/r7+KkxKeUP4KkpNZTtjHjzhpQsvFZyxXVGthUi5O05PtF+Oc8saolcl1Iq/MytRwwqeCqU6Z49qOqs05LEpGIHnSqm03fUgfOt5LSqXRRCXuCLHyazNC9RwqNPGJqVtYkYzwjKUYJJm0lvxx+GGI6M8f0ZrDZ4Ttsh4oNXPJ6CKZZ/3MOytFPdsljRbWhvPJSpbrqDRcNZ1cn7O9sbojy6dtAp3WsiBodSm0ZmzFs20m8QHFXQxXrccgbDL0Omlkc8MOWr2TnMJkYfmTtABRCXrAEPfYeTfjiEaUeusmAEMIGGwBguf+C/CY8mINTvIQkyPuhJ5nyLJvISgkLhquDwiPXb40RWYzWcXIi6lOYbVCTtRxJ453B+nunhtiz+xiMNvcoClLu6alWqbTpXQUEfysnA3W1TWiIlrKpau7GRimAMbpYCKNQz8TsfNOQPigQMOuQNJkfWURsIH1dh9qrxU2R/zHHyX8SgFcHTI6tSm7rqf5udHeiTnIDeXZPJEUu0qbf9XPtmJGxnQCxUniAVqlRnFNiKdlMniGKtwQa8IYMu5LJH3iNq04GjM14cFmqchjyvCmLLQvFTPLASKIVMzG4zF2/4gw61AbMj4s4IXKZoKJMY3nEiQEh0YnMU1gmyHGCbmOFkRO3O+GalSzfPBw1qsfxg2Lhy9nYiQv25eCbAmo7xoASUVeIPno87oo+PtI8YKYM8k1wIsJxIDl6CxAtn2Kf9aJh9RB8ttOr6LkLi1xinBxi1nNYM/tI+Hm0GHdka68FQJ+48n7l7rxlaz/pIWgO/EX3zNrDvImucSXM0kSVqmvLY42B4qVUpiGHfS/uj/l2b1xfsdF0l9JRZ6SFE1vey409DRsWhp7a1wtBjvrIzYg7OEQ9uNRmd4VR23KM9oA1/lDvaBhCgZvU6tujUOSvUWYSAB61BhuuWupdslZgykEYtIBtdRpRpKrL1xCcYlFZmxRbO5tPT6iNIg4DLtY8asQxJlcf+QFFIgPvlB4jbcCgKeqHQoGg4yk5/8PlE5YXIqbAldsJgAAxZTTDUiQKYz2gOXX8I7QrgexH4o4xttQKvWBPBUAL4+01FM/1fmYAlExzuAw8nuDhvQwsTTBjKbeZ8up5GHigX1jtCHJMK8yWS89IrY3vGyTw3P6lVWMGxB3kt95t29yei28BsgzuTLX/j77XKhquW8QXxBd8AW8GBOjEb8NCelxUXXTse9fPnYs3ir4OnBtSzgT04pQACM2R1pTCea1u4fDrMiXbpnc3cdJtfjEYRxccA+3xGsUbPaT0VXGz/eJ5gjkedWjT2IHkz+MYm06k2Wf/wQgCUCtUj7DhvlRKu4sxIQSXSbgnfGd02h0GjFNZbP53A9pihSGurVL/bTC1MVwWhP1X2gbnGcr+3neREkGBhQK7EjyKrQvbbWyGw4R13eaKlhoe23XXVbXOId/Da2XA/9EVLXqkyvbVehY9yTpOJF0tj2cQLRMjXpUg67UVa/kNx37Na+OpbnZi4ACiqRGD68SQqUfqYcvRV7ubQhvhMxAZ3jDOgCZEfM/stsnCE0BcvHp3Ohz/7a4AUK5xLlXGd//Ii+NVKYFEqr5e5VYZmGUjzS401OP6aAkg87nAO4HNp7Ugd4i5T4sfwndixBLpMmYeSsX3NNGDBk3BsMenCmpZT4HOMJjX2GNOAKU7IZFb8wUp3xo6EnJtCAfTA3Zdwz+Y7s+aKzmNBvIch3KgZxnn+IJ2T+hRFbjzdKYBYhODxTHUz2lUjrpBDGFZYRo0nVUHdOgMmkBodjpOySA74brgYs4dLs7meQLvtys26xbHhGYPaPhq0THHkygV6lbw6w08zZtgLiFqWxXmWfiv+DY4DnEsKFcjc/dA7v1a+p1V2qLW0HsFmtZD8S8kQZIrd4vt9ONb/AGtWbVqVa2mCJ+e4wZZGX8aVwkUK5aZhXnthxcBZP0LPRCupKe7bB3M2DhfmGS25oqwftHhdrTZ3muHTMEg8NvA55KGYOU5Ew95Ce0bD/j6ijkELcjSm1c/jExzedINJUv4D7FGz88Vjg0zI5/l12HscsEJybkDxqQAmpfjsZytQmyRbmAH3li3tXbl/QHdhvVjtrWHOoO/raxSzgENCv1ZW+K9sYKSJImC1wzfi0H1cCl7l3903FhqlBUMo7JeCfX1h6wsfvB8Meyrv2+K02owxtWaCSYC1y+jp+bXJyfb15tTYBXrw/tbu5t781wsyqxfRcrcGthOhmy65T6Yn/1rXESaDxQE37flqpZ/a685gdopKdGTZFaJ9Kq73tHiuoHFAKrx3ekGA5N5HOiycWcJFQ8WOZBlgTj6OjL58cxC0l99Jenk5OQXgg9yN0PQFrW5QzGATRKuyGUlSCS6GCCB8WHDBAXT283Fk1QneHuW2AULxXXLpFwc9n1pFwPnCm9H1rZ0ybzac2IEDX+2sT4QKLnmzgsAALGbAEq+2OY/sNUqJ7B4zDWO6RwkebC79axySPlajK9k6oTiiQuC5JBVxyUHImj3Dj+CbD3mnmo5Gy+NU+p1BUyFP9VNczmCDYXGklN1qOZ4/LgQRsOzkAWeB9Axg9+PzPa1rjrNz4Wn6x5BhB1tjKmQR91fuJNlMr4I7dwwx/NCzkN7kc6Rw/fmBwg+caaVNDHgX6wxD9yej3iIaN/mwYjcB+SNXf4WPK74yzwzg3pqXddm6h/rvuSLpskgafw+gy+J/0B9lO1yJSDCovnO9XEC8tdBYCGaBG9ugRzx2PPMc9Qi0fCPQAXMApLesGuFubo/qDwIb7ZCTIJJAICRKLLb8ZCzIGBxmBgTa0TTuwYhRi1PxI2HiYMClZzc+GBPoLltVh+xvs/Ot8fxEP4sO/Op9ihU+f3qLTJIfj2EdPjIPdfigPcn13Qmw18EFqqpLEVC+8/rTnppHzvtGoTOI6wdtEjtDjGUHS4FCHQW/K/lXnco1K5AUvO2PRJk02lQ8a/7idlNSqgnVDuA3Fwpy/jmdAxieejciBIKrse6ZYEz0hNyiXR/R/sDroGy0BBE6w21xs7eIH49G4U8Lh7ONpPqowPpC9ufcFWkNRj6uVmR/XcW7pVrdR3ZyRcr441hyd291GJ2eNNgollhF/c5lzvsbWQtGXOEE+cGax+rLXteOLd04EjTvsYEasxmO4c/cssbLLjaKC9+Iz6MIS69X/Lb22OgMY7njcGhVm9EeD36ovUkaKyIM2aq0MRmFb7zM4RNESXjL9aduu+cuduZVjY3eKINuu736eQDbNWrnebrDznm4wDWG990P7ejD6pyAdh8oMBM8awyjYwevs48cgQhjcRHTPD8L7/jZP1W6hCKypmwHFW8W+AvE9J0LkquaNw6NtTtWBgJpSg5ihQOvIVqyeckuEFhCMHHKiQk4mjmwBNMrVlrOScqsB8e2Dv+mUYSD0Jo/AXjaQgBI5omxDa1xnDrNzkjMPaAaiapvtRH216mRJyEoiSfVSS5RoXYz6wvre1PzI+uAwwONPqxEXvvEdfd+DdyNDx/AIiKcP8mo7IHizB5m/hBPpHJtfKBm0IqTcw8FSmTvAZBUm8a6QYYNaKc+viyBeF1bMm6+2VGSilMLSMO+BzpqJ0r+Lc34AloL/tkbeCfRIGkdj0t3NJ1mUImCPVMaUM0ST5g22FOZqDLNUtj2IzjXN+50oIgFuMAsjaLRAFHxi07fzinTYhliluqkLltcHBzRDzZSzdvU4ejzGUMerD2PiXhrXYxEu7DQYdmK4QTWAFJRFhZsZlqTz1rpY7JeAqQIkc9e4fZN/dnXCKArHjf4yllmYdSbPx9LaDpwkX8QjgalmLoFER7Z25JFNC+2G8AIGkl8lImEmQ0cS1rF8Gj79JLLoA/uPVpShfG5zaYu2Gh41bn8J6lE/Fwf64XVMiWKG+JktKK22W9e7vQfPLTEwFOYcCFRxNVLaeQxtnaGrgNFC+1KygieM9f4AZQHxWLbGT18SRXSrU6AhYidbm7VtHu8iq9AAhxePqwSImLF4Jh0uNf+NtyZb3t+WcDF6f8NOoZizFAgwQk2ahMPzSikf/sIkokW+kntvwNPPPEnNoMV7tpDI9QD7mjUTuCv4KLKYAZpE4hTNjHe1bwL5Pkh+FJiXX6Wr6o7CESrVb0MySf6WiWu1Hje16neOPMWISiTCija/lua7GK4bVnEVyVqZAa7Jlzlif3axbQjnShJAN+I+QWLLaojuh9/43L4HgHnBdmUD+KGpx99prpZ4zrLzTsUhZaj5CYRIDO6Dq6frotUGNY2WpYdNk/Mthy7rfK+fxpNI4DWgHPEL7XDuuGGve+TXEiMfeNxWotfIm9xstFPWq9Y18oS+VDmS+8Nhu8rNx8G96ggd5P8oweGYqLfF435Uk1Y1AXz89i/e0IzwIZ7vOOQGkCimUA4XnLh/3nlZloss1mwoNXWqwzYW4q7+7gjOKutudOWduBlRxBY63reH5C8ykfR8HLx41j+auxBLil4fLZiwCSZ+PoJj8TJsNVWXBdWDkiJWqsdZEKG8yFogiDggJq3uQsNrxhyXigNbtH4wDbQRPNGppE8TiRIpYEwvkzzA+26gyPdF4ooTHU1hYMzUqo85TSjYBmkkaguUp7e/2Bpc/F0wdbRBK3AsQQVeiNam7rv3t7FI899k5KHVdAcdYuHq36V1PQ2hnQt+7vRSxsvC8Tlz7PitajqJG/GwKPfN6Co3dB+Ds//j2AIargK32B3CkpSZZ/omecwEmVKxoChdKwewHv2C+T6N8dGJM351JaGxnChPpzpT9VVrZXp0eR+VifWs4zmxfJpsQ/Selp6jsWuj3t79q6/tXmaC5K/HlEPNQyrJItHRcdVUEWNIEUKFPCnQZM/bDnzCCv3T5t8SefqjpwxkrHMK4efGGpCFxZxGDRk/tow/wkv1l0KSVW4x8fOUpDpWdSIKPJyuTmuDdsP6NhuP2Ik5T4sRPQ4H74pw3ad0iLOfgOZqYVJYHcjKH/SQ/A1sUCrkCgQ6Cb3gtCcaoCHQFLlnYd7mndEpyzh1Ha7AkDnCZc3r0+titPi2saTuxbmNA+hCFYJMILctV7ExHYygwngmfgarAJiVUlTCaHNKoiA0TuAo9sqxgg+IFk1Q5JXomdB8jPf/XzZI2EGNbMA1MWgmd7gBuridvbSO5C3wDgBVSFzP3cBhsk9cLNlpEBzwiCskN8eCR6mc74hbJAs8J5SGFWBGZ2RE1X20YKbbAStAb5XpND1mL0IRRlQEjhSalfErIQuhxa+4KFrBMkLsTHoQHfZ2toPbLBMcmbZgaz79ioIVRqAu9Hqy10yMTvPXr0fC4jsCpAnlwfa2HfqmBbFPyjECZpRjhlBIRzJtIoSxC0B8ezVrDKfCIk9nTJzciJQTlwO3GRHMVPYp75rDKD61Iche+qxBb3zo+UmspX0+XdYNVJx/ODMhdw16W8lrmD+j8oxScasp1rl0yiFhie8qNziLLa4EjGqvfqHE5RU/n80azDhovMYptRgrqtn27XoIlFcjJxNFpolFSxx6SA3xcukESFMZ7wVMF6JMWVzaDBH/q7F1MzEQUow5xTpFOCyF0p7+bi4vFZraHsFo/B4rOTyazsUGWfeDZ8oo/xFpVoByRBj2h9CQhymeNoXmnh9+1aX5vZ9CrFLlcZn1E7Q7FiY06RJd8aToi852MZaiV87AQm/ILZY+9O7ctALXapNE+1vc4L5oQNJidgir9B0sOZehpfaRm4kWkoN9i26B4hkhml1DdXrni/2ePoqFgPzfc0CGtV9oxYSyp9++CRziZ28kxZRFAaQ8jvP2YsHIucXlpfwrOZiQc41PbeotKF2U35II62n/GP8CpEDAukQePEdzXJo1FmcxCxplXPwLyRj6We1vLMDw/tfFHYoNnDUGeKD1YupeYzM44FNNhVJA1ekUM11sZrKAtClHIGrsupXrbemYKYInLVGiil8Y3vmlPqliH0hs6IcNAzBrA7+4LBDTXdemaGzlrWNygEBzbra+281gl5Ndi6d44VAvapMasKgcDuJclt/hQ0nQzIvFEiGHpiOjlVPDhjGNiZlGQWse13i+Dop5potNehbzbFpkh/4wtzAgkjsCyajb6XPNXGVPaE0sSEm3gPdBy4r2z4RC9TarCyh7gEtCcjEnEhuJXQYvHi3AFJp/Mw4MIsJZvaXKjeo98x6XdFxY49MwYvjqGRfw0tlpHTfDgKnZL03DH6eKIBJntNwheqfJMXYCteR8m4YJIFDil1X3Q9eYo60jYrnWujv2lvj0bdgPU6UaMfrLagaqADWWlmy/9rcy1SfkW33FQZlqzIuIimBkE3qCJQ3odb77gQ5VJ+rffAAflqYkWE3xzT3GlYEmmAIg/cBh8AivKSb9ECXBUTDoZdvzF+1OVDPeMqREO9DrgVoQm4nXfRDYuAYUpM9T6b9XY20lDsLaFKzZktLbDFwWcv4bH68BTpbcMqepvUuqP2UsA/4tMaqg8r2O72AB238/ikFYJBUu/j6BFzMDL0Ts1B6TJSBW3sFCO2SXdd3SXSAbMdftq9WFg/OwalWXhFU4+YCvCmPw+mKALKXuDHuER4E7XBYHZaXbq0QSRs27+5cc9cnFHpRMvb80ByRv5ts7pYzHuOvZL8z440DtZC9QMzzY1950UaQzQ08ASlAvnidJKi/k1kvSPz4t0VuWXLnfEQBJvy8R+dCz9C+kcJA8GuskijIRZgP21SEb2ywToym7pUwghJ/Vv9Mryhwx3Kkv+tlf7I/EYNkWWD983/VDXC/J0YP5Tl9Gf+z5zyK7e+sTPXvz9yLt2L5yNoyk8jLLkdrISVyuDdoovG0jS5u4QeJtDEJcUxl7XWhaoYZeTmZn4UB9Fpm1UJ2PXNSQhWrjVBgohe+DGsoQSQpjt1SeQKYiSCY6ZDJlCrl6BTU4/4Oub3EIYv4jWdxJN+x3xQF6PTcF1fhnsrguX0Je2qqdPipepvGAfBTb4vSjiadumbVAvl/XDh2NCZLXce1niOla86sZrCXRhhUHu+PaiAXV6uQ2YCNxx33hmqqoHsKsBNAaHaG1PmDS1QZ6r+HIVjg+baF7sgAk5hee6hrcY8YDd2V+1gwhxLEqh4B2z/wFOoKhldJPVZAI8E6JBhUjsPK6WWzr5cYuBl5qD0tHMQN7L8LE5exvajfwXlORTq1HVV9sFUbwCN27qy3BE3B6zLhrrjGDDsoolcjU4K2gTtj4NS34unrUbd5AMp6FFSmRyGHoFnR5gnppt+gwiiQeZ5TwNENUxgNrqE0lIsb584VhVcdyXD77/gSyPKq6kjYm05RDj64t77jpvGhZAsZpV6XggKkvXpbtra250IzZQLyfUMVkOgfy41gz8SL2cfw0dZzGsRZFbvlnLFSbcNw9J0osKQX7QkXvfKMJZqX9958TmNXA06eTc5mt4g875IokJJ5CoGBfgF+N5dyQbCX2Ey/FLVzBC1MUTwqLTH5MAR94tMnxG/6B12KibzUfZJFCTA83EN9USEIANtU5a/n6Ta0J0PfhhqbeFmhfRCzQk2keax11B3bfmFD2H81j9GdewF9jFO4cJEDxWqJM72ALXmOlMMc73ygjwNGHvAMVWqqHUiDswxCh+gqJAowSJfSuQubQt5ztIcRZCSOlKzfjsWdy9mSHmiJWu6pX0r/oMASShk8fxeuhdFCZqUoc3kGxWwOwqnxIO3y2hjG7ACM5WsMfB6uhKph9ZUbB8dOq6ocKKWKc9Oam6yo5/rJqPNVA53fgbfsqCsbKnoCIX8q0uervD0DBmhUCv+Ru4PzQzuu/Kgz2rRpJXoQ4WDeHZj9bLLMdMtgGuwf0SzOEF1FVVj/Ahdn8lbdS+HQkdF9qQqW0zPareSvmaxJ2s5RxsxSBMMhNxWEBo5sWO8btURAh6U/DoQAmdB8RRaX3lxuGUd3AC6Fnkq8hqZNp5h6dwh0/ANoMTz8I32mK5UI/4CewN0uDWC+QXr+UUcACAAerZcv35jVnxqUNiJZlaFbpewMH1hgtBwc9WIqY4hYh6c650HT5vN18OQlGI6ni9qidB/VZVUb+2kN/FW0oYJGsj2G3OqZl7zVF1rOq43CH9Bmbq4XOKBa/q5j5noPfGzDZAb1KMpB4yQZa0U2+1NwYAC0VV+1VPpLOzD8wEwwN0XILqqih2TWu0+lUCBhK7iakbmtk1PiRF5H8F9ClL/feHFQe32mYIkTIXaseHh9z4213yC484qpX7+qV7DkAzBumPPHcjOeVpEj6k9/nNRAM/JhhaMjji0CXrjIcd81FE0jK/pIrW5ftHm1zjdneZrhUSfcdBi9tuDJMA1OlecZ6e2dCl+FzyNkIntdOAfUHWOrkqobmyRDra51/plHxX4tapSDeFoF1rcReDebkgGWHy/hDNy4YrmXLoTQHRLs3iccnChdyvNkoNiuqbZ/adkvKmgpv4g2h9MAnjLDsBrsGK1nQJ29g5QBRSsBHa6nQG0NZyjVIyaXOJFG0LvF6bnIEaSDTS1HhMQ27Qlxs3nfKAmfxdFEmN5Q19WjHI0AKPVdPfYB5Jgywbqf93QUcjcOuFDS/tGrC7d/yD2i3fVhkH5hiRK7BzGR319F2pG1/oCTTcZ1vyUpeg28fBpzAuegLNtYAkCsTUzywe9QJmWqeQxXGxPM6/62QeonaUV3hgWA8n+nlrnMrQiLvfkwyIXcsdR9dXNNv/wonuCAl8qw2u4UKNszoAcEzucwWeh8gVlLCOIqz4E1ouCrdBnUEtk8jv/E2LwelTtWgrxWUEcJ6h3l0lIJC1jAuZf0++F43qF79FstRbIbSZICHTDRuEl0jUiPDLyjCya8QRH9E/Ixe5Ta4zDYmWpQlz4OyKbaKvy6E+wsVvIIctggJYlqI+8hHIl5pJLIM91zaqZO8nYt/K4Q3YA4/2UL83ij19gUkg+/utBxuRNX5pfcCPR0sgIO5Oo9OjcnQWwZTxAqhq3gn/orwQWH4daQRibVvyQb9kDv7RhXSTYLWiOCb3ghpcE9fXlBZ5d64BG0iGHRcUy9j6PL0h0Dw0H7Qf1xwliZ3bTde0cD3UFBcJx7AXMkhMw4rLRxpemCR5KvW9IAtvQX3xiZUJ1P05WIF/AlzByJVTTUY0FmE5Gaj0/wiPpUvXlMZpznbUdHMonaSvCtO65RpYSBuYgTMdoN2wnveJ8kn84AEQqWQ68IimF8PjOFt54rG0E6L6g8W47+fgsfJRGdvZazCkknT56FaN/0nIn/7dECUk/SnTKCrkkx7S/c7zEHkM3j5zasreSxL529xp/4rhhqKvLIyW104MTcRX304eJ76YGRd6+tHR84uUOALJP7IROqd83+sZdlQtQMOIBQdRDSSWQlpXxf++4oKcA6eIps+LSCPAUHLMioLj+R8VwJnzJuV5kaDDufg7kRa/p0kCAcciy26ijVSd0hUz/Dtgl7dkDdxU3tkAqbXnkHyCKOISLFPcWHVLUzk1eW3qYqhJversyjU/8iBoh+/SvldRN1HGe7wf5RdMVLAJkYDQDxmfzqOCCkQrBteox5/VjhSFxmjlbLjMN8EhjCe0k27lkDukk5YWk7DTm3OaXuwsQgYaRdsOYQ8eDxrrQC2K7GoiHSnjyBiU4ewqkQ9pA/A/NjVeCDF8Q500c67kZOxRbD8GHERUkskztbKKifIAxal7yOetpb/C0LtPYS2+eUGIK9juF4/fyuJtSLjUw3kC6Csqks9+l5pirdDziFUy40i3BoJ32mO6gE6HFElRqHh5DXhTHmrzMDBZ5miMYXRdNakHf6KMxOy+BpD1prE/NFgCg41VPcpENjNS1/3RDRo1j5wgQGDIF95hQzKKY1PA3ICdnJ22g8vn6wF1CJN6pGq1FPI6RdS0Y07TTYpX66QNE1r5lWxyceFHxTNYq/4aIQQuRQDimDdXF1rmObxB1+REjwbKiuqjgL4GImELX2/7HpyXS/1hUAzEXAzYwgNbCbnjtrNiIqjt5Bwv6x3eEddHNYEgQTr8EN+fwD24KnjuPzB87mXRtSrSQnOg6npLOMeTCxOpcnPfyKdqz5DxY3/Jj9dBPwMJ6zkPi4OW24e82rYU0vReFLEZLcrszF3M7tjZiYj1PuI7mxWP62yGD2E+ncs9kOlZrVrXdioWe7Ey1KvQo0qqywa80KdqmuCWXJ1af4YKlXCmgwsDnHDmed1/0F57Vni/6/pcfkifVEr2ZN7MaIF9oPvMDlWtljJ1J6YzN348BAJAvKPP6MAsyixRSz/sUX6irYijt232HS8N9CA9/GcP5hLbH06AKieEJumwQutLIU16k7GGY0jR4dZcO0wFCdWwJQAlXfMavmo98+kJ0pJW9Ibz+LE39f6QolQlc2YInybDECkSfwcWzGkdUAMghhxz6xuQcBiO1pFMhcaYsInM32whp1dsxMy/xd6p8LNFZtm/6Z+NjhMWOSREHlIHHHCUi5s9pCUTqTR0W4JWZo57h4tmG8JXTkRGwFfIQ2W0url5cr4/E2RTiu6/vq/HdtouALzJo5dxSQPp7FgStTAfiKHx0L5om09Os6pNftBtUlV2owGoqb5VDYL6RZopSIE+9hcCF4EjkWgF9ar+d3SjrZtuqr85tTrlnK1zJArNr0567ZtedFeh/YSIfnDWrx7iZX71JObcXAgPLPp5vmdAc18zzNP1DB/FjcdOgxWr9TUob/tt+YPqHuL7DYQezOOmCUlZPwG0ajjdHDNO977E+S5+1DfU2QZKPdIzJ7yrZK8GDHqtOqEsuKGfSHYu64TezHd2o0rQSUXjaVBWSQrSnParYVfj/TK1fjxO+4vRFnXHB0hBUgKNE6oyA1dFpcrnH5M3/J3Exjmre8Aj4/xwGqS9dfoVFQ2tR9ulvIi1FmNONcECKECOacVWYXFeoDWTFKjFy/r4glzlvNPDvmiw1qQMktXwCuEsRNVXHOHHUfaBK8BVPlw9KdyezBGAHDxMJFQaH9ZJ5f8AqxCLNuOiRMFqy6IjPIqvXOMKnthVLoVtK1YzAwNdkHc21xFXcr+obpgUF9M3mj8r6b7dejP2BN+wr3w144KUEAqVMHHEhsS5VNE+UKRJppVqVBs8ii9J7wbTlErdfOCqpi/lUuCL8WvGlsejFJk/T3pNprmW6wxDPnY0A9umQZlFeubU/SvNmjUZbmlfIZm1UpIO0rNktMA/HByiTQPnsD73KN98feLUsoVZpeaMIK5/R6bU/N59cm2VnqUBX1C7MYKTzBr4epywjzrJoEYvBDotpciDPiOG4a/flx4FxHIYd1vo8xwoLpJ7UwoLqpWq8vrzhVL0bbQ+cC8HIsOicxZX3KeD+svjizI1ulDmuqpA2Dc4BVNNU/T9Iw+/Ep2DE8BUwIGtrmjudsDIWzjOEwGkEhhlOit0+egmmJsPmgDOGcu+5RYQ3zsTpkLO2jGWXrR1KamFKYdc+ttvyYTZ8lEDyKiOwgfTs/bkgpwjXcGKn47i9fSBBT2PnWTfnvEjI9bpRlNe/sWI6miNPIivIL6rMTn1zEEqF3waIP3a+oP1vobAEQ5aL6qqWuemKgnO2kuqbuMeAhuw9wGBXDVaVaanUtfq75BNADOqTUivGY6QNPS1/VF7XMEG3kLPLVVX4hM+WOkkIuJG8nqjV1tocNsBKwdcdj/6gaHZoK2p4n6BKoFjgXuALlYOnVvsqauMIq4oqr2X3QRR9K2I5RXNqcZWodT31JUxdM5pDeL722IpoP5kYO3sxlVyiirczMH2EqUQZadPBJAEjkwx8fLfbXdJKhwwOd534siTg+JSbSzKUf1cNGN6nAAWWWySYwpML4uafiSMQO6+iFdyhgmBGIALMacQjWpAnKH5DWn4S8k7RJJ5poBNTzG2KdArgInXN644ciweX5MvTF6RJnq7Jal2DHl4ZGpM4oEpRcbTpODDmLBUoBBSWz3zQ4CuGWrhw3AIkpaIGKo2JFnzyQs/ii3pW5yuT3WoCBi/Wrjl+wDu3xdcdsw1ohw+ssUvf8jc5+Xy/ndS0OrqXa+VvugncxRtkcvYS90YA/AtE98maW1VSFy3MYzh+PZVSQbtDLL1gTba1pKGcnYxsycnrRNjreGXFpE39GgvjG8ofuEUQxnYcFMqQArEJ0iMlkzJrctbeG1QZOSEhn9nyV0BqF3b5R+y6srLryPHIcVUkaYEc/V+XozsL8iWovpCPhq4FXpnvKO3q12PLHlcNsLcKq5xvqkvcyjIaYTBI8WQdli0tT0rEF7Tds+As4/zRj1S8DRvEScwuR7UxrrzJzBBlGQXD5VRdugtZ+MV24NtumOrcJmmU7C4qDVLoOCvt+lgR5yY46xio5WkTBxVWd5AzaDfaP3FU4QfkV+GxAmScgqDDM8x8lfdfsCnP0WJcm7IFZjgRKoS0KdNbS8nix4B39s7KtG8xCF2mLpXbbcTsZCSRLQyG9x20XL+IhevE3/jTy7MqodNxfDDoqAY5pEpFl5OVbECc8L8IqOcsLLhI8xSz5CRTF2jskc3p8BYzWlgsA3ozdj07fySOZQnYQFPOWd12UQVj6I1VWWfuDJqKuA6xcET9slyqOzebqNWIiSVZjoq+73YAzJ1cUyuRuzNCs3bteIqZiBzef2iprd8fWShkEfs6HCzT9J0NsEqcCVxlitF3aWc9b7EivCnq8Ye1VCkpN/1Oz5B9ilKyZtWF+V6OQ0aMUvMtPUErqyj9FxrgCe4XPk2rFkEWIaFXsatizDFjafCErNFzw+0Lcx8mkHEIobfHuxDwpzqwYbs1lTkxVVg/z6wN7878+TQkasurxQJPGxjM7uGBXVMuzFwwi2bpMFC/yE7bnQ7H/sZ7XZTRGxk23ktMZh3CXnRUVDOffuw9aYuea+1+rEG90A1FixnMSgX/Rl+3FuJKOTl1xD0sSexDxnOxLm8S6mymEhdqq5hgyISFBjN+LWoMTczVfP17iJLp2D0ONVU84IIrLCNhgky9Eet8cs3yOvtAx3KVqoie+VCdCYIYyKzxoRmFESlAJcPXKXp7zTCW+8fWT9v+6rmU3hcqmspJlNispW/ecTvr0EKtrriGOA6zCuv3fdpK9aAT/ARcLcCZFNJ9OmT7Up26lAJtxkrp104hv8gZIWyfsdSDa+Rw/3u8tN7iIvPU2StHSKix8jqSX0nDdJs9lY0k0zL5TqIR3wrC10cCaJ3rCvdO+svQbrm/j3fzvYtfc0IdfV1WnlWaGDSeHRC+jLzEnoEMMGOOTs92W+gl7fD51VYuLH+r5pFPSWRcc6yaW1cX9krCWirLjGARZjESH0M5cRDDMxk45PXEL/mok29KwsUPlMOPFaEgdyXmOSd03ydGf1lPrUAWPS7YyLMMXlUda9FMwiMhIBUdDmpcjyiUnxMviUj6Ocsyme+N68Bd6EY64RRYlo9uWwffWn06185eij5RxYLZKT58G2Ka1nG4WJJwoxZlQoPd3+/FXj3digI22LXrgsvTcqKOJ7x4nYCl/xEAyGL6tZHAopQCpIsd4rX2Db+F2m6z68h50e3G6hox8WAgAftASYi9ICLOw49s4q8ZxFGQ/oGvJACUflzZMlkFyiDTdKsttvteIrVdnZ1qFkZITSt/JqMauxleEJUHg6QznCQmpeDg0yOv/lNuN+e6vNNDpSda5JLwxZS1w71sDFjAC/Vx2f+JwmDd1w3TIzJpFPEIe+i1Lv+1tFWAQ/5DHdmiOk4c6waPm+oxu41nAm4wZPWkxWj6YK0QFKaV4/AtxzLLGap8KDCkoyonaLCyl6Y5UxcvtFNd04astpTxwV1WmFAtJi725PK0UMbEp/IGFbE7ujB3plK5+JB/KIk2gmd42DNYMisrwI7soDO3Rp/K0UBX55yp+OYa/sI17wPlK1YJlEESk3+cAmR9I8EeVStA8D7iiMuFxe/0ZPgHYpsV/ZBfYNneR2AFCLtkI5/4vwoJj8swjmrmePY5s2DVT+2NJkwIgVxYtgHjhJtunOvzdNSyzsvmj8sUo1ofJ1qERzVHbgjt/y+LBgMlPO5Yojbx6Y7PN4bSbZ1iw76L1PJVEfZbcbvoy12fRxErFR7vSg6iS7FR8QutwbgVaiUZs1sTdTMIhFkCbOXRwLNw9fORmrH49z6EZc0OJypctkSfCCkri6AJlO6KAf5dKTclNJHXmLvANG/msxRby80Wd9mXy5VTsdiqmgHz4JLpIie1CGiNK8FYhNRSWDlr9Y6dYBV3PiNCGBJXtmBmX0H/gL/ZQz3HY+QOc3fLAq/GlD7wG2hKvq1PRgVbQGZRjL8G3CvTrI1t2+8ChlCjMuJ1nDriCbhe33sHzIZwwHUKONOFJiEPSZ8p2GM+jKwHgA1FCjRbCjWoT6mgfEfAzcsxIuvSrsOp+1NUZ/V+FcdgxFKS3Dc/LFboDe4rQ8ptUW+878TeLFq0l5vW+gX7vfVZTdNNCVi2Yy+/EmCDMI9pSewx0nh23ekgjzMNfrAX5kqwZzjyBYtz42UyJXu1bmLk2jRDFOYE3fD3Rjz5TqPaq50bn4wgwQlQwEAj7NI3Nz/xNdWvQlTKdROfHjUG6eVkODm9yEOIhX0wG5E/tvcX0sfKxJTMpIyBUrxqBgMYul7qB7PYsNsGPCcjku8Tr07BfOpblTiDIZVw18LPzNOhZ8eF5RzxGpuPvRc5u5hU3w5cQB9NLkfTDrAdlEqiv1sEa6FpyRlpscpQd1czQScO8vySIIw5vp0WxILfTa+LJPaaqImak4+ndqXi3t2v9QurMq/YSjz0J4wyvKUKQDTsCehyKu0x5+7b+qu2NcCQKGiqfGhJx5E/F23ZeEOVuCsXOEJ2pM3ijJKfpBOPjatXDoGYnLfYrcucJQMUlzEjeIiOQFlwPWG1PbypwJZPs0MZ5dSTWQJXlAa0S2A51ATP2vmh6Zao2YQc1/BdvEXSNQVCAt9nJaT/QhQyMFVkoCZ+FsAGbIcaFCXVJiF8F6r4Spn5xIgBe75kLlneiDVtnHgvIgWg93G836KINZqrjw4O4WwJiGQ+Zjtx1bSJLLic+G3Sx+/xSYUR0CA6W+BGa1zW2fToCAlPFl2ianusp5dBX/NpW63PaOp7JzTPi0SRUh/xcHmRN0RfBkdeRBpWBXNU786unN3xMLeI25RMCo/mReG6oYnXSbzzZkpHURa1mYcqlB4dCyP+Tujt3jjnN8dCnJsRC3Kqx+b3OWAwCMb/6+1nh3yot+Cl8PqtY6Ad/HLM427KMlufTZn08N7JDn6LllERlqM/j6aoJAaxJqQQI9Oj52opqqE8ZXXh+db8m6hnZ1qQCaRY/61zKNSBt+UkZgo1GUhmLMQOGi54t7I7jXhwA/SyAh72HN1iBfJa2dld0MrPew90aZ6/9pAFQd3mTpE9w9YluCywSadwSK9x+WiHqfnQIFZAP8G4TdUDfGpb77RBYMIn3Boz5dhXlkx9FjaWsAw2UjFOP6yltLRiLuyRX2NZzCYFJGel2B1fjl3+90V8/OB+F5F7LNcIYvldqgtgRbafATVOKh+p5T1SK1tIaHkPSpqIXyCWtnys+u2X6uKEmrGKfbraBoD8ISdXC0+eNCFixV3f5UEwZ2CrvB+wntravObUdpjPd0Xlholzcx2ACSzkU1uZPE3juBERAYspLhhONQZbCKbsSBxDx6rQY8qX+BGVV1abeYHIlCsc0+qT8foq6alD6UzqalB4+SgnVgK+L+brbAmIqXsKkC/4pdZLGacGTecDJ+HHYbCp4r8nUImZ5hyNH1V0PuhyMjHskNJgC3RhwuYNYqL8uFCN2E0vzWyuHFGJMGz3ZVAYHifmkELkOX9GuRkC4KFjqYqw91u0gwns/KYAeAI7ovEeu+Umm9Dh3rAH04c/sxJofFkBK8nKBdPBmOUxBmrdgKWo5fVCmKW3IPJZhFcz/UaESKc3vT7qgjuLLiEHLQ6Oj8jpBp+Ej7VAcBof6AVDmHxM+e9lKoA+sikNF86wWgRh5A/t2c9BU9XL5nSrn9E6zvCKwLKHjNqS93lvNESYrfHFL2AvXeAbBbTS1SGFvUnRL310eble5lN3P167mzO/kC2RCpo2WZxS7pvOihVTA7d4jD2DkR7QgFVCaRZgqNCMYxXw/PoZrVtNuQRjfCwHLzAIkuTpliXmzUjd7gvXRXCpn3/bZUcTFaPylwxMoqXEmhfEV+0fzxk+Mc8u1vYKvV+r7RGue1AQXcgFX583Kc92AeZDgB9aV6wG3jVL4nMQKO9TC9jTp54ldIz3KwWZlZG7IkwS/4Hg52Ul4ChfVsoysqA6pCM8Hee15AalO+D8YhUERW8uxmVeGUKf4S9I3OOL5Zbvkii2EZCMlMJRHRATL27MQTce0grW/TXRNy0SIV7q8HQkXApLqVX96L59nF88tn+KzPbEkUd3SLMpdrMZ9sfkru93GyV7bodleeNLVwTltgp4pUVFNGJjSdNbGeNEooY8WUIrCmDMhabEZl4mD3f/9LfcHYuUu8D88gOfgdbiBC8OezzYsqa5wIz6A2Liv/pD8h+mnK89dKhMur4u1L5v5242lskp9URnP19OkhPX/Zpec48FxCrkK1DqZXs2Uq+ZWKNpwjMQlmwYRyRRBUdz6eM71sx1l78eYbLHnPdMaaay6ZFLakKmBNxQXB0Z/8+VMmXCgQDynv/+YDi4KrzQsHtNpFUO3lt+Y0zycAm821ePU0A0SKpq9vTVueWSJBszLnmtzMLvOtp3r0WbZIMvo+kUBWY9hDRcj27YQUJRXW8xH2+rxfxEk4H9e/CpXnDP05dwvNPEZ6xNCihcBa1OcNN2bPvCaVAH4s3dpauAOJDeSv9Zx42NCj7Q8tWfDiSe40FcGSbmvN/PjQaNqstzFBcvwK2nZMsbdns8YQLj6fHg4/qVYBU9Wc8++HpkvEdqyePaBNXyE8KgI495iTaR0wSKMrP4IV5ExrGEztYlvUeQyAOjYpvQzV6jSp3rETzppu6MpvgjWGKLo6UqsK+Y7KSon388iFJzhJpr2tU8j65uJ7qjHMvuITm7043wX/x+NssnHwE/icGbpG3N9BKejxt2YnuIOVnjeVPhbMNwkO8Jcq0iy+slHNWtTaX10V01Lqyk1pn2y2LAsOY/qu9pvqm7CMBFXv0y9Y9Kidfeb3nfnfcT+MMOK1iJt7qSsKTuW/EQ+t+ykHQYZr2Cn2zEljBlNWbPYRfcbKi50w+XMdnsNUtqwYjAcmHBwyv26nx+A9ySG/39xKG18QsrPw7mDLoRM8FeZKf8BkO+49IyAxF+0nfaWxZFlmX82SEdH/8KxE0BaD/sU1QTVLEW/xeCyoCrecF+CeVGMsW1QgUB4qfihd5B4/LXsXzP7Zz5040TZtLLyNyHUZyRaoPlMssMCbx3StqmSjSi3l9dFY+xPKD8Ry6lsW4GP3M5uU1rEKTjiSzC2LsGsTn1WuU89X0Rm1UFFWuo5ZJOKWEy3T6rjXfb3fhH4hPiVDPdth+Qu+1qRlPLgWiNIoKmDhCH9w+YMYRlXhBu/gHLjnAkG2ZY9hLD+BnCwM5UegTRhXndxZnOnouKdjJ4BPY8xj+NPWZAN/7+6FTnbSC2OeKLTzXiswAaYbZdr7rBfrcGxmdwgto6o0A2+ZxuWBgFMWqvi9W3q3tSJf9fzUTkn9xTEQXQSWo99/xCPf0L/IBct5IRmLTWFRhU/A3MTJTI6ygruAPejo/FON1bsZNt5V11MpL+rUMW3RPp7N4x0FgeVCpKTH8Ti3yaIvpdtl2bOYmVioaXoNc6ANyOTaIusdAc3loL9njGQwCJEXYHeGzrzSv2SvAVpc7prWNXxKON2SV1Xl/9EnLhWpJ0zKB0GQugRmTVjx4Nkix099F5JEcGUcSyUW1L7doauLz0Kt+Sad5/hCL6cgSAxuP9VTAUZ952G38ZPFk2cZslYjf0QGpKLFgTK+4AYBXmIqQ/MxYdJbLtsZCn3nww/Y8Zh0nivym/lDlyYnRH+4fJa3c/dsKFqktbr+zSVqCR/sYNiRJBvo5Is2+iLnDbsZEDu1mYTtp0mm703wY7aI8bBkmjY2hw4Ofw0bJ9Uhc79FR/+4uiEPmyIiUxol6pAWJEPH9a+dF0cEaee26tUuVy4wXgN156Xg+mwdaO1sDfVvAgN3CZLkrUI/nboFlMbi5TkOKfxuujwAp053lW8/m4/GPghVXJ9M9yIzHdAxTwmdKMGcwFf5kL8O9EoXPK1JXOrsGNsKvv/vnDQQuTZq14ZnID0g5LkSRjmuN0lUFjxjsVesl40Yl8h2uTGpmnkfp26KS/mNvGwjadYSUa+8zlrafboCfKM0sHkm/AQba5pUxnNh3ep1qbBiptv6+3BYYkPgBVrxxITGRSW2EYkc0JAwW/Lpat3hcThmzDDeM0bJZCfPZN3iNdEDdUitN+ADqy+Z7NgJAId4HbLfvOXkiY9R1PYOR8yAzOyhXNuee6OYB4mry16EZgkhQ/ix0cLK5RVlCznu6XVk1RWcVozKx05V/J2fKUgEt+qR/FgpZL/n8nrdLWBBBZE4jLhhX1oP43VWYyeRGmwTbrb53nzPTbYo6EqiA35oyx7PqJD2+fxN+u233vomCWmKoGyln2so/L68buPt++Nnnd8VEdSe7eY/avEdrjkA2ktbSytlxEMvlqTJK99DcWwZoz9vmPfbF8oQw9JZV/fydEwKc53UGLG5FVh76ig22CsHZtd3fstN6ncrDn4KgEobM0A3l05DESiA+hVtCZQuOhE2q8XM4mCTsjpUi7/JEJ8wNknV5roHWQfp1lVnQgj029axXmXmn7ixaTfsq0ZWtD0ffi1RoJP4vR0L0z2h/QNLtGtRAuGxOoHX7NvwPQP3BSbKBGKhGQ3aGyt6sg8FR7nrlCwyDWwL46VtnbfaF7eHCFIwQiVvHkuLSpXWrb5dSOMFKGHLtD2EEIpmlt168qk/N2j70yeayVijN15GTlsrGYkHj/chDjaLQGX15alPGQM3a+KipcFSXE20rQ+4Odp4ES2Jg+pDFJ0OBsAtc/Vnaod8wV1FofqP/h+T+bMt51CSmP6/cxh/dxUWx6O/ze42BQ1tERK02avwJPm+mszKZExAxjGLJTrsOHeYI8ax2TXcCTN9yXjVGKNcQMXg+aIXZTscQ8mBCEhv8eNkUnZuIOaitS1MdzvbYuq/p95ZjjQGbJCoMgCfpA1mthhcrkwEu78yK6WX1IDqqS977B0M+yPYhR6+PGpPF+FxHg9WTcGs7I18TLGmh59Q6GRY5QJfgmpXnH9wqk1sObml/Q+x429dmqE+ppWjTPs3kW5k+R59N3w9tTLRIMYy4laR0VnOcoWHf18PYMPeVTLp0joNCI6D9bjOizXmTKKQBPmkHxlcmjCiMm5ZfHKMHNb0hEvvK+Z1FUiN7y3RTvYKP9WgVrbtEBN/lPb9kX/KrRcSKTQx0jhl/URzbL+/bR+P+RJmdZPHbZklz3Cq85J0gK6KoMyK33c2UT4YzLJQCxAMw5aL2rn/yyvE5ZiKGw1gDJtN9UGgiFU2YDSydrVq+kBW04Doaa4S4USJUJXryy5T6i2CzuoL2/QEGp1/YWLoIdXSa4ls+baEuXANYC7q+S/rnlHVTeBdUXAo6Otyf4hTj9feCGNKJsoeFtyCmHo4P1V7t3Q8GsSXiE1Sr8n1lSvPxvgNPNbmf4EWngyoGNpAdzTUiZuY9ITxl+PtPUiDvCoN6dyyz82/J0xUke/zFtXZyQvAWaVMvLjO1vPetVPX4MwyiLdbxQ+0DHQP9ILQsJlqgmsH0yCUQnhQCsY1Qy3ozjYK4drBJbaHZDp7yWicRHqF0PiNmBbCXYfMaXiEons0XwhIYdjfx+RU2dGXFthmjZLEZRGg1SU+2Ez0J2BTz0qeNBn7hJXFdU8Mz4RY+LNlZpZOEGPM7MqdfsRsoUWurwwXSEFKAFzmsDDAnNJjMz56qCZc+2x8tD4kV4HTmi9k3jUeCjzTN2BqWUGe7QPhJLt3KYSnec8Xvh3GyAooZBe9D3KWZl8ec9VVyeZGeO41SVEmA2orVg/2XEmEr3l6M58xqoOMGmxygsAP6pfOK0BhDxuJ3XCXNTlZXQ6n7rGF8Pe4OurC4esDAwR4wxp7h6gLhmNqccT4WfhJpt00RcCeorNRMTzYLyUGKy4341xu3e8ehHQoi+8I0BvA66Wa4FrzlwEKzrt545G10i7ZB+ySNEzrV01igtzrous1uZUZfrPLRaxqMBMEUVe0T6ZLEC8q/wEzAyd0Yt2xvWix3v18CAvByFTxH968txO13X89LT5+oTZTXtJD7GxNUBdpONyrtaMvwn1hpAk11Pjp4NZ1L6F8HJymMmWax+GCTOsoZRwbBjeWIBXyvlKrv9jflJerhusoanJo/MRY2zL5R3Gh73HHN6FhJJnvNPSt7BmVK2U0ZlV/VF0l4OzbEZdkpx/PPjfcD4MSXvoHRzvr+rfbLdLkcuHhqnS4DH7w5vpARg3FOhDiC+8xEgq7AHJm6B4APHeuyv+KTcnrmVSrk5tsYcuJnZsj+mV7Q0598E2U2GWut6XtSv0DiJUS7Ucp6Ayw+Q7OHrr86CyUNyhqT3T9ma1qRBeDvS2Fbr/CfAlUnFNHnNjESo1AhqwqZfuxKDpa2Ko47khggHBX4VPObDL9WAI/bRdsB5sFl9W+KCqEwQSktgstuxmqXhfIUIdmRS0pVjmHAI8L5AaD7Rh/hdeiijsCLVr5PbbOCsziVrZmP/plHo+zS+AQ42winuu+hAnWft7A4xBbNm0GqA/FZg+OSx8R0NXqwJKPcNhXP4fHrFoiDa2wPIb4y398+aqDbBL+R01OUPHr4kfIadeVHMSqNUAzIrQJPq8Vy4xpDm1HKgj9T/kT1qQReOJ3vTH0Ce2IHLebtqIvQo+XIZPBdAd3fPTWCoWzxXNrOsRieLAy7YLkESq1QnqDVX3Pv02Gy/3gV1ymKCYov2qMuovZf8vy++yzN3r/jHdE/vl80oGBmSA2lXWIG573occhQNJCnAVVULyTxYdvI3Ql6DZAWqpXgsSR1H34fUadogZbpN2f/afLUR/LeYfgjvrjwDSD0CfgX2v4ZtFR/fIENiv6owdPSqct61bTKd7sayOxP0Q+pJLg5Dz/FrUvsMGzHbYqaxBOWHWq3ulsh2OKxGcxmyao8+5g8mmCOT/tcaieeLd+aFBjNgyZRP7twoZVTI1cZ/NUwADiU+lG5S8kpFVXzTRY03WYMA5rFVnQh3vi1Xv45ta3wsNV552H5Lgrf/sN12CiNpeBAQvJlUrOGrZcCDd1PdJUIeC1qk5NQ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40691" y="1253002"/>
            <a:ext cx="11510618" cy="5122665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3167" tIns="33167" rIns="33167" bIns="33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59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1B505D-E1FF-9CB9-A68D-C2F76A002FB1}"/>
              </a:ext>
            </a:extLst>
          </p:cNvPr>
          <p:cNvSpPr/>
          <p:nvPr/>
        </p:nvSpPr>
        <p:spPr bwMode="gray">
          <a:xfrm>
            <a:off x="1298446" y="5484702"/>
            <a:ext cx="782757" cy="199067"/>
          </a:xfrm>
          <a:prstGeom prst="rect">
            <a:avLst/>
          </a:prstGeom>
          <a:solidFill>
            <a:srgbClr val="CC000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rget has relatively higher average compensation for both Mid-Senior and Junior level roles compared to most peers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189893" y="12058"/>
            <a:ext cx="8440615" cy="83639"/>
          </a:xfrm>
          <a:prstGeom prst="rect">
            <a:avLst/>
          </a:prstGeom>
          <a:noFill/>
        </p:spPr>
        <p:txBody>
          <a:bodyPr vert="horz" wrap="square" lIns="34180" tIns="34180" rIns="34180" bIns="34180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8_84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3450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720670007209267 columns_1_132463677118132399 11_1_131720674872631816 45_1_132463568791896469 24_1_132463880036933736 27_1_132463880036933736 </a:t>
            </a:r>
          </a:p>
        </p:txBody>
      </p:sp>
      <p:sp>
        <p:nvSpPr>
          <p:cNvPr id="11" name="btfpNotesBox914511"/>
          <p:cNvSpPr txBox="1"/>
          <p:nvPr>
            <p:custDataLst>
              <p:tags r:id="rId4"/>
            </p:custDataLst>
          </p:nvPr>
        </p:nvSpPr>
        <p:spPr bwMode="gray">
          <a:xfrm>
            <a:off x="330200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Note: Each data point is an avg. salary data point for sample titles (e.g., VPs, Director of Sales/Marketing, Sales/Marketing Manager for Mid-Senior level; Acc. Specialist/ Acc. Exec. for junior level); # of profiles &lt;=5 defined as low N </a:t>
            </a:r>
            <a:br>
              <a:rPr lang="en-US" sz="800" dirty="0"/>
            </a:br>
            <a:r>
              <a:rPr lang="en-US" sz="800" dirty="0"/>
              <a:t>Source: Glassdoor; Bain analysis</a:t>
            </a:r>
          </a:p>
        </p:txBody>
      </p:sp>
      <p:grpSp>
        <p:nvGrpSpPr>
          <p:cNvPr id="24" name="btfpStatusSticker443151"/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25" name="btfpStatusStickerText443151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6" name="btfpStatusStickerLine443151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3B2A53D-8A67-43A9-910A-FC189FF7DC3F}"/>
              </a:ext>
            </a:extLst>
          </p:cNvPr>
          <p:cNvSpPr/>
          <p:nvPr/>
        </p:nvSpPr>
        <p:spPr bwMode="gray">
          <a:xfrm>
            <a:off x="974453" y="2568540"/>
            <a:ext cx="1439974" cy="2689260"/>
          </a:xfrm>
          <a:prstGeom prst="rect">
            <a:avLst/>
          </a:prstGeom>
          <a:noFill/>
          <a:ln w="1270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6" name="Picture 2" descr="Image result for glassdoor logo">
            <a:extLst>
              <a:ext uri="{FF2B5EF4-FFF2-40B4-BE49-F238E27FC236}">
                <a16:creationId xmlns:a16="http://schemas.microsoft.com/office/drawing/2014/main" id="{FF693F45-326D-E91A-7A65-BCDFCFB7AA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92" t="24891" r="10045" b="19671"/>
          <a:stretch>
            <a:fillRect/>
          </a:stretch>
        </p:blipFill>
        <p:spPr bwMode="auto">
          <a:xfrm>
            <a:off x="10885498" y="6351704"/>
            <a:ext cx="982928" cy="23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11C08E80-9201-1698-EC86-B93760D64711}"/>
              </a:ext>
            </a:extLst>
          </p:cNvPr>
          <p:cNvSpPr/>
          <p:nvPr/>
        </p:nvSpPr>
        <p:spPr bwMode="gray">
          <a:xfrm>
            <a:off x="6620628" y="5720969"/>
            <a:ext cx="4927527" cy="157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i="1">
                <a:solidFill>
                  <a:schemeClr val="tx1"/>
                </a:solidFill>
              </a:rPr>
              <a:t>FP&amp;A</a:t>
            </a:r>
          </a:p>
        </p:txBody>
      </p:sp>
      <p:grpSp>
        <p:nvGrpSpPr>
          <p:cNvPr id="94" name="btfpRunningAgenda2Level318982">
            <a:extLst>
              <a:ext uri="{FF2B5EF4-FFF2-40B4-BE49-F238E27FC236}">
                <a16:creationId xmlns:a16="http://schemas.microsoft.com/office/drawing/2014/main" id="{50B807E6-8D87-CD90-DDCC-CC616160F9AD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6790829" cy="257442"/>
            <a:chOff x="-1" y="876300"/>
            <a:chExt cx="6790829" cy="257442"/>
          </a:xfrm>
        </p:grpSpPr>
        <p:sp>
          <p:nvSpPr>
            <p:cNvPr id="83" name="btfpRunningAgenda2LevelBarLeft318982">
              <a:extLst>
                <a:ext uri="{FF2B5EF4-FFF2-40B4-BE49-F238E27FC236}">
                  <a16:creationId xmlns:a16="http://schemas.microsoft.com/office/drawing/2014/main" id="{8377C622-5EED-341C-B096-9260849D1095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13218 w 1813218"/>
                <a:gd name="connsiteY0" fmla="*/ 0 h 257442"/>
                <a:gd name="connsiteX1" fmla="*/ 1598195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0 w 1813218"/>
                <a:gd name="connsiteY3" fmla="*/ 0 h 257442"/>
                <a:gd name="connsiteX0" fmla="*/ 1981532 w 1981532"/>
                <a:gd name="connsiteY0" fmla="*/ 0 h 257442"/>
                <a:gd name="connsiteX1" fmla="*/ 1758496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813217 w 1926811"/>
                <a:gd name="connsiteY0" fmla="*/ 0 h 257442"/>
                <a:gd name="connsiteX1" fmla="*/ 1926811 w 1926811"/>
                <a:gd name="connsiteY1" fmla="*/ 257442 h 257442"/>
                <a:gd name="connsiteX2" fmla="*/ 0 w 1926811"/>
                <a:gd name="connsiteY2" fmla="*/ 257442 h 257442"/>
                <a:gd name="connsiteX3" fmla="*/ 0 w 1926811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1 w 1813217"/>
                <a:gd name="connsiteY2" fmla="*/ 257442 h 257442"/>
                <a:gd name="connsiteX3" fmla="*/ 0 w 1813217"/>
                <a:gd name="connsiteY3" fmla="*/ 0 h 257442"/>
                <a:gd name="connsiteX0" fmla="*/ 1813216 w 1813216"/>
                <a:gd name="connsiteY0" fmla="*/ 0 h 257442"/>
                <a:gd name="connsiteX1" fmla="*/ 1758496 w 1813216"/>
                <a:gd name="connsiteY1" fmla="*/ 257442 h 257442"/>
                <a:gd name="connsiteX2" fmla="*/ 0 w 1813216"/>
                <a:gd name="connsiteY2" fmla="*/ 257442 h 257442"/>
                <a:gd name="connsiteX3" fmla="*/ 0 w 1813216"/>
                <a:gd name="connsiteY3" fmla="*/ 0 h 257442"/>
                <a:gd name="connsiteX0" fmla="*/ 1652915 w 1758496"/>
                <a:gd name="connsiteY0" fmla="*/ 0 h 257442"/>
                <a:gd name="connsiteX1" fmla="*/ 1758496 w 1758496"/>
                <a:gd name="connsiteY1" fmla="*/ 257442 h 257442"/>
                <a:gd name="connsiteX2" fmla="*/ 0 w 1758496"/>
                <a:gd name="connsiteY2" fmla="*/ 257442 h 257442"/>
                <a:gd name="connsiteX3" fmla="*/ 0 w 1758496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830849 w 1830849"/>
                <a:gd name="connsiteY0" fmla="*/ 0 h 257442"/>
                <a:gd name="connsiteX1" fmla="*/ 1598194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963899 w 1963899"/>
                <a:gd name="connsiteY0" fmla="*/ 0 h 257442"/>
                <a:gd name="connsiteX1" fmla="*/ 17488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2132214 w 2132214"/>
                <a:gd name="connsiteY0" fmla="*/ 0 h 257442"/>
                <a:gd name="connsiteX1" fmla="*/ 1909178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4 w 2132214"/>
                <a:gd name="connsiteY0" fmla="*/ 0 h 257442"/>
                <a:gd name="connsiteX1" fmla="*/ 2077492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1 w 2132215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1 w 2132215"/>
                <a:gd name="connsiteY3" fmla="*/ 0 h 257442"/>
                <a:gd name="connsiteX0" fmla="*/ 2273087 w 2273087"/>
                <a:gd name="connsiteY0" fmla="*/ 0 h 257442"/>
                <a:gd name="connsiteX1" fmla="*/ 2077493 w 2273087"/>
                <a:gd name="connsiteY1" fmla="*/ 257442 h 257442"/>
                <a:gd name="connsiteX2" fmla="*/ 0 w 2273087"/>
                <a:gd name="connsiteY2" fmla="*/ 257442 h 257442"/>
                <a:gd name="connsiteX3" fmla="*/ 1 w 2273087"/>
                <a:gd name="connsiteY3" fmla="*/ 0 h 257442"/>
                <a:gd name="connsiteX0" fmla="*/ 2273087 w 2273087"/>
                <a:gd name="connsiteY0" fmla="*/ 0 h 257442"/>
                <a:gd name="connsiteX1" fmla="*/ 2218366 w 2273087"/>
                <a:gd name="connsiteY1" fmla="*/ 257442 h 257442"/>
                <a:gd name="connsiteX2" fmla="*/ 0 w 2273087"/>
                <a:gd name="connsiteY2" fmla="*/ 257442 h 257442"/>
                <a:gd name="connsiteX3" fmla="*/ 1 w 2273087"/>
                <a:gd name="connsiteY3" fmla="*/ 0 h 257442"/>
                <a:gd name="connsiteX0" fmla="*/ 2273086 w 2273086"/>
                <a:gd name="connsiteY0" fmla="*/ 0 h 257442"/>
                <a:gd name="connsiteX1" fmla="*/ 2218365 w 2273086"/>
                <a:gd name="connsiteY1" fmla="*/ 257442 h 257442"/>
                <a:gd name="connsiteX2" fmla="*/ 0 w 2273086"/>
                <a:gd name="connsiteY2" fmla="*/ 257442 h 257442"/>
                <a:gd name="connsiteX3" fmla="*/ 0 w 2273086"/>
                <a:gd name="connsiteY3" fmla="*/ 0 h 257442"/>
                <a:gd name="connsiteX0" fmla="*/ 2273087 w 2273087"/>
                <a:gd name="connsiteY0" fmla="*/ 0 h 257442"/>
                <a:gd name="connsiteX1" fmla="*/ 2218366 w 2273087"/>
                <a:gd name="connsiteY1" fmla="*/ 257442 h 257442"/>
                <a:gd name="connsiteX2" fmla="*/ 1 w 2273087"/>
                <a:gd name="connsiteY2" fmla="*/ 257442 h 257442"/>
                <a:gd name="connsiteX3" fmla="*/ 0 w 2273087"/>
                <a:gd name="connsiteY3" fmla="*/ 0 h 257442"/>
                <a:gd name="connsiteX0" fmla="*/ 2374076 w 2374076"/>
                <a:gd name="connsiteY0" fmla="*/ 0 h 257442"/>
                <a:gd name="connsiteX1" fmla="*/ 2218366 w 2374076"/>
                <a:gd name="connsiteY1" fmla="*/ 257442 h 257442"/>
                <a:gd name="connsiteX2" fmla="*/ 1 w 2374076"/>
                <a:gd name="connsiteY2" fmla="*/ 257442 h 257442"/>
                <a:gd name="connsiteX3" fmla="*/ 0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1 w 2374076"/>
                <a:gd name="connsiteY2" fmla="*/ 257442 h 257442"/>
                <a:gd name="connsiteX3" fmla="*/ 0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0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0 w 2374076"/>
                <a:gd name="connsiteY3" fmla="*/ 0 h 257442"/>
                <a:gd name="connsiteX0" fmla="*/ 2552009 w 2552009"/>
                <a:gd name="connsiteY0" fmla="*/ 0 h 257442"/>
                <a:gd name="connsiteX1" fmla="*/ 2319354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720324 w 2720324"/>
                <a:gd name="connsiteY0" fmla="*/ 0 h 257442"/>
                <a:gd name="connsiteX1" fmla="*/ 2497288 w 2720324"/>
                <a:gd name="connsiteY1" fmla="*/ 257442 h 257442"/>
                <a:gd name="connsiteX2" fmla="*/ 0 w 2720324"/>
                <a:gd name="connsiteY2" fmla="*/ 257442 h 257442"/>
                <a:gd name="connsiteX3" fmla="*/ 0 w 2720324"/>
                <a:gd name="connsiteY3" fmla="*/ 0 h 257442"/>
                <a:gd name="connsiteX0" fmla="*/ 2720324 w 2720324"/>
                <a:gd name="connsiteY0" fmla="*/ 0 h 257442"/>
                <a:gd name="connsiteX1" fmla="*/ 2665602 w 2720324"/>
                <a:gd name="connsiteY1" fmla="*/ 257442 h 257442"/>
                <a:gd name="connsiteX2" fmla="*/ 0 w 2720324"/>
                <a:gd name="connsiteY2" fmla="*/ 257442 h 257442"/>
                <a:gd name="connsiteX3" fmla="*/ 0 w 2720324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1 w 2720325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1 w 2720325"/>
                <a:gd name="connsiteY3" fmla="*/ 0 h 257442"/>
                <a:gd name="connsiteX0" fmla="*/ 2552010 w 2665603"/>
                <a:gd name="connsiteY0" fmla="*/ 0 h 257442"/>
                <a:gd name="connsiteX1" fmla="*/ 2665603 w 2665603"/>
                <a:gd name="connsiteY1" fmla="*/ 257442 h 257442"/>
                <a:gd name="connsiteX2" fmla="*/ 0 w 2665603"/>
                <a:gd name="connsiteY2" fmla="*/ 257442 h 257442"/>
                <a:gd name="connsiteX3" fmla="*/ 1 w 2665603"/>
                <a:gd name="connsiteY3" fmla="*/ 0 h 257442"/>
                <a:gd name="connsiteX0" fmla="*/ 2552010 w 2552010"/>
                <a:gd name="connsiteY0" fmla="*/ 0 h 257442"/>
                <a:gd name="connsiteX1" fmla="*/ 2497289 w 2552010"/>
                <a:gd name="connsiteY1" fmla="*/ 257442 h 257442"/>
                <a:gd name="connsiteX2" fmla="*/ 0 w 2552010"/>
                <a:gd name="connsiteY2" fmla="*/ 257442 h 257442"/>
                <a:gd name="connsiteX3" fmla="*/ 1 w 2552010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374075 w 2497288"/>
                <a:gd name="connsiteY0" fmla="*/ 0 h 257442"/>
                <a:gd name="connsiteX1" fmla="*/ 2497288 w 2497288"/>
                <a:gd name="connsiteY1" fmla="*/ 257442 h 257442"/>
                <a:gd name="connsiteX2" fmla="*/ 0 w 2497288"/>
                <a:gd name="connsiteY2" fmla="*/ 257442 h 257442"/>
                <a:gd name="connsiteX3" fmla="*/ 0 w 2497288"/>
                <a:gd name="connsiteY3" fmla="*/ 0 h 257442"/>
                <a:gd name="connsiteX0" fmla="*/ 2374075 w 2374075"/>
                <a:gd name="connsiteY0" fmla="*/ 0 h 257442"/>
                <a:gd name="connsiteX1" fmla="*/ 2319354 w 2374075"/>
                <a:gd name="connsiteY1" fmla="*/ 257442 h 257442"/>
                <a:gd name="connsiteX2" fmla="*/ 0 w 2374075"/>
                <a:gd name="connsiteY2" fmla="*/ 257442 h 257442"/>
                <a:gd name="connsiteX3" fmla="*/ 0 w 2374075"/>
                <a:gd name="connsiteY3" fmla="*/ 0 h 257442"/>
                <a:gd name="connsiteX0" fmla="*/ 2374075 w 2374075"/>
                <a:gd name="connsiteY0" fmla="*/ 0 h 257442"/>
                <a:gd name="connsiteX1" fmla="*/ 2319354 w 2374075"/>
                <a:gd name="connsiteY1" fmla="*/ 257442 h 257442"/>
                <a:gd name="connsiteX2" fmla="*/ 1 w 2374075"/>
                <a:gd name="connsiteY2" fmla="*/ 257442 h 257442"/>
                <a:gd name="connsiteX3" fmla="*/ 0 w 2374075"/>
                <a:gd name="connsiteY3" fmla="*/ 0 h 257442"/>
                <a:gd name="connsiteX0" fmla="*/ 2374074 w 2374074"/>
                <a:gd name="connsiteY0" fmla="*/ 0 h 257442"/>
                <a:gd name="connsiteX1" fmla="*/ 2319353 w 2374074"/>
                <a:gd name="connsiteY1" fmla="*/ 257442 h 257442"/>
                <a:gd name="connsiteX2" fmla="*/ 0 w 2374074"/>
                <a:gd name="connsiteY2" fmla="*/ 257442 h 257442"/>
                <a:gd name="connsiteX3" fmla="*/ 0 w 2374074"/>
                <a:gd name="connsiteY3" fmla="*/ 0 h 257442"/>
                <a:gd name="connsiteX0" fmla="*/ 2273085 w 2319353"/>
                <a:gd name="connsiteY0" fmla="*/ 0 h 257442"/>
                <a:gd name="connsiteX1" fmla="*/ 2319353 w 2319353"/>
                <a:gd name="connsiteY1" fmla="*/ 257442 h 257442"/>
                <a:gd name="connsiteX2" fmla="*/ 0 w 2319353"/>
                <a:gd name="connsiteY2" fmla="*/ 257442 h 257442"/>
                <a:gd name="connsiteX3" fmla="*/ 0 w 2319353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132214 w 2218365"/>
                <a:gd name="connsiteY0" fmla="*/ 0 h 257442"/>
                <a:gd name="connsiteX1" fmla="*/ 2218365 w 2218365"/>
                <a:gd name="connsiteY1" fmla="*/ 257442 h 257442"/>
                <a:gd name="connsiteX2" fmla="*/ 0 w 2218365"/>
                <a:gd name="connsiteY2" fmla="*/ 257442 h 257442"/>
                <a:gd name="connsiteX3" fmla="*/ 0 w 221836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1963899 w 2077493"/>
                <a:gd name="connsiteY0" fmla="*/ 0 h 257442"/>
                <a:gd name="connsiteX1" fmla="*/ 2077493 w 2077493"/>
                <a:gd name="connsiteY1" fmla="*/ 257442 h 257442"/>
                <a:gd name="connsiteX2" fmla="*/ 0 w 2077493"/>
                <a:gd name="connsiteY2" fmla="*/ 257442 h 257442"/>
                <a:gd name="connsiteX3" fmla="*/ 0 w 2077493"/>
                <a:gd name="connsiteY3" fmla="*/ 0 h 257442"/>
                <a:gd name="connsiteX0" fmla="*/ 1963899 w 1963899"/>
                <a:gd name="connsiteY0" fmla="*/ 0 h 257442"/>
                <a:gd name="connsiteX1" fmla="*/ 1909179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9 w 1963899"/>
                <a:gd name="connsiteY1" fmla="*/ 257442 h 257442"/>
                <a:gd name="connsiteX2" fmla="*/ 1 w 1963899"/>
                <a:gd name="connsiteY2" fmla="*/ 257442 h 257442"/>
                <a:gd name="connsiteX3" fmla="*/ 0 w 1963899"/>
                <a:gd name="connsiteY3" fmla="*/ 0 h 257442"/>
                <a:gd name="connsiteX0" fmla="*/ 1963898 w 1963898"/>
                <a:gd name="connsiteY0" fmla="*/ 0 h 257442"/>
                <a:gd name="connsiteX1" fmla="*/ 1909178 w 1963898"/>
                <a:gd name="connsiteY1" fmla="*/ 257442 h 257442"/>
                <a:gd name="connsiteX2" fmla="*/ 0 w 1963898"/>
                <a:gd name="connsiteY2" fmla="*/ 257442 h 257442"/>
                <a:gd name="connsiteX3" fmla="*/ 0 w 1963898"/>
                <a:gd name="connsiteY3" fmla="*/ 0 h 257442"/>
                <a:gd name="connsiteX0" fmla="*/ 1803598 w 1909178"/>
                <a:gd name="connsiteY0" fmla="*/ 0 h 257442"/>
                <a:gd name="connsiteX1" fmla="*/ 1909178 w 1909178"/>
                <a:gd name="connsiteY1" fmla="*/ 257442 h 257442"/>
                <a:gd name="connsiteX2" fmla="*/ 0 w 1909178"/>
                <a:gd name="connsiteY2" fmla="*/ 257442 h 257442"/>
                <a:gd name="connsiteX3" fmla="*/ 0 w 1909178"/>
                <a:gd name="connsiteY3" fmla="*/ 0 h 257442"/>
                <a:gd name="connsiteX0" fmla="*/ 1803598 w 1803598"/>
                <a:gd name="connsiteY0" fmla="*/ 0 h 257442"/>
                <a:gd name="connsiteX1" fmla="*/ 1748877 w 1803598"/>
                <a:gd name="connsiteY1" fmla="*/ 257442 h 257442"/>
                <a:gd name="connsiteX2" fmla="*/ 0 w 1803598"/>
                <a:gd name="connsiteY2" fmla="*/ 257442 h 257442"/>
                <a:gd name="connsiteX3" fmla="*/ 0 w 1803598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1 w 1803599"/>
                <a:gd name="connsiteY3" fmla="*/ 0 h 257442"/>
                <a:gd name="connsiteX0" fmla="*/ 1635284 w 1748878"/>
                <a:gd name="connsiteY0" fmla="*/ 0 h 257442"/>
                <a:gd name="connsiteX1" fmla="*/ 1748878 w 1748878"/>
                <a:gd name="connsiteY1" fmla="*/ 257442 h 257442"/>
                <a:gd name="connsiteX2" fmla="*/ 0 w 1748878"/>
                <a:gd name="connsiteY2" fmla="*/ 257442 h 257442"/>
                <a:gd name="connsiteX3" fmla="*/ 1 w 1748878"/>
                <a:gd name="connsiteY3" fmla="*/ 0 h 257442"/>
                <a:gd name="connsiteX0" fmla="*/ 1635284 w 1635284"/>
                <a:gd name="connsiteY0" fmla="*/ 0 h 257442"/>
                <a:gd name="connsiteX1" fmla="*/ 1580563 w 1635284"/>
                <a:gd name="connsiteY1" fmla="*/ 257442 h 257442"/>
                <a:gd name="connsiteX2" fmla="*/ 0 w 1635284"/>
                <a:gd name="connsiteY2" fmla="*/ 257442 h 257442"/>
                <a:gd name="connsiteX3" fmla="*/ 1 w 1635284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474983 w 1580562"/>
                <a:gd name="connsiteY0" fmla="*/ 0 h 257442"/>
                <a:gd name="connsiteX1" fmla="*/ 1580562 w 1580562"/>
                <a:gd name="connsiteY1" fmla="*/ 257442 h 257442"/>
                <a:gd name="connsiteX2" fmla="*/ 0 w 1580562"/>
                <a:gd name="connsiteY2" fmla="*/ 257442 h 257442"/>
                <a:gd name="connsiteX3" fmla="*/ 0 w 158056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1 w 1474983"/>
                <a:gd name="connsiteY2" fmla="*/ 257442 h 257442"/>
                <a:gd name="connsiteX3" fmla="*/ 0 w 1474983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0 w 1474982"/>
                <a:gd name="connsiteY3" fmla="*/ 0 h 257442"/>
                <a:gd name="connsiteX0" fmla="*/ 1314681 w 1420261"/>
                <a:gd name="connsiteY0" fmla="*/ 0 h 257442"/>
                <a:gd name="connsiteX1" fmla="*/ 1420261 w 1420261"/>
                <a:gd name="connsiteY1" fmla="*/ 257442 h 257442"/>
                <a:gd name="connsiteX2" fmla="*/ 0 w 1420261"/>
                <a:gd name="connsiteY2" fmla="*/ 257442 h 257442"/>
                <a:gd name="connsiteX3" fmla="*/ 0 w 1420261"/>
                <a:gd name="connsiteY3" fmla="*/ 0 h 257442"/>
                <a:gd name="connsiteX0" fmla="*/ 1314681 w 1314681"/>
                <a:gd name="connsiteY0" fmla="*/ 0 h 257442"/>
                <a:gd name="connsiteX1" fmla="*/ 1259961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1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1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128734 w 1259961"/>
                <a:gd name="connsiteY0" fmla="*/ 0 h 257442"/>
                <a:gd name="connsiteX1" fmla="*/ 1259961 w 1259961"/>
                <a:gd name="connsiteY1" fmla="*/ 257442 h 257442"/>
                <a:gd name="connsiteX2" fmla="*/ 0 w 1259961"/>
                <a:gd name="connsiteY2" fmla="*/ 257442 h 257442"/>
                <a:gd name="connsiteX3" fmla="*/ 0 w 1259961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950801 w 1074013"/>
                <a:gd name="connsiteY0" fmla="*/ 0 h 257442"/>
                <a:gd name="connsiteX1" fmla="*/ 1074013 w 1074013"/>
                <a:gd name="connsiteY1" fmla="*/ 257442 h 257442"/>
                <a:gd name="connsiteX2" fmla="*/ 0 w 1074013"/>
                <a:gd name="connsiteY2" fmla="*/ 257442 h 257442"/>
                <a:gd name="connsiteX3" fmla="*/ 0 w 1074013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86067 w 986067"/>
                <a:gd name="connsiteY0" fmla="*/ 0 h 257442"/>
                <a:gd name="connsiteX1" fmla="*/ 727828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2" name="btfpRunningAgenda2LevelTextLeft318982">
              <a:extLst>
                <a:ext uri="{FF2B5EF4-FFF2-40B4-BE49-F238E27FC236}">
                  <a16:creationId xmlns:a16="http://schemas.microsoft.com/office/drawing/2014/main" id="{FF552CA6-544B-17D5-DDE6-A7176E94939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93" name="btfpRunningAgenda2LevelBarRight318982">
              <a:extLst>
                <a:ext uri="{FF2B5EF4-FFF2-40B4-BE49-F238E27FC236}">
                  <a16:creationId xmlns:a16="http://schemas.microsoft.com/office/drawing/2014/main" id="{1AD69597-96D9-6AF2-7EC8-244E0B2B6CB6}"/>
                </a:ext>
              </a:extLst>
            </p:cNvPr>
            <p:cNvSpPr/>
            <p:nvPr/>
          </p:nvSpPr>
          <p:spPr bwMode="gray">
            <a:xfrm>
              <a:off x="2192938" y="876300"/>
              <a:ext cx="459789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963899 w 1963899"/>
                <a:gd name="connsiteY0" fmla="*/ 0 h 257442"/>
                <a:gd name="connsiteX1" fmla="*/ 17488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2132214 w 2132214"/>
                <a:gd name="connsiteY0" fmla="*/ 0 h 257442"/>
                <a:gd name="connsiteX1" fmla="*/ 1909178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2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374076 w 2374076"/>
                <a:gd name="connsiteY0" fmla="*/ 0 h 257442"/>
                <a:gd name="connsiteX1" fmla="*/ 2077493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1 w 2374076"/>
                <a:gd name="connsiteY3" fmla="*/ 0 h 257442"/>
                <a:gd name="connsiteX0" fmla="*/ 2552009 w 2552009"/>
                <a:gd name="connsiteY0" fmla="*/ 0 h 257442"/>
                <a:gd name="connsiteX1" fmla="*/ 2319354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720324 w 2720324"/>
                <a:gd name="connsiteY0" fmla="*/ 0 h 257442"/>
                <a:gd name="connsiteX1" fmla="*/ 2497288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4 w 2720324"/>
                <a:gd name="connsiteY0" fmla="*/ 0 h 257442"/>
                <a:gd name="connsiteX1" fmla="*/ 2665602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942786 w 2665603"/>
                <a:gd name="connsiteY0" fmla="*/ 0 h 257442"/>
                <a:gd name="connsiteX1" fmla="*/ 2665603 w 2665603"/>
                <a:gd name="connsiteY1" fmla="*/ 257442 h 257442"/>
                <a:gd name="connsiteX2" fmla="*/ 0 w 2665603"/>
                <a:gd name="connsiteY2" fmla="*/ 257442 h 257442"/>
                <a:gd name="connsiteX3" fmla="*/ 54722 w 2665603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2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2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50324 w 1550324"/>
                <a:gd name="connsiteY0" fmla="*/ 0 h 257442"/>
                <a:gd name="connsiteX1" fmla="*/ 1216681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  <a:gd name="connsiteX0" fmla="*/ 2300529 w 2300529"/>
                <a:gd name="connsiteY0" fmla="*/ 0 h 257442"/>
                <a:gd name="connsiteX1" fmla="*/ 2077493 w 2300529"/>
                <a:gd name="connsiteY1" fmla="*/ 257442 h 257442"/>
                <a:gd name="connsiteX2" fmla="*/ 0 w 2300529"/>
                <a:gd name="connsiteY2" fmla="*/ 257442 h 257442"/>
                <a:gd name="connsiteX3" fmla="*/ 54720 w 2300529"/>
                <a:gd name="connsiteY3" fmla="*/ 0 h 257442"/>
                <a:gd name="connsiteX0" fmla="*/ 2300529 w 2300529"/>
                <a:gd name="connsiteY0" fmla="*/ 0 h 257442"/>
                <a:gd name="connsiteX1" fmla="*/ 2245808 w 2300529"/>
                <a:gd name="connsiteY1" fmla="*/ 257442 h 257442"/>
                <a:gd name="connsiteX2" fmla="*/ 0 w 2300529"/>
                <a:gd name="connsiteY2" fmla="*/ 257442 h 257442"/>
                <a:gd name="connsiteX3" fmla="*/ 54720 w 2300529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460830 w 2460830"/>
                <a:gd name="connsiteY0" fmla="*/ 0 h 257442"/>
                <a:gd name="connsiteX1" fmla="*/ 22458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727377 w 2727377"/>
                <a:gd name="connsiteY0" fmla="*/ 0 h 257442"/>
                <a:gd name="connsiteX1" fmla="*/ 2406109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727377 w 2727377"/>
                <a:gd name="connsiteY0" fmla="*/ 0 h 257442"/>
                <a:gd name="connsiteX1" fmla="*/ 2672656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727377 w 2727377"/>
                <a:gd name="connsiteY0" fmla="*/ 0 h 257442"/>
                <a:gd name="connsiteX1" fmla="*/ 2672656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727377 w 2727377"/>
                <a:gd name="connsiteY0" fmla="*/ 0 h 257442"/>
                <a:gd name="connsiteX1" fmla="*/ 2672656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905311 w 2905311"/>
                <a:gd name="connsiteY0" fmla="*/ 0 h 257442"/>
                <a:gd name="connsiteX1" fmla="*/ 2672656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2905311 w 2905311"/>
                <a:gd name="connsiteY0" fmla="*/ 0 h 257442"/>
                <a:gd name="connsiteX1" fmla="*/ 2850590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2905311 w 2905311"/>
                <a:gd name="connsiteY0" fmla="*/ 0 h 257442"/>
                <a:gd name="connsiteX1" fmla="*/ 2850590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2905311 w 2905311"/>
                <a:gd name="connsiteY0" fmla="*/ 0 h 257442"/>
                <a:gd name="connsiteX1" fmla="*/ 2850590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3091259 w 3091259"/>
                <a:gd name="connsiteY0" fmla="*/ 0 h 257442"/>
                <a:gd name="connsiteX1" fmla="*/ 2850590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091259 w 3091259"/>
                <a:gd name="connsiteY0" fmla="*/ 0 h 257442"/>
                <a:gd name="connsiteX1" fmla="*/ 3036538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091259 w 3091259"/>
                <a:gd name="connsiteY0" fmla="*/ 0 h 257442"/>
                <a:gd name="connsiteX1" fmla="*/ 3036538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091259 w 3091259"/>
                <a:gd name="connsiteY0" fmla="*/ 0 h 257442"/>
                <a:gd name="connsiteX1" fmla="*/ 3036538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251559 w 3251559"/>
                <a:gd name="connsiteY0" fmla="*/ 0 h 257442"/>
                <a:gd name="connsiteX1" fmla="*/ 30365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251559 w 3251559"/>
                <a:gd name="connsiteY0" fmla="*/ 0 h 257442"/>
                <a:gd name="connsiteX1" fmla="*/ 31968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251559 w 3251559"/>
                <a:gd name="connsiteY0" fmla="*/ 0 h 257442"/>
                <a:gd name="connsiteX1" fmla="*/ 31968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251559 w 3251559"/>
                <a:gd name="connsiteY0" fmla="*/ 0 h 257442"/>
                <a:gd name="connsiteX1" fmla="*/ 31968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411859 w 3411859"/>
                <a:gd name="connsiteY0" fmla="*/ 0 h 257442"/>
                <a:gd name="connsiteX1" fmla="*/ 31968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411859 w 3411859"/>
                <a:gd name="connsiteY0" fmla="*/ 0 h 257442"/>
                <a:gd name="connsiteX1" fmla="*/ 33571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411859 w 3411859"/>
                <a:gd name="connsiteY0" fmla="*/ 0 h 257442"/>
                <a:gd name="connsiteX1" fmla="*/ 33571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411859 w 3411859"/>
                <a:gd name="connsiteY0" fmla="*/ 0 h 257442"/>
                <a:gd name="connsiteX1" fmla="*/ 33571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580174 w 3580174"/>
                <a:gd name="connsiteY0" fmla="*/ 0 h 257442"/>
                <a:gd name="connsiteX1" fmla="*/ 3357138 w 3580174"/>
                <a:gd name="connsiteY1" fmla="*/ 257442 h 257442"/>
                <a:gd name="connsiteX2" fmla="*/ 0 w 3580174"/>
                <a:gd name="connsiteY2" fmla="*/ 257442 h 257442"/>
                <a:gd name="connsiteX3" fmla="*/ 54721 w 3580174"/>
                <a:gd name="connsiteY3" fmla="*/ 0 h 257442"/>
                <a:gd name="connsiteX0" fmla="*/ 3580174 w 3580174"/>
                <a:gd name="connsiteY0" fmla="*/ 0 h 257442"/>
                <a:gd name="connsiteX1" fmla="*/ 3525452 w 3580174"/>
                <a:gd name="connsiteY1" fmla="*/ 257442 h 257442"/>
                <a:gd name="connsiteX2" fmla="*/ 0 w 3580174"/>
                <a:gd name="connsiteY2" fmla="*/ 257442 h 257442"/>
                <a:gd name="connsiteX3" fmla="*/ 54721 w 3580174"/>
                <a:gd name="connsiteY3" fmla="*/ 0 h 257442"/>
                <a:gd name="connsiteX0" fmla="*/ 3580175 w 3580175"/>
                <a:gd name="connsiteY0" fmla="*/ 0 h 257442"/>
                <a:gd name="connsiteX1" fmla="*/ 3525453 w 3580175"/>
                <a:gd name="connsiteY1" fmla="*/ 257442 h 257442"/>
                <a:gd name="connsiteX2" fmla="*/ 0 w 3580175"/>
                <a:gd name="connsiteY2" fmla="*/ 257442 h 257442"/>
                <a:gd name="connsiteX3" fmla="*/ 54722 w 3580175"/>
                <a:gd name="connsiteY3" fmla="*/ 0 h 257442"/>
                <a:gd name="connsiteX0" fmla="*/ 3580175 w 3580175"/>
                <a:gd name="connsiteY0" fmla="*/ 0 h 257442"/>
                <a:gd name="connsiteX1" fmla="*/ 3525453 w 3580175"/>
                <a:gd name="connsiteY1" fmla="*/ 257442 h 257442"/>
                <a:gd name="connsiteX2" fmla="*/ 0 w 3580175"/>
                <a:gd name="connsiteY2" fmla="*/ 257442 h 257442"/>
                <a:gd name="connsiteX3" fmla="*/ 54722 w 3580175"/>
                <a:gd name="connsiteY3" fmla="*/ 0 h 257442"/>
                <a:gd name="connsiteX0" fmla="*/ 3740476 w 3740476"/>
                <a:gd name="connsiteY0" fmla="*/ 0 h 257442"/>
                <a:gd name="connsiteX1" fmla="*/ 3525453 w 3740476"/>
                <a:gd name="connsiteY1" fmla="*/ 257442 h 257442"/>
                <a:gd name="connsiteX2" fmla="*/ 0 w 3740476"/>
                <a:gd name="connsiteY2" fmla="*/ 257442 h 257442"/>
                <a:gd name="connsiteX3" fmla="*/ 54722 w 3740476"/>
                <a:gd name="connsiteY3" fmla="*/ 0 h 257442"/>
                <a:gd name="connsiteX0" fmla="*/ 3740476 w 3740476"/>
                <a:gd name="connsiteY0" fmla="*/ 0 h 257442"/>
                <a:gd name="connsiteX1" fmla="*/ 3685754 w 3740476"/>
                <a:gd name="connsiteY1" fmla="*/ 257442 h 257442"/>
                <a:gd name="connsiteX2" fmla="*/ 0 w 3740476"/>
                <a:gd name="connsiteY2" fmla="*/ 257442 h 257442"/>
                <a:gd name="connsiteX3" fmla="*/ 54722 w 3740476"/>
                <a:gd name="connsiteY3" fmla="*/ 0 h 257442"/>
                <a:gd name="connsiteX0" fmla="*/ 3740476 w 3740476"/>
                <a:gd name="connsiteY0" fmla="*/ 0 h 257442"/>
                <a:gd name="connsiteX1" fmla="*/ 3685754 w 3740476"/>
                <a:gd name="connsiteY1" fmla="*/ 257442 h 257442"/>
                <a:gd name="connsiteX2" fmla="*/ 0 w 3740476"/>
                <a:gd name="connsiteY2" fmla="*/ 257442 h 257442"/>
                <a:gd name="connsiteX3" fmla="*/ 54722 w 3740476"/>
                <a:gd name="connsiteY3" fmla="*/ 0 h 257442"/>
                <a:gd name="connsiteX0" fmla="*/ 3740476 w 3740476"/>
                <a:gd name="connsiteY0" fmla="*/ 0 h 257442"/>
                <a:gd name="connsiteX1" fmla="*/ 3685754 w 3740476"/>
                <a:gd name="connsiteY1" fmla="*/ 257442 h 257442"/>
                <a:gd name="connsiteX2" fmla="*/ 0 w 3740476"/>
                <a:gd name="connsiteY2" fmla="*/ 257442 h 257442"/>
                <a:gd name="connsiteX3" fmla="*/ 54721 w 3740476"/>
                <a:gd name="connsiteY3" fmla="*/ 0 h 257442"/>
                <a:gd name="connsiteX0" fmla="*/ 3908790 w 3908790"/>
                <a:gd name="connsiteY0" fmla="*/ 0 h 257442"/>
                <a:gd name="connsiteX1" fmla="*/ 3685754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3908790 w 3908790"/>
                <a:gd name="connsiteY0" fmla="*/ 0 h 257442"/>
                <a:gd name="connsiteX1" fmla="*/ 3854069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3908790 w 3908790"/>
                <a:gd name="connsiteY0" fmla="*/ 0 h 257442"/>
                <a:gd name="connsiteX1" fmla="*/ 3854069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3908790 w 3908790"/>
                <a:gd name="connsiteY0" fmla="*/ 0 h 257442"/>
                <a:gd name="connsiteX1" fmla="*/ 3854069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4150651 w 4150651"/>
                <a:gd name="connsiteY0" fmla="*/ 0 h 257442"/>
                <a:gd name="connsiteX1" fmla="*/ 3854069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150651 w 4150651"/>
                <a:gd name="connsiteY0" fmla="*/ 0 h 257442"/>
                <a:gd name="connsiteX1" fmla="*/ 4095930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150651 w 4150651"/>
                <a:gd name="connsiteY0" fmla="*/ 0 h 257442"/>
                <a:gd name="connsiteX1" fmla="*/ 4095930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150651 w 4150651"/>
                <a:gd name="connsiteY0" fmla="*/ 0 h 257442"/>
                <a:gd name="connsiteX1" fmla="*/ 4095930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328584 w 4328584"/>
                <a:gd name="connsiteY0" fmla="*/ 0 h 257442"/>
                <a:gd name="connsiteX1" fmla="*/ 4095930 w 4328584"/>
                <a:gd name="connsiteY1" fmla="*/ 257442 h 257442"/>
                <a:gd name="connsiteX2" fmla="*/ 0 w 4328584"/>
                <a:gd name="connsiteY2" fmla="*/ 257442 h 257442"/>
                <a:gd name="connsiteX3" fmla="*/ 54721 w 4328584"/>
                <a:gd name="connsiteY3" fmla="*/ 0 h 257442"/>
                <a:gd name="connsiteX0" fmla="*/ 4328584 w 4328584"/>
                <a:gd name="connsiteY0" fmla="*/ 0 h 257442"/>
                <a:gd name="connsiteX1" fmla="*/ 4273862 w 4328584"/>
                <a:gd name="connsiteY1" fmla="*/ 257442 h 257442"/>
                <a:gd name="connsiteX2" fmla="*/ 0 w 4328584"/>
                <a:gd name="connsiteY2" fmla="*/ 257442 h 257442"/>
                <a:gd name="connsiteX3" fmla="*/ 54721 w 4328584"/>
                <a:gd name="connsiteY3" fmla="*/ 0 h 257442"/>
                <a:gd name="connsiteX0" fmla="*/ 4328585 w 4328585"/>
                <a:gd name="connsiteY0" fmla="*/ 0 h 257442"/>
                <a:gd name="connsiteX1" fmla="*/ 4273863 w 4328585"/>
                <a:gd name="connsiteY1" fmla="*/ 257442 h 257442"/>
                <a:gd name="connsiteX2" fmla="*/ 0 w 4328585"/>
                <a:gd name="connsiteY2" fmla="*/ 257442 h 257442"/>
                <a:gd name="connsiteX3" fmla="*/ 54722 w 4328585"/>
                <a:gd name="connsiteY3" fmla="*/ 0 h 257442"/>
                <a:gd name="connsiteX0" fmla="*/ 4328585 w 4328585"/>
                <a:gd name="connsiteY0" fmla="*/ 0 h 257442"/>
                <a:gd name="connsiteX1" fmla="*/ 4273863 w 4328585"/>
                <a:gd name="connsiteY1" fmla="*/ 257442 h 257442"/>
                <a:gd name="connsiteX2" fmla="*/ 0 w 4328585"/>
                <a:gd name="connsiteY2" fmla="*/ 257442 h 257442"/>
                <a:gd name="connsiteX3" fmla="*/ 54722 w 4328585"/>
                <a:gd name="connsiteY3" fmla="*/ 0 h 257442"/>
                <a:gd name="connsiteX0" fmla="*/ 4496900 w 4496900"/>
                <a:gd name="connsiteY0" fmla="*/ 0 h 257442"/>
                <a:gd name="connsiteX1" fmla="*/ 4273863 w 4496900"/>
                <a:gd name="connsiteY1" fmla="*/ 257442 h 257442"/>
                <a:gd name="connsiteX2" fmla="*/ 0 w 4496900"/>
                <a:gd name="connsiteY2" fmla="*/ 257442 h 257442"/>
                <a:gd name="connsiteX3" fmla="*/ 54722 w 4496900"/>
                <a:gd name="connsiteY3" fmla="*/ 0 h 257442"/>
                <a:gd name="connsiteX0" fmla="*/ 4496900 w 4496900"/>
                <a:gd name="connsiteY0" fmla="*/ 0 h 257442"/>
                <a:gd name="connsiteX1" fmla="*/ 4442179 w 4496900"/>
                <a:gd name="connsiteY1" fmla="*/ 257442 h 257442"/>
                <a:gd name="connsiteX2" fmla="*/ 0 w 4496900"/>
                <a:gd name="connsiteY2" fmla="*/ 257442 h 257442"/>
                <a:gd name="connsiteX3" fmla="*/ 54722 w 4496900"/>
                <a:gd name="connsiteY3" fmla="*/ 0 h 257442"/>
                <a:gd name="connsiteX0" fmla="*/ 4496900 w 4496900"/>
                <a:gd name="connsiteY0" fmla="*/ 0 h 257442"/>
                <a:gd name="connsiteX1" fmla="*/ 4442179 w 4496900"/>
                <a:gd name="connsiteY1" fmla="*/ 257442 h 257442"/>
                <a:gd name="connsiteX2" fmla="*/ 0 w 4496900"/>
                <a:gd name="connsiteY2" fmla="*/ 257442 h 257442"/>
                <a:gd name="connsiteX3" fmla="*/ 54722 w 4496900"/>
                <a:gd name="connsiteY3" fmla="*/ 0 h 257442"/>
                <a:gd name="connsiteX0" fmla="*/ 4496900 w 4496900"/>
                <a:gd name="connsiteY0" fmla="*/ 0 h 257442"/>
                <a:gd name="connsiteX1" fmla="*/ 4442179 w 4496900"/>
                <a:gd name="connsiteY1" fmla="*/ 257442 h 257442"/>
                <a:gd name="connsiteX2" fmla="*/ 0 w 4496900"/>
                <a:gd name="connsiteY2" fmla="*/ 257442 h 257442"/>
                <a:gd name="connsiteX3" fmla="*/ 54721 w 4496900"/>
                <a:gd name="connsiteY3" fmla="*/ 0 h 257442"/>
                <a:gd name="connsiteX0" fmla="*/ 4285304 w 4442179"/>
                <a:gd name="connsiteY0" fmla="*/ 0 h 257442"/>
                <a:gd name="connsiteX1" fmla="*/ 4442179 w 4442179"/>
                <a:gd name="connsiteY1" fmla="*/ 257442 h 257442"/>
                <a:gd name="connsiteX2" fmla="*/ 0 w 4442179"/>
                <a:gd name="connsiteY2" fmla="*/ 257442 h 257442"/>
                <a:gd name="connsiteX3" fmla="*/ 54721 w 4442179"/>
                <a:gd name="connsiteY3" fmla="*/ 0 h 257442"/>
                <a:gd name="connsiteX0" fmla="*/ 4285304 w 4285304"/>
                <a:gd name="connsiteY0" fmla="*/ 0 h 257442"/>
                <a:gd name="connsiteX1" fmla="*/ 4230584 w 4285304"/>
                <a:gd name="connsiteY1" fmla="*/ 257442 h 257442"/>
                <a:gd name="connsiteX2" fmla="*/ 0 w 4285304"/>
                <a:gd name="connsiteY2" fmla="*/ 257442 h 257442"/>
                <a:gd name="connsiteX3" fmla="*/ 54721 w 4285304"/>
                <a:gd name="connsiteY3" fmla="*/ 0 h 257442"/>
                <a:gd name="connsiteX0" fmla="*/ 4285303 w 4285303"/>
                <a:gd name="connsiteY0" fmla="*/ 0 h 257442"/>
                <a:gd name="connsiteX1" fmla="*/ 4230583 w 4285303"/>
                <a:gd name="connsiteY1" fmla="*/ 257442 h 257442"/>
                <a:gd name="connsiteX2" fmla="*/ 0 w 4285303"/>
                <a:gd name="connsiteY2" fmla="*/ 257442 h 257442"/>
                <a:gd name="connsiteX3" fmla="*/ 54720 w 4285303"/>
                <a:gd name="connsiteY3" fmla="*/ 0 h 257442"/>
                <a:gd name="connsiteX0" fmla="*/ 4285303 w 4285303"/>
                <a:gd name="connsiteY0" fmla="*/ 0 h 257442"/>
                <a:gd name="connsiteX1" fmla="*/ 4230583 w 4285303"/>
                <a:gd name="connsiteY1" fmla="*/ 257442 h 257442"/>
                <a:gd name="connsiteX2" fmla="*/ 0 w 4285303"/>
                <a:gd name="connsiteY2" fmla="*/ 257442 h 257442"/>
                <a:gd name="connsiteX3" fmla="*/ 54721 w 4285303"/>
                <a:gd name="connsiteY3" fmla="*/ 0 h 257442"/>
                <a:gd name="connsiteX0" fmla="*/ 4015999 w 4230583"/>
                <a:gd name="connsiteY0" fmla="*/ 0 h 257442"/>
                <a:gd name="connsiteX1" fmla="*/ 4230583 w 4230583"/>
                <a:gd name="connsiteY1" fmla="*/ 257442 h 257442"/>
                <a:gd name="connsiteX2" fmla="*/ 0 w 4230583"/>
                <a:gd name="connsiteY2" fmla="*/ 257442 h 257442"/>
                <a:gd name="connsiteX3" fmla="*/ 54721 w 4230583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3838065 w 3961278"/>
                <a:gd name="connsiteY0" fmla="*/ 0 h 257442"/>
                <a:gd name="connsiteX1" fmla="*/ 3961278 w 3961278"/>
                <a:gd name="connsiteY1" fmla="*/ 257442 h 257442"/>
                <a:gd name="connsiteX2" fmla="*/ 0 w 3961278"/>
                <a:gd name="connsiteY2" fmla="*/ 257442 h 257442"/>
                <a:gd name="connsiteX3" fmla="*/ 54721 w 3961278"/>
                <a:gd name="connsiteY3" fmla="*/ 0 h 257442"/>
                <a:gd name="connsiteX0" fmla="*/ 3838065 w 3838065"/>
                <a:gd name="connsiteY0" fmla="*/ 0 h 257442"/>
                <a:gd name="connsiteX1" fmla="*/ 3783344 w 3838065"/>
                <a:gd name="connsiteY1" fmla="*/ 257442 h 257442"/>
                <a:gd name="connsiteX2" fmla="*/ 0 w 3838065"/>
                <a:gd name="connsiteY2" fmla="*/ 257442 h 257442"/>
                <a:gd name="connsiteX3" fmla="*/ 54721 w 3838065"/>
                <a:gd name="connsiteY3" fmla="*/ 0 h 257442"/>
                <a:gd name="connsiteX0" fmla="*/ 3838064 w 3838064"/>
                <a:gd name="connsiteY0" fmla="*/ 0 h 257442"/>
                <a:gd name="connsiteX1" fmla="*/ 3783343 w 3838064"/>
                <a:gd name="connsiteY1" fmla="*/ 257442 h 257442"/>
                <a:gd name="connsiteX2" fmla="*/ 0 w 3838064"/>
                <a:gd name="connsiteY2" fmla="*/ 257442 h 257442"/>
                <a:gd name="connsiteX3" fmla="*/ 54720 w 3838064"/>
                <a:gd name="connsiteY3" fmla="*/ 0 h 257442"/>
                <a:gd name="connsiteX0" fmla="*/ 3838064 w 3838064"/>
                <a:gd name="connsiteY0" fmla="*/ 0 h 257442"/>
                <a:gd name="connsiteX1" fmla="*/ 3783343 w 3838064"/>
                <a:gd name="connsiteY1" fmla="*/ 257442 h 257442"/>
                <a:gd name="connsiteX2" fmla="*/ 0 w 3838064"/>
                <a:gd name="connsiteY2" fmla="*/ 257442 h 257442"/>
                <a:gd name="connsiteX3" fmla="*/ 54720 w 3838064"/>
                <a:gd name="connsiteY3" fmla="*/ 0 h 257442"/>
                <a:gd name="connsiteX0" fmla="*/ 4015998 w 4015998"/>
                <a:gd name="connsiteY0" fmla="*/ 0 h 257442"/>
                <a:gd name="connsiteX1" fmla="*/ 3783343 w 4015998"/>
                <a:gd name="connsiteY1" fmla="*/ 257442 h 257442"/>
                <a:gd name="connsiteX2" fmla="*/ 0 w 4015998"/>
                <a:gd name="connsiteY2" fmla="*/ 257442 h 257442"/>
                <a:gd name="connsiteX3" fmla="*/ 54720 w 4015998"/>
                <a:gd name="connsiteY3" fmla="*/ 0 h 257442"/>
                <a:gd name="connsiteX0" fmla="*/ 4015998 w 4015998"/>
                <a:gd name="connsiteY0" fmla="*/ 0 h 257442"/>
                <a:gd name="connsiteX1" fmla="*/ 3961277 w 4015998"/>
                <a:gd name="connsiteY1" fmla="*/ 257442 h 257442"/>
                <a:gd name="connsiteX2" fmla="*/ 0 w 4015998"/>
                <a:gd name="connsiteY2" fmla="*/ 257442 h 257442"/>
                <a:gd name="connsiteX3" fmla="*/ 54720 w 4015998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2 w 4015999"/>
                <a:gd name="connsiteY3" fmla="*/ 0 h 257442"/>
                <a:gd name="connsiteX0" fmla="*/ 4184315 w 4184315"/>
                <a:gd name="connsiteY0" fmla="*/ 0 h 257442"/>
                <a:gd name="connsiteX1" fmla="*/ 3961278 w 4184315"/>
                <a:gd name="connsiteY1" fmla="*/ 257442 h 257442"/>
                <a:gd name="connsiteX2" fmla="*/ 0 w 4184315"/>
                <a:gd name="connsiteY2" fmla="*/ 257442 h 257442"/>
                <a:gd name="connsiteX3" fmla="*/ 54722 w 4184315"/>
                <a:gd name="connsiteY3" fmla="*/ 0 h 257442"/>
                <a:gd name="connsiteX0" fmla="*/ 4184315 w 4184315"/>
                <a:gd name="connsiteY0" fmla="*/ 0 h 257442"/>
                <a:gd name="connsiteX1" fmla="*/ 4129594 w 4184315"/>
                <a:gd name="connsiteY1" fmla="*/ 257442 h 257442"/>
                <a:gd name="connsiteX2" fmla="*/ 0 w 4184315"/>
                <a:gd name="connsiteY2" fmla="*/ 257442 h 257442"/>
                <a:gd name="connsiteX3" fmla="*/ 54722 w 4184315"/>
                <a:gd name="connsiteY3" fmla="*/ 0 h 257442"/>
                <a:gd name="connsiteX0" fmla="*/ 4184314 w 4184314"/>
                <a:gd name="connsiteY0" fmla="*/ 0 h 257442"/>
                <a:gd name="connsiteX1" fmla="*/ 4129593 w 4184314"/>
                <a:gd name="connsiteY1" fmla="*/ 257442 h 257442"/>
                <a:gd name="connsiteX2" fmla="*/ 0 w 4184314"/>
                <a:gd name="connsiteY2" fmla="*/ 257442 h 257442"/>
                <a:gd name="connsiteX3" fmla="*/ 54721 w 4184314"/>
                <a:gd name="connsiteY3" fmla="*/ 0 h 257442"/>
                <a:gd name="connsiteX0" fmla="*/ 4184314 w 4184314"/>
                <a:gd name="connsiteY0" fmla="*/ 0 h 257442"/>
                <a:gd name="connsiteX1" fmla="*/ 4129593 w 4184314"/>
                <a:gd name="connsiteY1" fmla="*/ 257442 h 257442"/>
                <a:gd name="connsiteX2" fmla="*/ 0 w 4184314"/>
                <a:gd name="connsiteY2" fmla="*/ 257442 h 257442"/>
                <a:gd name="connsiteX3" fmla="*/ 54720 w 4184314"/>
                <a:gd name="connsiteY3" fmla="*/ 0 h 257442"/>
                <a:gd name="connsiteX0" fmla="*/ 4437588 w 4437588"/>
                <a:gd name="connsiteY0" fmla="*/ 0 h 257442"/>
                <a:gd name="connsiteX1" fmla="*/ 4129593 w 4437588"/>
                <a:gd name="connsiteY1" fmla="*/ 257442 h 257442"/>
                <a:gd name="connsiteX2" fmla="*/ 0 w 4437588"/>
                <a:gd name="connsiteY2" fmla="*/ 257442 h 257442"/>
                <a:gd name="connsiteX3" fmla="*/ 54720 w 4437588"/>
                <a:gd name="connsiteY3" fmla="*/ 0 h 257442"/>
                <a:gd name="connsiteX0" fmla="*/ 4437588 w 4437588"/>
                <a:gd name="connsiteY0" fmla="*/ 0 h 257442"/>
                <a:gd name="connsiteX1" fmla="*/ 4382867 w 4437588"/>
                <a:gd name="connsiteY1" fmla="*/ 257442 h 257442"/>
                <a:gd name="connsiteX2" fmla="*/ 0 w 4437588"/>
                <a:gd name="connsiteY2" fmla="*/ 257442 h 257442"/>
                <a:gd name="connsiteX3" fmla="*/ 54720 w 4437588"/>
                <a:gd name="connsiteY3" fmla="*/ 0 h 257442"/>
                <a:gd name="connsiteX0" fmla="*/ 4437589 w 4437589"/>
                <a:gd name="connsiteY0" fmla="*/ 0 h 257442"/>
                <a:gd name="connsiteX1" fmla="*/ 4382868 w 4437589"/>
                <a:gd name="connsiteY1" fmla="*/ 257442 h 257442"/>
                <a:gd name="connsiteX2" fmla="*/ 0 w 4437589"/>
                <a:gd name="connsiteY2" fmla="*/ 257442 h 257442"/>
                <a:gd name="connsiteX3" fmla="*/ 54721 w 4437589"/>
                <a:gd name="connsiteY3" fmla="*/ 0 h 257442"/>
                <a:gd name="connsiteX0" fmla="*/ 4437589 w 4437589"/>
                <a:gd name="connsiteY0" fmla="*/ 0 h 257442"/>
                <a:gd name="connsiteX1" fmla="*/ 4382868 w 4437589"/>
                <a:gd name="connsiteY1" fmla="*/ 257442 h 257442"/>
                <a:gd name="connsiteX2" fmla="*/ 0 w 4437589"/>
                <a:gd name="connsiteY2" fmla="*/ 257442 h 257442"/>
                <a:gd name="connsiteX3" fmla="*/ 54722 w 4437589"/>
                <a:gd name="connsiteY3" fmla="*/ 0 h 257442"/>
                <a:gd name="connsiteX0" fmla="*/ 4597890 w 4597890"/>
                <a:gd name="connsiteY0" fmla="*/ 0 h 257442"/>
                <a:gd name="connsiteX1" fmla="*/ 4382868 w 4597890"/>
                <a:gd name="connsiteY1" fmla="*/ 257442 h 257442"/>
                <a:gd name="connsiteX2" fmla="*/ 0 w 4597890"/>
                <a:gd name="connsiteY2" fmla="*/ 257442 h 257442"/>
                <a:gd name="connsiteX3" fmla="*/ 54722 w 4597890"/>
                <a:gd name="connsiteY3" fmla="*/ 0 h 257442"/>
                <a:gd name="connsiteX0" fmla="*/ 4597890 w 4597890"/>
                <a:gd name="connsiteY0" fmla="*/ 0 h 257442"/>
                <a:gd name="connsiteX1" fmla="*/ 4543168 w 4597890"/>
                <a:gd name="connsiteY1" fmla="*/ 257442 h 257442"/>
                <a:gd name="connsiteX2" fmla="*/ 0 w 4597890"/>
                <a:gd name="connsiteY2" fmla="*/ 257442 h 257442"/>
                <a:gd name="connsiteX3" fmla="*/ 54722 w 4597890"/>
                <a:gd name="connsiteY3" fmla="*/ 0 h 257442"/>
                <a:gd name="connsiteX0" fmla="*/ 4597890 w 4597890"/>
                <a:gd name="connsiteY0" fmla="*/ 0 h 257442"/>
                <a:gd name="connsiteX1" fmla="*/ 4543168 w 4597890"/>
                <a:gd name="connsiteY1" fmla="*/ 257442 h 257442"/>
                <a:gd name="connsiteX2" fmla="*/ 0 w 4597890"/>
                <a:gd name="connsiteY2" fmla="*/ 257442 h 257442"/>
                <a:gd name="connsiteX3" fmla="*/ 54722 w 4597890"/>
                <a:gd name="connsiteY3" fmla="*/ 0 h 257442"/>
                <a:gd name="connsiteX0" fmla="*/ 4597890 w 4597890"/>
                <a:gd name="connsiteY0" fmla="*/ 0 h 257442"/>
                <a:gd name="connsiteX1" fmla="*/ 4543168 w 4597890"/>
                <a:gd name="connsiteY1" fmla="*/ 257442 h 257442"/>
                <a:gd name="connsiteX2" fmla="*/ 0 w 4597890"/>
                <a:gd name="connsiteY2" fmla="*/ 257442 h 257442"/>
                <a:gd name="connsiteX3" fmla="*/ 54721 w 459789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7890" h="257442">
                  <a:moveTo>
                    <a:pt x="4597890" y="0"/>
                  </a:moveTo>
                  <a:lnTo>
                    <a:pt x="454316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5" name="btfpRunningAgenda2LevelTextRight318982">
              <a:extLst>
                <a:ext uri="{FF2B5EF4-FFF2-40B4-BE49-F238E27FC236}">
                  <a16:creationId xmlns:a16="http://schemas.microsoft.com/office/drawing/2014/main" id="{CAC5C90E-F5D8-43A0-FD13-FF7D2CBA885F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454316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Compensation By Seniority</a:t>
              </a:r>
            </a:p>
          </p:txBody>
        </p:sp>
      </p:grpSp>
      <p:grpSp>
        <p:nvGrpSpPr>
          <p:cNvPr id="10" name="btfpStatusSticker149086">
            <a:extLst>
              <a:ext uri="{FF2B5EF4-FFF2-40B4-BE49-F238E27FC236}">
                <a16:creationId xmlns:a16="http://schemas.microsoft.com/office/drawing/2014/main" id="{5EC4DD95-50F9-09D0-3F75-0930600DA95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355669" y="955344"/>
            <a:ext cx="1619995" cy="235611"/>
            <a:chOff x="-7286677" y="876300"/>
            <a:chExt cx="1619995" cy="235611"/>
          </a:xfrm>
        </p:grpSpPr>
        <p:sp>
          <p:nvSpPr>
            <p:cNvPr id="35" name="btfpStatusStickerText149086">
              <a:extLst>
                <a:ext uri="{FF2B5EF4-FFF2-40B4-BE49-F238E27FC236}">
                  <a16:creationId xmlns:a16="http://schemas.microsoft.com/office/drawing/2014/main" id="{62B47E66-983C-D9F7-2266-8E997A87D7D2}"/>
                </a:ext>
              </a:extLst>
            </p:cNvPr>
            <p:cNvSpPr txBox="1"/>
            <p:nvPr/>
          </p:nvSpPr>
          <p:spPr bwMode="gray">
            <a:xfrm>
              <a:off x="-7286677" y="876300"/>
              <a:ext cx="161999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ales only</a:t>
              </a:r>
            </a:p>
          </p:txBody>
        </p:sp>
        <p:cxnSp>
          <p:nvCxnSpPr>
            <p:cNvPr id="36" name="btfpStatusStickerLine149086">
              <a:extLst>
                <a:ext uri="{FF2B5EF4-FFF2-40B4-BE49-F238E27FC236}">
                  <a16:creationId xmlns:a16="http://schemas.microsoft.com/office/drawing/2014/main" id="{AB35B440-CBBF-D00D-2F9A-50275DBDC14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2866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D730C9A8-4F84-2ACA-8291-3060488B8952}"/>
              </a:ext>
            </a:extLst>
          </p:cNvPr>
          <p:cNvSpPr/>
          <p:nvPr/>
        </p:nvSpPr>
        <p:spPr bwMode="gray">
          <a:xfrm>
            <a:off x="1070853" y="5720969"/>
            <a:ext cx="4927527" cy="157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i="1">
                <a:solidFill>
                  <a:schemeClr val="tx1"/>
                </a:solidFill>
              </a:rPr>
              <a:t>R2R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403E9DC-D837-739A-DD93-D2B4E541516D}"/>
              </a:ext>
            </a:extLst>
          </p:cNvPr>
          <p:cNvSpPr/>
          <p:nvPr/>
        </p:nvSpPr>
        <p:spPr bwMode="gray">
          <a:xfrm>
            <a:off x="9864524" y="1431196"/>
            <a:ext cx="2003902" cy="679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>
                <a:solidFill>
                  <a:schemeClr val="tx1"/>
                </a:solidFill>
              </a:rPr>
              <a:t>BCN: Reported salaries for marketing roles are low N (&lt;3) across players and hence have been excluded from the analysis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89F4F32-76CA-106A-6268-2C131A23EF52}"/>
              </a:ext>
            </a:extLst>
          </p:cNvPr>
          <p:cNvSpPr/>
          <p:nvPr/>
        </p:nvSpPr>
        <p:spPr bwMode="gray">
          <a:xfrm>
            <a:off x="8747714" y="6141051"/>
            <a:ext cx="70001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EE13FAA-70BB-B757-B081-3A6213173C84}"/>
              </a:ext>
            </a:extLst>
          </p:cNvPr>
          <p:cNvSpPr/>
          <p:nvPr/>
        </p:nvSpPr>
        <p:spPr bwMode="gray">
          <a:xfrm>
            <a:off x="7367483" y="6129446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9BF78E3-3D90-CAA5-1BB5-479C1DAD903D}"/>
              </a:ext>
            </a:extLst>
          </p:cNvPr>
          <p:cNvSpPr/>
          <p:nvPr/>
        </p:nvSpPr>
        <p:spPr bwMode="gray">
          <a:xfrm>
            <a:off x="4858613" y="6141051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C2D8D3-6D3E-7E71-19C8-DFBBD1A28FC0}"/>
              </a:ext>
            </a:extLst>
          </p:cNvPr>
          <p:cNvSpPr/>
          <p:nvPr/>
        </p:nvSpPr>
        <p:spPr bwMode="gray">
          <a:xfrm>
            <a:off x="3099316" y="5488619"/>
            <a:ext cx="782757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chemeClr val="tx1"/>
                </a:solidFill>
              </a:rPr>
              <a:t>Peer 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A14ADA-7544-9337-9727-11B285CD22D2}"/>
              </a:ext>
            </a:extLst>
          </p:cNvPr>
          <p:cNvSpPr/>
          <p:nvPr/>
        </p:nvSpPr>
        <p:spPr bwMode="gray">
          <a:xfrm>
            <a:off x="4989470" y="5489092"/>
            <a:ext cx="782757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chemeClr val="tx1"/>
                </a:solidFill>
              </a:rPr>
              <a:t>Peer 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C8FF2A-EB06-87F4-86CB-57C7B56F1EB2}"/>
              </a:ext>
            </a:extLst>
          </p:cNvPr>
          <p:cNvSpPr/>
          <p:nvPr/>
        </p:nvSpPr>
        <p:spPr bwMode="gray">
          <a:xfrm>
            <a:off x="6875825" y="5484702"/>
            <a:ext cx="782757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chemeClr val="tx1"/>
                </a:solidFill>
              </a:rPr>
              <a:t>Peer 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1BBF19-D998-20DA-02F8-4CB7E4003453}"/>
              </a:ext>
            </a:extLst>
          </p:cNvPr>
          <p:cNvSpPr/>
          <p:nvPr/>
        </p:nvSpPr>
        <p:spPr bwMode="gray">
          <a:xfrm>
            <a:off x="8694432" y="5473647"/>
            <a:ext cx="782757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chemeClr val="tx1"/>
                </a:solidFill>
              </a:rPr>
              <a:t>Peer 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C20BD4-1B83-3C2A-FE9E-9ACB456FD04A}"/>
              </a:ext>
            </a:extLst>
          </p:cNvPr>
          <p:cNvSpPr/>
          <p:nvPr/>
        </p:nvSpPr>
        <p:spPr bwMode="gray">
          <a:xfrm>
            <a:off x="10531545" y="5484701"/>
            <a:ext cx="782757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chemeClr val="tx1"/>
                </a:solidFill>
              </a:rPr>
              <a:t>Peer 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3029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871A09C2-F456-CC12-8CC7-67E56CF452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948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606" imgH="608" progId="TCLayout.ActiveDocument.1">
                  <p:embed/>
                </p:oleObj>
              </mc:Choice>
              <mc:Fallback>
                <p:oleObj name="think-cell Slide" r:id="rId9" imgW="606" imgH="608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1A09C2-F456-CC12-8CC7-67E56CF45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btfpNotesBox914511">
            <a:extLst>
              <a:ext uri="{FF2B5EF4-FFF2-40B4-BE49-F238E27FC236}">
                <a16:creationId xmlns:a16="http://schemas.microsoft.com/office/drawing/2014/main" id="{0D549B1D-8B19-49C0-98A4-D0FBC2328AD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Note: Each data point is an avg. salary data point for sample titles; # of profiles &lt;=5 defined as low N </a:t>
            </a:r>
            <a:br>
              <a:rPr lang="en-US" sz="800" dirty="0"/>
            </a:br>
            <a:r>
              <a:rPr lang="en-US" sz="800" dirty="0"/>
              <a:t>Source: Glassdoor, Bain analysis</a:t>
            </a:r>
          </a:p>
        </p:txBody>
      </p:sp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DE8CA20D-5C0C-7326-F7EF-367D43E8ECA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5" name="btfpColumnGapBlocker622294">
              <a:extLst>
                <a:ext uri="{FF2B5EF4-FFF2-40B4-BE49-F238E27FC236}">
                  <a16:creationId xmlns:a16="http://schemas.microsoft.com/office/drawing/2014/main" id="{49FCDA33-6534-B19C-A9F0-349011ED642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525623">
              <a:extLst>
                <a:ext uri="{FF2B5EF4-FFF2-40B4-BE49-F238E27FC236}">
                  <a16:creationId xmlns:a16="http://schemas.microsoft.com/office/drawing/2014/main" id="{2D4E5A8E-75E9-0469-E9C5-4550589B229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743928">
              <a:extLst>
                <a:ext uri="{FF2B5EF4-FFF2-40B4-BE49-F238E27FC236}">
                  <a16:creationId xmlns:a16="http://schemas.microsoft.com/office/drawing/2014/main" id="{7B23D77F-5DC3-740E-11E4-F78894436F0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417976">
              <a:extLst>
                <a:ext uri="{FF2B5EF4-FFF2-40B4-BE49-F238E27FC236}">
                  <a16:creationId xmlns:a16="http://schemas.microsoft.com/office/drawing/2014/main" id="{CAE3A07A-6E45-DA9E-6A7F-60A80E7A23E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B697B92C-1C3D-14BC-BF44-D38FDA42620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807484">
              <a:extLst>
                <a:ext uri="{FF2B5EF4-FFF2-40B4-BE49-F238E27FC236}">
                  <a16:creationId xmlns:a16="http://schemas.microsoft.com/office/drawing/2014/main" id="{057E1A9E-C8A5-FDDF-71C7-69BE1EA5FFC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296643">
              <a:extLst>
                <a:ext uri="{FF2B5EF4-FFF2-40B4-BE49-F238E27FC236}">
                  <a16:creationId xmlns:a16="http://schemas.microsoft.com/office/drawing/2014/main" id="{ECA22EB4-D55C-500F-C978-F4D0386DFD7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241141">
              <a:extLst>
                <a:ext uri="{FF2B5EF4-FFF2-40B4-BE49-F238E27FC236}">
                  <a16:creationId xmlns:a16="http://schemas.microsoft.com/office/drawing/2014/main" id="{A250EEF7-0FED-2FF4-9F32-8E522E498BD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582876">
              <a:extLst>
                <a:ext uri="{FF2B5EF4-FFF2-40B4-BE49-F238E27FC236}">
                  <a16:creationId xmlns:a16="http://schemas.microsoft.com/office/drawing/2014/main" id="{EEFD0F96-B804-CFB8-29AE-59388E0A2B9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rget offers competitive compensation across different sales roles compared to other players 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189893" y="12058"/>
            <a:ext cx="8440615" cy="83639"/>
          </a:xfrm>
          <a:prstGeom prst="rect">
            <a:avLst/>
          </a:prstGeom>
          <a:noFill/>
        </p:spPr>
        <p:txBody>
          <a:bodyPr vert="horz" wrap="square" lIns="34180" tIns="34180" rIns="34180" bIns="34180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8_84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72672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720670007209267 columns_1_131720670007209267 11_1_131720674872631816 8_1_132390927635553179 </a:t>
            </a:r>
          </a:p>
        </p:txBody>
      </p:sp>
      <p:grpSp>
        <p:nvGrpSpPr>
          <p:cNvPr id="28" name="btfpStatusSticker925000">
            <a:extLst>
              <a:ext uri="{FF2B5EF4-FFF2-40B4-BE49-F238E27FC236}">
                <a16:creationId xmlns:a16="http://schemas.microsoft.com/office/drawing/2014/main" id="{FA727474-6B03-40FB-BB77-4499BE519D4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-3245888" y="876300"/>
            <a:chExt cx="1759136" cy="235611"/>
          </a:xfrm>
        </p:grpSpPr>
        <p:sp>
          <p:nvSpPr>
            <p:cNvPr id="26" name="btfpStatusStickerText925000">
              <a:extLst>
                <a:ext uri="{FF2B5EF4-FFF2-40B4-BE49-F238E27FC236}">
                  <a16:creationId xmlns:a16="http://schemas.microsoft.com/office/drawing/2014/main" id="{A4806A47-236A-441B-8941-C6C52536C08D}"/>
                </a:ext>
              </a:extLst>
            </p:cNvPr>
            <p:cNvSpPr txBox="1"/>
            <p:nvPr/>
          </p:nvSpPr>
          <p:spPr bwMode="gray">
            <a:xfrm>
              <a:off x="-3245888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7" name="btfpStatusStickerLine925000">
              <a:extLst>
                <a:ext uri="{FF2B5EF4-FFF2-40B4-BE49-F238E27FC236}">
                  <a16:creationId xmlns:a16="http://schemas.microsoft.com/office/drawing/2014/main" id="{688BC3B1-CD6C-447B-BAC1-C4EB3601CF0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245888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btfpRunningAgenda2Level318982">
            <a:extLst>
              <a:ext uri="{FF2B5EF4-FFF2-40B4-BE49-F238E27FC236}">
                <a16:creationId xmlns:a16="http://schemas.microsoft.com/office/drawing/2014/main" id="{9DD9CFA4-3213-32A5-0422-938D60AB297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6260234" cy="257442"/>
            <a:chOff x="-1" y="876300"/>
            <a:chExt cx="6260234" cy="257442"/>
          </a:xfrm>
        </p:grpSpPr>
        <p:sp>
          <p:nvSpPr>
            <p:cNvPr id="21" name="btfpRunningAgenda2LevelBarLeft318982">
              <a:extLst>
                <a:ext uri="{FF2B5EF4-FFF2-40B4-BE49-F238E27FC236}">
                  <a16:creationId xmlns:a16="http://schemas.microsoft.com/office/drawing/2014/main" id="{75EDC73C-7631-7951-EF06-1CF018B6D5BD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13218 w 1813218"/>
                <a:gd name="connsiteY0" fmla="*/ 0 h 257442"/>
                <a:gd name="connsiteX1" fmla="*/ 1598195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0 w 1813218"/>
                <a:gd name="connsiteY3" fmla="*/ 0 h 257442"/>
                <a:gd name="connsiteX0" fmla="*/ 1981532 w 1981532"/>
                <a:gd name="connsiteY0" fmla="*/ 0 h 257442"/>
                <a:gd name="connsiteX1" fmla="*/ 1758496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813217 w 1926811"/>
                <a:gd name="connsiteY0" fmla="*/ 0 h 257442"/>
                <a:gd name="connsiteX1" fmla="*/ 1926811 w 1926811"/>
                <a:gd name="connsiteY1" fmla="*/ 257442 h 257442"/>
                <a:gd name="connsiteX2" fmla="*/ 0 w 1926811"/>
                <a:gd name="connsiteY2" fmla="*/ 257442 h 257442"/>
                <a:gd name="connsiteX3" fmla="*/ 0 w 1926811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1 w 1813217"/>
                <a:gd name="connsiteY2" fmla="*/ 257442 h 257442"/>
                <a:gd name="connsiteX3" fmla="*/ 0 w 1813217"/>
                <a:gd name="connsiteY3" fmla="*/ 0 h 257442"/>
                <a:gd name="connsiteX0" fmla="*/ 1813216 w 1813216"/>
                <a:gd name="connsiteY0" fmla="*/ 0 h 257442"/>
                <a:gd name="connsiteX1" fmla="*/ 1758496 w 1813216"/>
                <a:gd name="connsiteY1" fmla="*/ 257442 h 257442"/>
                <a:gd name="connsiteX2" fmla="*/ 0 w 1813216"/>
                <a:gd name="connsiteY2" fmla="*/ 257442 h 257442"/>
                <a:gd name="connsiteX3" fmla="*/ 0 w 1813216"/>
                <a:gd name="connsiteY3" fmla="*/ 0 h 257442"/>
                <a:gd name="connsiteX0" fmla="*/ 1652915 w 1758496"/>
                <a:gd name="connsiteY0" fmla="*/ 0 h 257442"/>
                <a:gd name="connsiteX1" fmla="*/ 1758496 w 1758496"/>
                <a:gd name="connsiteY1" fmla="*/ 257442 h 257442"/>
                <a:gd name="connsiteX2" fmla="*/ 0 w 1758496"/>
                <a:gd name="connsiteY2" fmla="*/ 257442 h 257442"/>
                <a:gd name="connsiteX3" fmla="*/ 0 w 1758496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830849 w 1830849"/>
                <a:gd name="connsiteY0" fmla="*/ 0 h 257442"/>
                <a:gd name="connsiteX1" fmla="*/ 1598194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2" name="btfpRunningAgenda2LevelTextLeft318982">
              <a:extLst>
                <a:ext uri="{FF2B5EF4-FFF2-40B4-BE49-F238E27FC236}">
                  <a16:creationId xmlns:a16="http://schemas.microsoft.com/office/drawing/2014/main" id="{7CB099E9-B2A1-EF04-9426-9827F0C70854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23" name="btfpRunningAgenda2LevelBarRight318982">
              <a:extLst>
                <a:ext uri="{FF2B5EF4-FFF2-40B4-BE49-F238E27FC236}">
                  <a16:creationId xmlns:a16="http://schemas.microsoft.com/office/drawing/2014/main" id="{883F157D-8DAF-6DE0-7F61-7B3EB8C979A0}"/>
                </a:ext>
              </a:extLst>
            </p:cNvPr>
            <p:cNvSpPr/>
            <p:nvPr/>
          </p:nvSpPr>
          <p:spPr bwMode="gray">
            <a:xfrm>
              <a:off x="2192938" y="876300"/>
              <a:ext cx="4067295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963899 w 1963899"/>
                <a:gd name="connsiteY0" fmla="*/ 0 h 257442"/>
                <a:gd name="connsiteX1" fmla="*/ 17488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2132214 w 2132214"/>
                <a:gd name="connsiteY0" fmla="*/ 0 h 257442"/>
                <a:gd name="connsiteX1" fmla="*/ 1909178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2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374076 w 2374076"/>
                <a:gd name="connsiteY0" fmla="*/ 0 h 257442"/>
                <a:gd name="connsiteX1" fmla="*/ 2077493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1 w 2374076"/>
                <a:gd name="connsiteY3" fmla="*/ 0 h 257442"/>
                <a:gd name="connsiteX0" fmla="*/ 2552009 w 2552009"/>
                <a:gd name="connsiteY0" fmla="*/ 0 h 257442"/>
                <a:gd name="connsiteX1" fmla="*/ 2319354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720324 w 2720324"/>
                <a:gd name="connsiteY0" fmla="*/ 0 h 257442"/>
                <a:gd name="connsiteX1" fmla="*/ 2497288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4 w 2720324"/>
                <a:gd name="connsiteY0" fmla="*/ 0 h 257442"/>
                <a:gd name="connsiteX1" fmla="*/ 2665602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2989629 w 2989629"/>
                <a:gd name="connsiteY0" fmla="*/ 0 h 257442"/>
                <a:gd name="connsiteX1" fmla="*/ 2665603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9 w 2989629"/>
                <a:gd name="connsiteY0" fmla="*/ 0 h 257442"/>
                <a:gd name="connsiteX1" fmla="*/ 2934908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1 w 2989628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0 w 2989628"/>
                <a:gd name="connsiteY3" fmla="*/ 0 h 257442"/>
                <a:gd name="connsiteX0" fmla="*/ 3149927 w 3149927"/>
                <a:gd name="connsiteY0" fmla="*/ 0 h 257442"/>
                <a:gd name="connsiteX1" fmla="*/ 2934907 w 3149927"/>
                <a:gd name="connsiteY1" fmla="*/ 257442 h 257442"/>
                <a:gd name="connsiteX2" fmla="*/ 0 w 3149927"/>
                <a:gd name="connsiteY2" fmla="*/ 257442 h 257442"/>
                <a:gd name="connsiteX3" fmla="*/ 54720 w 3149927"/>
                <a:gd name="connsiteY3" fmla="*/ 0 h 257442"/>
                <a:gd name="connsiteX0" fmla="*/ 3149927 w 3149927"/>
                <a:gd name="connsiteY0" fmla="*/ 0 h 257442"/>
                <a:gd name="connsiteX1" fmla="*/ 3095206 w 3149927"/>
                <a:gd name="connsiteY1" fmla="*/ 257442 h 257442"/>
                <a:gd name="connsiteX2" fmla="*/ 0 w 3149927"/>
                <a:gd name="connsiteY2" fmla="*/ 257442 h 257442"/>
                <a:gd name="connsiteX3" fmla="*/ 54720 w 3149927"/>
                <a:gd name="connsiteY3" fmla="*/ 0 h 257442"/>
                <a:gd name="connsiteX0" fmla="*/ 3149928 w 3149928"/>
                <a:gd name="connsiteY0" fmla="*/ 0 h 257442"/>
                <a:gd name="connsiteX1" fmla="*/ 3095207 w 3149928"/>
                <a:gd name="connsiteY1" fmla="*/ 257442 h 257442"/>
                <a:gd name="connsiteX2" fmla="*/ 0 w 3149928"/>
                <a:gd name="connsiteY2" fmla="*/ 257442 h 257442"/>
                <a:gd name="connsiteX3" fmla="*/ 54721 w 3149928"/>
                <a:gd name="connsiteY3" fmla="*/ 0 h 257442"/>
                <a:gd name="connsiteX0" fmla="*/ 3149928 w 3149928"/>
                <a:gd name="connsiteY0" fmla="*/ 0 h 257442"/>
                <a:gd name="connsiteX1" fmla="*/ 3095207 w 3149928"/>
                <a:gd name="connsiteY1" fmla="*/ 257442 h 257442"/>
                <a:gd name="connsiteX2" fmla="*/ 0 w 3149928"/>
                <a:gd name="connsiteY2" fmla="*/ 257442 h 257442"/>
                <a:gd name="connsiteX3" fmla="*/ 54721 w 3149928"/>
                <a:gd name="connsiteY3" fmla="*/ 0 h 257442"/>
                <a:gd name="connsiteX0" fmla="*/ 3416476 w 3416476"/>
                <a:gd name="connsiteY0" fmla="*/ 0 h 257442"/>
                <a:gd name="connsiteX1" fmla="*/ 3095207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416476 w 3416476"/>
                <a:gd name="connsiteY0" fmla="*/ 0 h 257442"/>
                <a:gd name="connsiteX1" fmla="*/ 3361755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416476 w 3416476"/>
                <a:gd name="connsiteY0" fmla="*/ 0 h 257442"/>
                <a:gd name="connsiteX1" fmla="*/ 3361755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416476 w 3416476"/>
                <a:gd name="connsiteY0" fmla="*/ 0 h 257442"/>
                <a:gd name="connsiteX1" fmla="*/ 3361755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594409 w 3594409"/>
                <a:gd name="connsiteY0" fmla="*/ 0 h 257442"/>
                <a:gd name="connsiteX1" fmla="*/ 3361755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594409 w 3594409"/>
                <a:gd name="connsiteY0" fmla="*/ 0 h 257442"/>
                <a:gd name="connsiteX1" fmla="*/ 3539688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594409 w 3594409"/>
                <a:gd name="connsiteY0" fmla="*/ 0 h 257442"/>
                <a:gd name="connsiteX1" fmla="*/ 3539688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594409 w 3594409"/>
                <a:gd name="connsiteY0" fmla="*/ 0 h 257442"/>
                <a:gd name="connsiteX1" fmla="*/ 3539688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906995 w 3906995"/>
                <a:gd name="connsiteY0" fmla="*/ 0 h 257442"/>
                <a:gd name="connsiteX1" fmla="*/ 3539688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3906995 w 3906995"/>
                <a:gd name="connsiteY0" fmla="*/ 0 h 257442"/>
                <a:gd name="connsiteX1" fmla="*/ 3852274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3906995 w 3906995"/>
                <a:gd name="connsiteY0" fmla="*/ 0 h 257442"/>
                <a:gd name="connsiteX1" fmla="*/ 3852274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3906995 w 3906995"/>
                <a:gd name="connsiteY0" fmla="*/ 0 h 257442"/>
                <a:gd name="connsiteX1" fmla="*/ 3852274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4067295 w 4067295"/>
                <a:gd name="connsiteY0" fmla="*/ 0 h 257442"/>
                <a:gd name="connsiteX1" fmla="*/ 38522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  <a:gd name="connsiteX0" fmla="*/ 4067295 w 4067295"/>
                <a:gd name="connsiteY0" fmla="*/ 0 h 257442"/>
                <a:gd name="connsiteX1" fmla="*/ 40125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  <a:gd name="connsiteX0" fmla="*/ 4067295 w 4067295"/>
                <a:gd name="connsiteY0" fmla="*/ 0 h 257442"/>
                <a:gd name="connsiteX1" fmla="*/ 40125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  <a:gd name="connsiteX0" fmla="*/ 4067295 w 4067295"/>
                <a:gd name="connsiteY0" fmla="*/ 0 h 257442"/>
                <a:gd name="connsiteX1" fmla="*/ 40125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7295" h="257442">
                  <a:moveTo>
                    <a:pt x="4067295" y="0"/>
                  </a:moveTo>
                  <a:lnTo>
                    <a:pt x="401257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RunningAgenda2LevelTextRight318982">
              <a:extLst>
                <a:ext uri="{FF2B5EF4-FFF2-40B4-BE49-F238E27FC236}">
                  <a16:creationId xmlns:a16="http://schemas.microsoft.com/office/drawing/2014/main" id="{32B676A8-34E7-D0CE-F780-285009EA3274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401257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nsation by roles</a:t>
              </a:r>
            </a:p>
          </p:txBody>
        </p:sp>
      </p:grpSp>
      <p:grpSp>
        <p:nvGrpSpPr>
          <p:cNvPr id="7" name="btfpStatusSticker149086">
            <a:extLst>
              <a:ext uri="{FF2B5EF4-FFF2-40B4-BE49-F238E27FC236}">
                <a16:creationId xmlns:a16="http://schemas.microsoft.com/office/drawing/2014/main" id="{7360DE61-00EB-1DC4-CDB7-9CFB650FFB6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355669" y="955344"/>
            <a:ext cx="1619995" cy="235611"/>
            <a:chOff x="-7632925" y="876300"/>
            <a:chExt cx="1619995" cy="235611"/>
          </a:xfrm>
        </p:grpSpPr>
        <p:sp>
          <p:nvSpPr>
            <p:cNvPr id="15" name="btfpStatusStickerText149086">
              <a:extLst>
                <a:ext uri="{FF2B5EF4-FFF2-40B4-BE49-F238E27FC236}">
                  <a16:creationId xmlns:a16="http://schemas.microsoft.com/office/drawing/2014/main" id="{B0AEE29C-2E6C-2F95-F852-5C6B116139B4}"/>
                </a:ext>
              </a:extLst>
            </p:cNvPr>
            <p:cNvSpPr txBox="1"/>
            <p:nvPr/>
          </p:nvSpPr>
          <p:spPr bwMode="gray">
            <a:xfrm>
              <a:off x="-7632925" y="876300"/>
              <a:ext cx="161999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ales only</a:t>
              </a:r>
            </a:p>
          </p:txBody>
        </p:sp>
        <p:cxnSp>
          <p:nvCxnSpPr>
            <p:cNvPr id="17" name="btfpStatusStickerLine149086">
              <a:extLst>
                <a:ext uri="{FF2B5EF4-FFF2-40B4-BE49-F238E27FC236}">
                  <a16:creationId xmlns:a16="http://schemas.microsoft.com/office/drawing/2014/main" id="{18AD178D-FFDC-D845-901C-58253D54CD3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63292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" name="Picture 2" descr="Image result for glassdoor logo">
            <a:extLst>
              <a:ext uri="{FF2B5EF4-FFF2-40B4-BE49-F238E27FC236}">
                <a16:creationId xmlns:a16="http://schemas.microsoft.com/office/drawing/2014/main" id="{94E4ACC4-2CFB-4F00-3A56-48D7CB36DA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92" t="24891" r="10045" b="19671"/>
          <a:stretch>
            <a:fillRect/>
          </a:stretch>
        </p:blipFill>
        <p:spPr bwMode="auto">
          <a:xfrm>
            <a:off x="10885498" y="6351704"/>
            <a:ext cx="982928" cy="23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Ors9Vz809A9tOjB0Ql3r5jMmDeKnd4pzGelh4hcjysjF/ELuYL4gvK/ETcOLBnkgZ0FOXgmY4HfTxRnE4w//OSOpydWU9y7OVU0lGgqIgj491W/4pIlA6iZeRTwA/CIkaQ+Pr9Fsct274hEI5Tbmm4pKoXISibQ+a4hrWzW/UG1IU3cZbSDz26VrMk4vQJHYAkUM3bLVVCTPsxwAyMU18XxPmQ9a1Cl46wJZ22SLGLt58hKLt5VnoJlyNjnTdcWnNf6Y7wrxeJBFNypA1UYyhjHcs7s+LJ/AV37o4N9wEw8Dwq+sPmNM/g3RBQkAg3CBvM/+jFAmH+ZpRJjrus6WHv78b6Yrcrj3XjwYGdXFpeKxDkz9csm+uXjNl2Q3pFpZhvUYnjNg9UPV0gjSrpU+3Wszw0vJSUCJcEJqVlD2vmvGUeSIh3ZQvfo35wVUKZLUz2+zW0gp2vQ7jHKDmDftCRScVbkQZklLSbtb4lhjGbnRZNv1xyYI2XDpY8oMX3kVbEB9wcwQx368f3HN2q8WBb62l1HXMF+qXx0cxAoeC1R76HvarO+Ug6LU0c4wUdxsk53j9GP+UTdaCDgwAa/fNqgTJpQBt9JUWoec+5kvh3yYHPk+14j0rTGtIn8Hj7oYeEKEYGeiBOq00JWN9PPAa1+OuW/eqdVmULOEVgP9ytRkUc82/VB5JgK0j35WIh8XHFo2eY1sxZDnfBflvWEw6f5NezUS1EDg9oQHhGToprNvrIUr/pGKEQIrSokyRyJgn705AydGr4DWWZcqimpwIRj8+UQoUoGGpfWrOkkd3x822Dgn+EeT6I4otrHo1FIaYxS39aQCAtqLLFHk8Is2L/aYUNZjsfTFVPkX2OXCMA/jEcecaZXQRf9zCqn9qgr25MAOb5ibmTs7/wu6YaTv5AywIvT56v6tjR7pe1/zlaTSWnSIynzjO2Tt0fYviNEo16vBrMjkHRCnRJnGlo+RNPNqhhbQkz0Srj7g49HyCZCoj5+S5otsdOi1+XuKWAOVzHgquBMGcoIgQkjxkdWafe3UgA/UlmLlFWqps01WhlvcNjUEghuNS7kayqxZRB78mU/i5YAHal8U+zTSNSu0GS+i+KJbgPqqOVrNLTmmywgQ/orsYDMMxeW34hFEPoBXWd2ZXPIxyHA+jyRXkJ9QoDqm7S9u66oPxPLRkwD9VXKS1Pj9JS0t/ah8fa9bj4lPUFPLyL5yyrn7N0LpmcbpisZObEgZwqCx6lQ+bDUKURSR0AuSoTxKnOFVvqabW9Zd/K7hW8IaReaDwBFwo4tygQykLqdiqQh2zBVuM6WEkS5+0GlZzYUIDtcNoEiCcZKJdbpg/zRxwxlvMjCDKRT3BFcdcsLvWGvgNuA+h8a8QVuXWf3j1t7Y4pPjc0BL7oxu61VCJTQR8Eta3WO0mvkoydAHA0bVfV9yEMtNAEz1itMEcHOY3vsByYiNr3Btv3WWZDVO223TI8iqupIpKUHq0Pbzx2qPyGNstt9nMi/TvpLxFZ9xfi+HYrb4pDC1aICMxvdSxbgdSYrj0Qdknzfdo6yhWjcmjj2zj2YqKvYZ+E4dAtuHzdX5P1VLTFpxd0oAjYQXZ4KBpyC6f9SNgqnEWkR7hTH2beoBz2swa2dERkY9ScviusOHS+5UjOGJvgrwFd1uXjTY8b3RNk1/U0fAc9FA6hmz1q3JmpokhdOYhHeNSnI+JY1wMr/iaFGkLcIGX7350bkfSnlnUzBy+ExIjRVd3QDcQ5jec/y5Q9IXL2x8Nn3ksEG6QRiBwAwZrpp8HLwHo0IRjEkQsAdelXy5T1Rg0uvXIz9aZS8HBmJNS4jZepZU7z/AP0EJUizIAcAYL+KDsF5Vzyx8dvD0fsnY+luHL036VmkaHWpJ19jzwBOd6EvioYdd9CWwStONKwZJbCiVbRcxfkiYnkULgGmHFG8ZgbQt9LWeplw6Bui2kLXxQNzjhvZqPj9O703zyHxfRPVRNdOLD22La2sPco9/wz0PUbmFTxS5ReAJYghLCbheXNgy3BR6B4lPUQELqL7A2cBUym1ACaaQk2RGKDs5EMbboqeYKcjak0VrAf9DOJRYY/LAkeM4CSXDzMiZiJXZ69ODaYTC2F5jPG7Vo0+Yfrn2XNSYgBsjclaGTYvAY9GkTrryndTtwYjAA020wHEgfDPg6BDY1wOnfzUkoc9rQOCjDZFaKyiV1vOnpJlvRTKq9jY061+yYUqJ6L8aa0d3BPNdbZr8zGhSzhtQVLy+ku/XmOS82Cv7CwvrejzV7rrr6WrnukKfj/HomdhQVPuCwJTgBW5qqdfW66KfhBhKToDgHGmKeNGMR+bRpg2z0jsR28CXOLcC0F3yB2cPwC2yUrgDE0dF9po3ryMe0XX+/weLegrEYs1P3zfE5yqBeck+BTcNAU7kDyZRHDMkc8G9Bom+ClXVbuhrmtEJvRFHdOYy7s+czeBBLRdspWMxAUWMXJlcngGkwjpaYaWbh4QTmOLwJyEsKYefoyqdEubd7TKRnJmrQE3+wfHu+qxxkN6t86m0a7yZjOfzbgFoIh+jYY417gvCajp/pZJqANRBYw8jybz2f6JCgDgfwY3vf4ptOMFSfEHNUaExXJVJmdSCUpkuX/b7D5Kd7yiduYtzEvQJsktqT9vZakNr0wdeNCu4cSV7wAMpAlG8ejFmmvirxPZfVOUv5bPkWcuSUwPgfn1rlzAnBbLRA1WC/UlBsblNif30rnsZmLeoEbb0FHcWkH1Cutx1D/Ww3f8TleDElbYR4prvBwY1kpHAqbfLovkTGROdIGWC32WaZWAJ3Fp6zVRS1ElET7zsocLKhQTemEdRTBWUtN333KM2dtLbhftoBwaQax6eCGN1oKuNolxC9IOu+n2dumrYjE0iSwhmGfhL6pLktEWgreXtT3ykQZgIhmDemf1PMGRjkHDpgk0JoGgZuFnu1viFwo1kLJ5uk1i6JpUU3AAjehyhaKBpY2yyrC6HPS63imeRaGGkfnb0B8X/I7fkiGx9cLUhqNzVRkCNPU/VeBb8SjwjiPkUQyNmPifj0sX9hOvXsKmXGylxZZ3gUam0zRRKlC3N+a1M55pwe9dlpYsDdV2+iuODg2PkDJJJSgbAjEZ1tbCUelJsbGhj7y1KAr/Ct1+aSpMPa5dlhwc1ITzCAz60j42OeaJvBZismbHKP+7nrh5V6EYdNPp1XZ4BiekGlbIvSAy1xNOHAm2K0FKL859TL9bNe5JB5rOUC87Yoh7XZz/vsye2waZxEGBIG95cYmSwB1LRdkd0lti/BriELO2NVUXV5t4T9nW9HrSWnPgLeisaXN0y7xuGWI2pPX54yFn9/hg7Goa9OT1g5ybbg+s2DBFDx5SwtpVHoM0vO5uXMnZ2KrYT6uEmA6be5V3P4OHQ52QFE9DhdV9xk51WudfaJurrFxrwYcoixZHMahisWePNAQMFh3FC0/zj4cuhOGoS1Codw/xF7hItO96l7/dxtXiGAiqupT1KfUFfO2CMcYthEumbyzrhg/TiTtEdoK8uPCmjm5W46Ch+2Guo46p7a7McEM8zApKdeeRxxnrs0agY5dFpHPmJYHVZ5pruIJUTq8JfjF0Yntxr2KnxGcAnEyA4hBONCK6EoZx6K4OMxziNs9X6jXUS3t1ADbKTk2q5FLmElRs0Koy5Hogpiy1XZemKcgPQIwHSsRjT2/iI2wdTbXrzfe99ENb7lBxSgZsLMCNT4qyYK9qdiL/rtrNpeLjLcu1XI6tnQiCXVEtozy7nCjDhV482pjOzi+5KJm2ci+wIh3F4O56En2YfsM7HBtk26iBcUZ1rFXA5ybhmPeh52rxPcGqtpRzlRsQPpyKF1HF6Jm6L/jfJzUqUIx0PISfKqLu5J7TP08no3nLTras/cZAlRLdNDppu4BMnEzS8BKUufg5i3aZE+IX+MqumdjG3MOI6wAGm6q3e0frEzlVrGNjITBd8dtMHJ7VOl54bMfUXCymyDA8sIwacdjNAa0tpOQXyc0VWmn/YM2E24M3AhIRp1VG5AJ9/5paygZ/Ug3SHeN5YBLvX8FVpgpobhl/cTFSf/xgdPH03ZXVcjJtbkxnj27AqiKVwWTPMc/jC4gFGEAnHO5FCE0mIyiwY36iG6SBHQnumrRC5kImlLTR1E1fUYzjG7ggijQTF1froEplfpyBwEAr6R0u6+S+ajpg4S4scGaE1wf8w9D19CEmWF42tNvAeSmcABts/Q1BI6THGmsIGNfLH4k8ZL8OSU03vx85GNIddTv8TbPTXSayk0x9JaOo1231ElF9EUuvQceiWzTXuOG/lAfCe+bcuLLZnUAEZlc0jMLvOyHx08GvccOhvm6b5KdcXV4d0/Wq15ojJN0tymBunNF1cQ5jaHZJx0w6KJGHJF2FDmlW3Ks0sqBZUcoMnyGhXFIam+usFaLWsMMEiZEJBat/mMeSwrvH/qRJWSz6mdRCW0FiLG9m1wy3bFfObmLfWdR+Qn/0WgAoDxNhCKSEU3zDDgpG9UmshlyWwKxHTr7DrsKksa4dNXYWhG1AqGABdha+qwZAF4IoCsCufAKV0rjRmJwBfN9NNi6Lrb7uoLf2Bq9C/fJKOe1T33ubR/GcB5uboll1eqXBD59EwIFeUYp5VbYJCDXVmMKTl5pIpjD8pOnLqzojZfKAE9WmGmOl0CDFEvSUMjsCkCGBVR0IE2vbgpujumAKSctNWqruoxswH/im1/DOkb5IIPVaHrTbYtoTzkmIrwlIapNuylqZcB6kE5XZgU2lg5yFflZXS1I6M5cDalu/8KyGM2lMsWmCdU2A5jp6NVrfKoK8gaFmYdSFxb/wxn54vrcBFfAnME6hRqZbkGB0HY8t0xHxqqxh6kLHrlun9oJiblvl0wvIk/DkJdpfQZTnAisttPPax/kRlMswsO5lfsf2eksWeT4dg8kR61P/CYqYCKPfmfHhhx2TpVGPPZvfeEo8o0U8ydXvKyJ2nP2jeAjltd/SSKjyqoGKfS6BUfi/N25zoEBIFOq/ZKD72juUH31ujjb0+aGlNkgfify9ukeByWknaGDAzDZMD3K7JkoQA5I3IkAl4F0sgZecDw48c9ZtHS1a+bKf2OtGxdes6L0sW3RFM9EeQj32wAcWw4hlC6x6SAT+rRWCQg5G/sw+V0qszqds5CgDLWPpKPO1v6gY4z2rd+WKkvgnjAjkiu8AVoChiEDsJnF68w0eVi+sTtFSrbunv/TSNBHjVscaaMheYaAONNzEwkhnowiOQhxTcKk/1iSH+J8FZWcz3brXY7Hgb2EZQxzTf6j4+EO3ffVfi3fz6bUDI7PvaECDsLkXCYxd7QTSLqDGyk2TR7FWzLjOkuPxmX/3V3xwqYvFAoJnKWv9V+if7mRVQVgl6C2z+AIArVLBoX9scOCUkYiS8IaF8pX7T7dTMAoM/5JFpaTsooQq1SAPlmfYejaYsEWb49o1RWZbCzr+dO4zsJtx+S0k8/S6okdCiNjJp2CTuq8Cdsln8VZHRolTJw4/O8iNou84unCnm7YDc2rVbx5mb4a6VTxugRLTLh5iUqsoLH6gNwhKtWnIAr0rcTIF9tnzMqmY2PM/dkJrPWjsRr+AVpZ6hFAcqjCIuYQEEokkh2awozj0AQ/sRKRAcMYMCDegSbTBsX6xMnR7IIsCU9BcXSGSBSWVx3U6Mamg4ZJ+EevznCZ5VCqDdEwBoJET4s0L7pD+E7yAsHJNuUxAgDXfswhsmxeDX/Z2xRYD0yzYHXy2XgTz2vTZuyqdxUvGJQI/I+/uu5rOPLuaKwrLikVLvofHBpiQUcs0n3Y+R9ClJJG+R7mqTDYg2sz3nOiSfd+6bBxeh0OnNRmJiG4r4uBLIQRSVY5XKaK62sCXEbYeNJcfVwTSs7MCNq/VuGKSrMTQOMksAMKCKd4iCWOvf6Pai3EYhNqYpS4p9D4xTdvGLHMLqlpXqQIwV+1bX5fUev9iIwwSeUBo5yiz5q6ma3IQBUnBoiUJ6Eq6ME2xg8wbp5lCg1SxbKICo2IJnI7n208oJiK43eZ6lAyzZlkmQtHUyuqqBn0nEl2MgWkGUIQNkYzyxDZfb6vZtSh6QVn40j6qrpMM1tUXKhBRgaU84cXz8VFvDnZdVAGB4fvFLRcED5iDQPCpV6JAedsW3Cz3nCC0NBlzUQ8H6efn7Z10SEezfVD/kfywgdyetC/pUrS7DdKRuvoxKKqG9+xRVM3oA9wk+EPxBzprTpm/IHOSPMR1m7qu9y/6mCBRteJdCHmQcdOcZH/fQS82zYIoGCi5n/mfYHWgpJS35cCCzEX/pKGDJUO9KYE/rrqdCq2xxUn7kQVXyPb+yNhBohGQMxQ47Drzb6YXDYchK/1eVuFu9wN+sseNc6uuJpuzPBoHhlb1M07Fx84vXIZ4Bl0yhhc1WoKrXjulabpYPdqUTFvqdLlNU+DV+rNY9zfJ214RoOliLEQ0a3FieMBu4VQYbL2/pzAtMjpE4W7HoDc8hF7Fjl8F8lwjpPr6MCAxtliDMO/Z0m6/hJrgFiRS5Gfg0WrpwERJOdZIfritAjIQz6xrsbMbneYb5WYDyP1Fx7dAWbedHRQLfTSRTezUgYti1EmrC/d4YN9u8VoTIhlUCS49dcv+m57TKk0dYAtzchjF6heXGEe/cv89CQMCBQM/bxfhSHH9Fs9cD6CzPx1MYHGD9vRcLLSA8ha6H299eCUdt7z1gy8d3wtV6Zpgh1ObAUiNg/MqX5rOD4I6f04sWKjqhp0fNgZ1sIaHubDO2V+m2uJPDibX2DLzAP7wK1YvhDPtvfj70xDAVB6q3PIuwR4gyaw8sJpz85+G4XAV3uAX0PgOrLS6NYWdSisBj+I8C90VNBVtWRPgLszNmnrr7GSAoa6GBozl00rBCkLEL/+W0+AhwSHi5F2bOE2HBYZuzit2zIIrWYdTp2FyuQTtGrcoBo/PTGVTDpQTo+RvrF+LD15mBtzT2JxmFHia20xpNOwiKd7DIhseGVBpP6WrSb1BNV2r3bHP12ErORqWKm58WCra1YajOB6CxmIftzNmzm5XvXouRFJhkCUC4u0Y1LfIKvqxguEbzU+ZTEndKvVm+JNNp5durKPAr1Mo5fJk5j6xbBUo0c/KMmYUnQT3VBh1IrUUfYH0vqqWpqhXmyfL5qzjLLFy1rrAfJEy7nrU6MHxd60CCGYoB83RP0e2BBZIxgARO0+WZZcc0TNai45rgMRSlLDkdO9Zowkmo5NwA1FXc7BThso8vclJPr7Flw0eSTBheGFnBIG7IsqTl+VBQNBEkOEUUUcxLqMW0Tj4I100XdSSJPH83QArtu1ulFW/nUgHn9Afz3sNHXoIU+b2uIQ7wqr2z0aEGmW7XVIXGr2DyI3S1elRpWCxMZY/kXoLEHTt09Z9Tw1fhZLz7L4Y7wgVaIMZ6iYk/oKpf4+/Eyrb56q+eO0VlybKZEW4lz/HRRGK0WtdELWoXMK+ZTloMzV0IJbSoa9SRPjDYTAA5R2h5OuLrliNCgpZ5AoDs+UIfTQpnhdLIwRHjCzrA2Liww/diZvD5KsimBf2t2Bp8Sy3k4mRWx5yyXNZUlTaHca8L7eI+qmeQ25mXxHPJETI9qIsgt7AOxXOPOLranfnitD4U3EMH8+hj+3tu+a1C7BYMGXaTpMpfi4WnYoO0k4Zaj411x7wigQc1L9Q56WhV+7O/maVmr1PmSF/dXKfzp/iKQQQePLPl+ZmnDWf7jFzCoHoxc6j8UvOVhhgujjXAOvLqxG5pG/u4zIls0pYuQ3X+DUZLUdurZv9+h6aa5qdD6A6DDzTfXfpvvnHX3Od/7kzRb6h24cGv+1OQLvb7R84l2lIM1nwd2h7eWlq6crYZ/n6jwN/fSy6O3M2ghLdFVpYSQy0rD3oIpSIoD78nom3vhVN0mIMDk2tlpial8V4H5JEoHUlQ29iEvChU6PT7JkEBL1eyrD5p5E6LgjavikRMXMWzFYJu7hZQLhtRtrVdgKPlOuXQp3h7DuFxONe/0m9ZlDv5x+CDQAWEyzloEeZ0X6Z7PpX6NclA5MKzS7rzx0Do0HKOsMjEDPL8PKIAk5uHp1fZVETN0oK+ZzFRnvCinFfaCI42jG+QYJIHSJNB5g7Em5W9MVReCzmTnZ4YPvGoqX02G/3hslYH5/KcjEL80L9l/XD+DsdclstX8u12GMivbPJnG7aAmlR0+ELZHZZmTWtzm+1h0F7zUalZ9QahnP+drJJTuG9suM/oMLoVBUYQAa1vUAcDGEWhF/XmUhXQXi61+dmmHxkk9INJKMGY8xiLxuPCpBh7DHKcyjVwtn83cvWWHONr9sD9xZo5BrrKzfuVIno0W+tk1ii/qXCCKaXyhaHz1wKarKmbVuhufME4262gmrr38XxtrqhxyWGNh2ogRQWmX4fQXg8vPoeTQxSSMWCF+02xW0LRasnzT1nAVm9pJ+HpQN0FLMg6dbe7bMH4pUnfd8KSTNr0I98lDHYMScmjkaNX4E7k++TbQenvEnH5u5UiXqNtqg97uK+YASXT3Il5LAkEMzPLfFe/k3o1asmwAGimUPtYpAuymrNOSalVNeXJTkp1Yw4ltBTc3CiMsoU1HED6R4uNHHJmHmdHN6tVjSOmIqsQOy2SDmITAe+V4yJnOre4diigtKXr4EUt/C7lo96FSCSbB+dKwptXSfj6fTAYvaGqt3arqf6YD3gnVl5CQe2lTOmVlBk+Im9Gg2GpLHKj7CiLBBswljePSok6FGHZ8bcFLxucXDQGdHmPExMqNDXFCu38/lJ6nTjxnD7fvEtJVx7kFNKx7ScjU1lZ59bJGCTjdj6aQj2HeW5j14WBnD9IC7PxCyrhEDJUI7w7399NL7UiJcEHSCcd6HxxciVvXJyaVZhjz/sgp9rNVdu5rldge/jEHTyyu4XrCaFg3ynDo8I81CXyXREgkDDoV3aotlV7JRJVSPivfLvIFyWjq1Pm4itWvGnoqliO5FRiUNSv/gruF68MYHt3ahJ7vQAXkJhIG4XW7FVfdfruidHZB51w53mOkKiDbU5988wojFESCuZ1J611HdBntl4WjvPa7Y7gU2rUksknf8iMLMPF28prRIZX7UmNJVZu5n2/apQm/B0bH4GFFKAcm4KWfRNPb87BNmYki6/Kvg9qpRrUwRh7e8ZxtKthAgthYjb7RUiT+xkylJ3uWwQtIsgDRjFL03OE9hO7HitXBcqGhIegV6jJjkQQL+KTbF+A3PagQRz1cq5pRjD3C6hbQ1MaHa2paV0qpki28btp0VrO7Vn46hpm1840w9SuAR/iDoKyZ99OLJxSYBSK0b0mmHdc1vaPsx2Q2JXTRGu9tnMcnrkhs1BekgYodBZ4P3LNMkqei5vYZmHDdy2gLWso44Ufr29HoFC7xLcnG8NxxxUXD5yV7Nn1qEpA+XjjoqZMmowHVlmGTtjIQoY+7MaCJCfF6CpkM917cXjPfzjOG5OvbG3Y3ls3z9B8jKwwSGMkcBEibQ2DhQbyv58zNtXS2bm1gx4cVHPLkOY2ISo17Fbe8vp0DHrH595AOkmv8TGuvcHPiHTmez3ltzaRp8w9++lQ467pjxmUvkvX323Ot0APcSurQKiRGIGyYLGonPNhh1bpTJzjVCTmeDkbw4L/MPVQ8Kp98ULK7CW4W2TrgSaF4oFso2XkbjKSqTE3vx22a7v9iRVAfk0ZPFOXsNmZnbwaTtmu9rpu+VOnD73vI7Q+ziRPsJpffFU9BHkkh4QvA04+CN/ffuCdqG1SbA01NolVL9yRVDfCv3T8ANNAXO2YsIOYFIdE5KsfJbHR5fdB37XL0aJVrE7D9tZcW01YSKLs3gF4irnSRxLDV/8MgOtYzEHPXwzgthocVtfVT+1Jk0U1qX0IRDI62y/kvzFHqPzpASDvLoDexzNqlGP4+YTgMGh4+9ke5wn8Kla5g7bOFGQ2bTxQtY9Gbjbn4DnQ+D5B6HZAjlMNuSr8nViX/t+hLnDzhoFjePGjZZMLjGt34tE3ewlK6YiJ+JehDTPX3/Zg/tbcrk+7FbsWG4prNQGQ7mOoX+OXvnjVYlU6zIA3eiiAbDshaXMn8ZgJCp48yV299CN/AQX5PVcirigv77HTAr15wq1MezBGG/KE6KpnYX16wTDYPl7T464jm7/MEOtub/Pv002kQz5Z+QAaSpLTLYDCVFuJ5iBdCxKnrl1HOh97909FV3fYABLcehnf55Pdpwe/YNAAy/itLlSYuAWyYVQzNTtKf/QfsTHIOdjrY0yJkWM2qmw7yutav+F6uQZFdU6w5FKoXW7Hn5pWGdcSFBCQIzdSoQX1pp003bTVCW7KH+6RlhdOEeWVSkoyDokLzBoGiCNkGCfuxs2SzGunYSTAbbTwvrLHq2+vOqAtZ4S46gb9xU58V0lbiO7skLL/ZLIJGTQCvd/JK1iybaKeyWcuYM3bYnQZySqEG3dBCAkvBpO9GO7R7mRZXJuXNK1f7XUTpgFQqJZesn/vaoaxKzRAiVC80S0bzVZEcCscWa2MC28G29cmlkD1uYR19ItwDmSqlyqXDYVAB28zFoda/HaoT9/+gkGXXWQhC9th8h9aEyGJJyHAB4X6DUWk8xUz1Xn/2F69exEQCqNhLZCs5jdvV5Qp2dEKGrtWHE7FtpjLKtAg3O/6OFTD8zPJT2wvS5zL4lwYlHjX23GejCxDUZUfajjRUpGKgfAhFJaS6nQVD2Hf665f+qhsj9FW15DYqVFmgC2vosxAyyyaKfSTgo2KggSrcP9T7JB5GqWS9BVl/j7UZIm/fSnYEN0iVlXUuxOrxcctfUAn2cyt1MO3glutEv8ohRVuuLC49O+7/IfXfx3Ogc+gSbDoIoR6vB/POcFef6pzPoeI3wM8OflE/zD7hfV/HnpwOKYEns5zmV2gveXHRm5fhd8ZAg+M5PRUPWPm/s70rJnuq0i54JizxJTywnTFHCa8xuo+LBNkXnJk0P3W4ICODorqcrYbvBY32gi28PJ0wWPSOYVf6prgcGqafK94ULGtbyNbldd/p21HGQIvzFh6oM5xyD8Pg5epB2oLfhh09PokEDfFJSyS4eblVxouOqfwhhS8kwmRGtqnTuKkDWSOr0C8+M24hy3Zb99MrNMvo8/nQyVAkWaoK8b4M0xrtbcjt0xAcFtcj7cRl3mH2jFmR2uVooPTMhIpKsb4WBzFM91ujwezS3LoyO1dAszVllkK67vwMeprq4PTkUxHNKw2HPoZib0/JinMd8HEElcy+AhOu5jK+/X5CoXv58UwX49BJXb56J5NTjRhpbGIsLZlr2D5v0w2st5+8CYZkw4Yum7C4V2OJU5EsgUyI65mV+6tPiz1VSpobLKQwVEd/gK4sg3RxKB2UEEzRf9peSSR1jcBhfiOOP203EHeArCAvpika5UBECqrEagC7JDuonxu5KuUUppDUEoTx0v80DeceJeecT0vpsZ4oBM5WuBt6PFVU6W8cDib/ioL4jnpXSHWcu0YnOWPyundR4nbzP012Gf8LTDNfroSuLCJjuTo/oDbMnwkPUkDad62zDM+j3JgiSFlFRJTdHaFinefh30+J71g2zBw+s+cd/KZm0ui4QdBHRP1vlTBz5GqYIg273/LuINimPI13vnQKFeaHMU3NUxge7p7t0eOglWNwVrsBBUnBrQD8qmDCOmPP/V/WpoLSh0v/Q4JVp1HFKncifDSdUmynPj3TJOt3ROEgqmIsaC42nKAnIj0Cloz76LKCCf69teu3vEyUqTrZIPG2CkZNH+bf651UqIGFMYgU1ysrx52yykj94XhQ2yKSVPV6GKH6t1RUUmLUt6t8nb9pyAc5m39tVRGQljcHecpdIMPsqJmFjw8n4UxuHypeXjA3N79gIQHDCcKpM9RqVQ3ZCyr7c9mWkiqh/iQjSsNNLbIzMQDE6txnSSxNGuc6vKRx1Wc5KPEdxe/AFS68YdGHJQ0TH93F//HBsLtm967/3O3ZuRaq24Svg4NwX44k+UOvbabFWHVXSExj8TGLTuLUiQoJV/Z+zA+b9N35WqZJA3wmVYfwcywZSB4s0MCOj8a4SrKxtD4/ArP0zhTHHRkK0kkOIwraXIyxGUxCbZ7nD+VkLs2mHD7R80qaud9hFGEz9SMgJcct7DyB5A9DYxucjDViuj+OA4m3kxUStcclT7BJE0rndjzgZFtBMnflGCipGpwTXcaD/wlFKh5ZoSQKZ/IrRO8uWrabBETHlV2iV8SF0pVPnrIxb8WVsKHT4b6j8u5KWDV2AiviNDdfB3F//ysD+/X91PLht9n9FSXknwmFs+7FTult8g57x3XfPGcES/Ef2obtngSz45Gx+7SC0yLEgCeEErSmU0yqFr1u18WvEn08APX/DkhXwsbe4Vqw6fDg/lzcbP4p8Mb7i2WAUB0kn3uaT2zkVquwPSB6hk+gzBNjq4Uk0J34TYd9P1jOHaa1XQq9BwPqVQrYv7+UoF4Da7e5H1e724PgR0VVwYE+rIA53nhfo7/BxNdkh4A9vUqcsH3ir47S5qxqbIhZniew7zltVfmb4T8tFc9jRiELbA8cmOFTEuVdFZ+oAQDXI+dpgq1Za0UpP4TyK30WKeCPW7k//KjkeMgQEjeYNbKa7H8VDbbE7HFQz+Jn8nzlzW2j/hEZIH4S8x2l6Uf+UCVoAv7tvLOMCdjcQRauaYp+wSMfN4kf02Fe6RdH1g5QkpRFF/CxqM+LeswgFzT+xIfi+fRM8cCf2Ijwxvv1jiIVuac7eMHL6ZNDsREm4zGR43LQmaHMIUwntLaWq0wmbjagIl7Zb/FssYqLkMS9rTE0I9EkwnZITDZsa3YhfENCZhIWQXhiejxtPJJceToo+4hjMKDCwSYwcNYa2+XZppiKAMMIUdlJI11obiJSit3wFpKU6Lkagb3KaGIMxARlnc24H/sWhRRYtGbUL4hozL42DTEnC6ddy7V1S5ZPDurAKTdxeYT/K6z20J5g9/5I7zKhFUs3hMl/4orjMxwQ9J/uSjeRi1imEs3AGkzcCmpUZ8WVcMKn1KOlXbjFmgIS+ZBNAuuxnJEfyayfSrFmn5Cds7pkXVFA83ZS4nBb1uGvSWBm5bAXaRqXsuVfAmwQ5n048UWmlv+Q4MJ3rx7SkARboa/M1fEjYdoD/9SGhl6GSp74IfBN12kZxhqgvCdXWia8MbGw/URPPXlS5eH/twxCcjasHlm5hwZpMQehCbBbLQqeTxlWSUyRgokJhO3LGSvqPsFTvKFhITFCJeSaObfjOlLlSk9VWi1gY5iiotcJZmGOZvhNMMlZ1hLtUvNSnZE+GmxyC+f+/REc98ndVIRADUPaDgHF+44UuXYxtb4zW0V+ItzoCL3sbRJTIheXWgvZwo9eLB9RNz4Sv3rSeZDRlevRTNaNsI/zIw/gu9AFrM+cEgfX4W/Rd1j8Je7WwonpqjxZNZkokNB69ATj93qABcidJxRDW4SVgjATVGm6Z5IBCrT7BU50cT0OEBYZk9SME3ZW6OMw/uZf5jRu3HtnWP3J9J/sCfqSrfCbaWZWYMytRDmztOTvaVEEmreP3rHWLH8UdeJS0oceb2A9nUQWH9/fTy2fsJTQzpbk0eg00T+iKmYdz3GQNZmamnw7Ah2GRNUPQ0svgE4Z5Hlv+P+JPUAf9TC+GhawupGvKeJRUKeuH5yqFaAz2o4QRjRAP8IWu1JT2LMO3WZ/9UATC9cp6/9od52ZjIchnjVAm9gSO7mxKrMyKnbOepxn/ckg5ItpQv1vBQE93wY/gdv7t4RiJEhtpqIndII9kKWQIJOTHiCtwKoEX7gFBy5qUXapIKpz9r6oRza+nSCm8giSDNtWRwvWxhIOyHwOXSnMU8XWOtNMnITiZJ2VQ/2HTUuA7M0slYOnEZr0983sG3fYvfupPAvdXyg1zZLyWcjWxbR+VTE5j9V4Y1R2k9iJyIZleLKgTffMlI750LlSUoai3YNkHnLWya2DEluqWP7Ebgu3+f/bxRPlvJfJ3dCPgs1iCF284q9d/7fU+1VbIqPfVGjN3NIBkh7M+1h2CXS06JYiIhy7T13nhNYdLE9ayU32AEZY6jY6SzPHfpWntk75UpFcYOilwnCe5d4yuVjaPjOefwdXjMD7ZH+LHPRRDwX36GiPC7/nDHgXyccnDgW4tPdM6X7UiHnBQWPzW0aCq7u21vv56mELkEZkdf1WWBEPJoPtiYVxLaBllSUpTsURQyCq4RFOgnw0VPxbqFMec1vokq1blk3QM1h+HF4uSmIkbxkrKBv2fupASJO8CnR94ry5M565QK7Wda+oCT3HHETa+H668PQETeo6qY75naKZhU0ZX58jivNSRzcC9lNFeZHXwMtbzQ0dr5gjnZomgFolUF0nlkySWdOiiMmqlZIrm+D1W4lpGkpMoHvhhlAMxPiQrAYZiBJU2MPW67nHdzwc3+3TvbNOSJb1OhYxkIzQTlUQ1Rb9k3yhlUOv1+qxtFQu1hUghbn2TlWjOii1PUN12lKAsKfX8mfk8mqJxmfUr5DEfH1jpjVZtpNxzlcvrmjTjyYq5NZaToBOIaERsCaCcK+29udbJ0OrSk4H8ih+i5nMgd7S1mjM/riSVfPmc48P4xImkhCXtFcpK0amxLFRWv9BnHdaoSNF6T5edKjOIVd5eC8/6Gu3fKfItYFw11aN3BVGcI6MegUmz2MVysV+5LsYljofP/RsPL386BzBXxZVw2cwos+zlrGYNLvgctTdZ4xoTIuOT/Q49Pn/0uxLwWcAXUoBNwswdmyrCt3Z4pBgDjD0mZwieCsUOIg49PIxyoSUEM8eZ1yAqITNvzw9/namHTU8GXe/Z/dk/z+1pkaqgaHqlhmDjTLVPCnbyht1H9/wVfQI633ZTgxUqeNI+2lB0g+SsEJYBqJPRuir6FQ1qT1+VHfD6ChEWWXdUo1SWuQSzCcYhsYaCGcS6KtDdhYwvLjI8AKnBGhv8pDpbOKSd9QtC3b5qrQOC0PhkQFXMeC+gyT86UuWaLODvzsDFSC3Pldux78HFpZPBdDDI2j+JaZm6TqweVJUUcB9ExK/2U+Vragtb3CTwsy9tWpoLqD1rEV89yv/Cn5oVtwsGkUl1Ze6ZjtbmelWcwDn+l54audg8Ne29SHdLX6nTri72VKdg2jyAXIfvMaUMXDGNfLUKiLiYz9znwUc2PH5rH30a8tOjHRVKV3SZeQxagQrXOcRl9Q0CukCsX/B8CVT1eIkP9zm4EArgRUj9MNzMbdHrGclO1/AobwiCf2ZhsQleKO8Ob/LgsqLFhM7JIKo/Q9xvgvy791SBhD1AVn169xF15q4eh3JD0jyYmQ5UUCJDHtJnZymlPVgJl6dUeI4doKiSPoyzJXIPIcCIDRl3FgOMALNCifSNVTnvemxrsHVFNipNDdx8Vl2XaAEVL4Wteh28nNEKisyHd6PAxRW3haJ3eSR4XDvvET0FIJsFgNitZuRZv/zJDr92Sgvh/dSNshEFP6W1reX/PHroboQ8FsglDQ7bC7dAywb8HCCzi8X2h56VZkgFx+EbuJIojA03+v5aK4Hh8Td2lvKENW4fTEG1ONjrXCUi9v1t3FGON0Mq1VmTYSFdJjDDzFwHY4ab/HGtkgY0UIUN4RNUBDLH77O63QhW8viymPO6HE+Z4i9ypi7uEwmMjj3XAqZRjxwZf2WA813eQzCext+qshiunjAMV0fUnhFFkPUu4IINUGerlBraEPq1SaL2QVihaSxKYE3xqltysCXssZr5OsUK8L2PZK3cRkIS4Hf1A7GiIyMBrQ1TBPVtvwjUy+LO9/5+k9U0CmoigOj02rwMrbt/RciRhZA+fbVQmIK2IMjgXymP/K3qcB2HbTWbGByrgZ0i3XDfvw3Rii0QGWZbbHJORpI9WNoQXO2AdXn/PFcUs8U2UNVln3pWz5znsAlCRmXDZqfkanbD6d2lwcf2Y7AUOD80Pi+fj1v9Knhp4/gIAkX2DJovG+b076wkmBvawTvTt4TmU7lqo2f7OwYzxKqajXldGQ4FYv7VMSwmdZlpb0gs4i/GOfiMpG9FMNbqszf2JoDNVML6GVcJTwGE3lt9sZFFsMjeOSt1LdR4/7ojqaVJxmdFXhabt0mIcuWlkTqyNGQi8/1x3HN8p7XGGPwMVKVUTMEB16WuGy+Quvvb39hI455yUO+9j1H2AS6o2pgs/oYJqIdvkBA/WlCF7Fz+7IN3kclwuYLy20yppD6++egMjNBe6R/myWzuGTsnI/lXNA7d7a+if8nCh91mWdGK+OM9dKlFvv+UL/x76gWpcnKAOC/WCJsjwkOC4QdNa2JleCRG4Qwki7ZciR2djmJFRtDWQl+l/npIT+9/eb3nqWTAriC6W/woNy6o0Aj+hBsDhgJUu37vIDLeUKbdm5m1iAzCA12GeNHHJscuFHknmiby9mKRxjKkzgid+kMJeJCT1QiYBtBtWdCTBvtZ/iHC43Z/5bumb3KzQjBaOMfg5tCeZpOWHKO7Jd+VsEDzOreLHz36TJhumyOjx9mz9beKclB5RCUWBeRwdGbeIL0MvaBSU3gAsb3+tmmmBz57WkUgxFd6FqP94yclL7LB9svfv1h188W/KigEJnc9RjruwN8q8DntVew3aRvXyAEw4TqmmJctDwvtJCc3ztuCRJt91mTtnsz6HntpFCqiGmIJdcHdkKxW6FrmOGdR18c4YXloeY+iGATa7SQO9sdyqzAaNCO98WEo6HMc6VuZ5HNkvLmIhJSnpfV2TqITK4iu4DxQcAnMmtskv2cg0dcuXKTxsbefIgUfX4mlt+mlpEGIMCBR+wyGboND9j7zcSsKxfQvTJcrgnaI8Js8v0f8sbi+APr3BrnRYEyGkT7kTAeXSg2MwZUQL//SyDas2DE+Y47diXG9eHTAuQ+WTB4HfLm/l3KuEEuoZX/bhqk0/ym6UCIDAGcYt1bn06gyetyAvYDBQhe9jjMFAMKx+URISphmz7e6n0MxUwW/jG0YTuyTgqoz2ZYcWB8N+Rv3HQSD3YBRjEvQ8+xFtZ1qD/eQosZqQ2StzmwPaxu+bwYCprr0Cm63S4vKCThIX1O7Eoh1P6D5Q8ukKwr72K5D5ImI+i32jnjXfWgS7ZBDhaioc8rAEbErzEccIdbG+din6CVlrMskhkUJA63nfeNWu5H9CxszafbOUKWXIp8fQfJK+VoAYkZmKJy9KRkiWkImK+jKs8QJ2yhOkRtrzV219AkqKH5kfnJ0ZMOdSILOWBq/CMDOU8ngkPcPcQdsODaW7uMQxDBL81e2OGXIqeom9TSMYJ/inup4vb7hfXlech7lwYo7W/PGMGHxiXPwRnjzj9PmVCpK9V6Gt260NqrRTSuq3oSlTHhaolv6klOj9zdjQ3UFogZC2XiNl+gyr8fWCLTSYTNHczYNjlJuZyzx/fEA/Y8iLL1Lc0Dg/HFKjKe/zLm9igF4Pih51nhhDcpI/7aGkwoo7IpXUxjSN/d7RLD4O37POy5EwYuE7EPR35waqTR1DjYMF5aXJIdrwnyA8v8Nu3e18od+uXTuioG+u8LXF1VgLcTv2LCOHnQOaqlC0qRp35sZtKA/Aj0FTgodFYiNlMrEBa+JrfhgnXS/o2dEkAJqjzHDIoVQBDMYrK5A8tM9eBY2jTMSvCMhsw7jk3USvMsFanJOE5xuKmbZgSpy1n2MeRda8HfXCKyMCB4r5sQjFfg+U5spSQM1s1BpO/18L6RLs+04iICGHOIR9vPP7QapH6Szz9lwrgS3RKO2renVSI6hIgqqtV10yRkzjlf6tFwhS87dvI9b9pi64Y4GprNOLeISfXZg+kcE/v9m7sbOTk12gGqgTKh3sXH4JL/YFGnXf5TR99KWp5ts5O5XGcYO++ixJj/C/wnwBTRrjhFz47Ymfk6wT0wXbbgK/6EP4l0I/ZcOtcO8hOkLrIJ3rHvm4agUm9mfG4jEKpWDjijD76u5eYLz+WFI9843cNxZMuybgLhmzhYhD1iq+X4A22fZ12nLJNRBMbK8GOyHYskUeTTJmrYKSAqB3lI9gyyVN60dRYmsi5vRJy12Mx3znZIpIcz8QzO77c2Rgcahfj1rcgEkIdsLy0PqBOdCF7Xvmgxfnjp1NuGaJmHOGZVPLgSbjBhga7zJ8gZuwjfyTI70A82d+TErrMUD323kRQ2CR0JGhF9v8bkNVFvzyJOnzqmHiUS3z7ICEKlI2CgHQRiYDaKGLEhmhiXA94CsNc1va58/Ky5N34bMR1p2jeIQZumERlA+OX6FfmpRveRJDMaa8fjOeQ+PPRK2OKDaDUs8GcmJ9w13XwvhUaxQvZtfbXURM7CLaaiv8N3t3nHTI1Uda5yAv03y+my/IxVl34hsQsa1Q4i0BMeCMkjKd9DIcHPnTn6Km6gEdFeDZgUwbXoqLv0NJfm6kIHFSFPThYfwJGbsoaeNxG9EMjYWhSDEwUHRN9fjjtOz1DLkWwsroNFXb8w86mFBQA8o/K4f9qJtnQpE8oFKLE2nqaJ7DXL88alGJVMLzChFVFw/FKJqesKfoaao4ImwOT1zj2j6UFhUjm06YIBaCnKT5jyUCaSkMWZCp2bgH9tz0Mh4EWGKGExHv56pp/FQTxZDKxfBNJnyvIclhzFcIL0r3L8m9vIA3PMiVUCt0yofMbbVdEvYF85K73lOdmcLUptUZdlw1z0+qcgCfBp/FjuF6kDm4sT2PH1Q8fpJne7qfKwiEKjyL9IU5+74N7CTR4j5BFX2vY68PAk8pF107abd1ZXFLYQ2cCvnTWsbsAnx9MlmYCk2uepy8U9FLHQDqw5/GKC1S+f1PPtinOQyg5XEStta7DwxzudveCtTABxBSq87JZJgSi8gMQl7zaoXzMnP88bjV2SFRC0VXHd5iWQeu3n9XDxboS5bLJ+4eyKF4QWPQiykaHfyRH+gYA7dLqqNPOeqrKYiCnMMcqNVdIbgMQHat1ghFjNrbH3mEin8yJfGCzIKPUXGFMZ6qL50YO7Gm4+dI4xsIzTy1z92pPEghqA174DllbAQByiS+K0GojTkmf9tymvXXyJzHBaXgBh3QFa+aGzGSS/j4CjAL1AvENJhon6lg5eRDw3SQ/lpAJYEi/dh3CvfJcOZoxEzOyx4Lj/8MHDwxVfJEZqWk5exAYLkmkVUnrS/s4+PF9sVZzFK7LUyKG+rWArdQjS//kHTaxso++UWDoDdmKFe+2BrHCyIlh3CfL5rS6k3E3xWOQN7kG/pSoMBgfxs0t9D5xurCpcRWZZVazGinUBKNq/QksatU2sp0YdwHnRL1SIejDdJenRHMBMRNNbGzz8qruqFCZBocXBm/faexQkINA1ikCqB5gyqI+g0OaZSNW1ihjmf3kFmcoYNSHn0ygjuprreTlbsqc7A+rmSWFqgqwrqcy4flGS7N2qNI0eLzz2/vdiHNFpSSU/Ok/sVlzrxs6w2P7c3WgU8FZlUFhLjteBUSpZo5VsS5PSS59tpIm9pS6v3cQWOWdXdNRGJ6BvSjQb6k0BJvCt7yA9iy6SimLpcrgBQ5MCxShPTDbOJ/rQ68ovAEvETbVrSJ7f7oLhqRFxhNH7ky/5QT2IyqyGxGQt6KiejnFoNdo+rUryhvpx8+hba3sRy8SI6VjRPhvNw+oVZjev2A8UGXWcy7qOpOoKSo7wTaCXsx/urBYe2ojgEtzBwZaSylysV6PC1KY1HzXAd+hcmSbcb+9Bqcbx7gwG8HmvV/Bo7kV4nXWXfroWkJF1TJceaoHzmfh48i1S8wmBYjoR8jQ4MSbLEXBzp+QJjOD4SGOcs7P2uZe0OVByjOiE1HjwvKBYUUHSNtKrOUa6OUnDVps8nFw6RqQ6waoSwav55X5uwqBndj1QI5YS3AQtyuo4oWi+g82WIVGa42bZG+HLQ+cGy3AwOLgfnmZ6NVT2aDYndDeRrHbWzixi07EJ/ZcdXGjAZba9S8va6TAetRouGWkePXiIun97c2PnADsTfstMyuzaaBmS7n9O/ZED+P9oOEo99yV/zhE5mSohYpq9fnrEgk08tKWK4qXTmn/J2LNPgd+a+d6Cj0LyFWNMVYgz8QazheOYEaJG50HQF99ffuyzR7T1Uifm37f19R8fyVxcvCosDlv7Hw5MRh5vv3Hzmb/Z74d+VujR4VdWZyUMDeyN+vJeZUIw1a2M0HNtHE5NsZ96jVOju20VDEBzp7LDY6FMoK3kQhJ5zPhXfDCxNtchXqm69yvu+l7YblTciDFwf0tRWdljUSTpUsofM7oj1roW++oSle6XvS1kw9TQi33ojCczdqmKkQc7OkFIgQdeewelfWr2z6QtCs5x4Pg7sQqYkSfGaTnpgRFSDpigAEW2IakS95nn5CDViSJ1Jk3mfTDvfrvDCBjUWf0TD6T+cZ+drgXcwAOtgMdosCuBmBduajqWrq0CdM9OTkJnTC4YQ0S+3NzFAQj/WoU36pm3guftB+Fr+MnkfgDWsf0X6bszcJ73Y7ItMk/yJ9uEGslfW2vcpcFXpbpOIe7aII9fkeCH5vycDGAQqXCIt6oXXuAIIrKX+Y2eNCQ+F5MR8foOrD3I9gTAySHXeULd1iQbvwdjFmcJCeMMcuqGpvwuQuQIObIIKGQeuoxSNVUjDFYlWYnGRii8QM8eyL2wh34KAUwZkI4zREOgxV+b/Jqf221k2CTgt9nF3unTzskd5c174hy4Tde0+bOMEzvADep9OOoVef97m8PJGbJR/4oVsEUBvXH1xIQ0BdvNIBwoQBM68hTOrpswenN/zcsXPFG8PykU/w3c7RzrbbqKotH/F4IhvxXJUYI2sopFSSjh3WMseFikdKKnXfkkWcfCeqGZeJdTn4RBF079LHhAcci6/JsNVmGif/YznKIEJyIMdIjHCTx2Z7a2Hfv/snPtgyKvj0BhIkCoJ3+okkOr8h2EjST4OJK35jsnF+yuHj89cya1F0EzCPlmeU36Fx+ViiwwvRk3estarLL2xzoN84t02AZ+Od0xFKhU287zjijjilI0axG35H6uRqmlL4eXS1QC7PxLM9KH/7LSMcKbqxdQ4z43278HIq4uyTNlqibhzvfC+Is0KXS5gL+WU+Kzrr8i+Zl+2IKGPJSYkK8lzW4CKe15QD8KHwhe3BB08h8IQXTmzI7Xmr2QlrTk3ZmHbhwoa2uf7aRIyqw2po0/J7L+GjNRRxsR+kLnhC8l9o86CxIEME9a5Q7FkAfvoVr6WMaL/pZt2tH++WQiTCNhVneiK6YJoSonfn762guTo5tjLe3AuVDIrNP0PUPG1gKwX70kkp96XxaDKX14vd+C2DDF5o474uiYAM1unmw2kg6Xr1gj2cCwEUtvJoqTpAabV2+COjpNY9X6Jg7UfB3MEkJ/S4+HkZPqBo/YmI6/REJy2CIMKHMGXppmaYHmSGlsWSztEViX8zePb35+m6WsMnTyfxEKkDDDP9oVEo68NlJP4plzlejFW+Ml1DlOREPsSM5kFU5krGFGAws0zLpJ9i5juzj/RJcVoZwulpUC15Mz4DJAeTCx0k2sE03J3unJSLr5o/1ZyM25yyZcHW1pRjkoiYjSiSc2oPJjOhdxxB4kS764ZKUVbZKA4jntThghyVhIB/DnMvycZ3xPQMRwhBn1MkFcALC8NRFsPzrCU0Gr76Trn/xmQJHm/d0DmERlIIaWoHa7rGZkQabEZU7eNVUzX4p8rYPg5WEG5DhTQi4CbWyfIKW9HAMaayqzPBZxRgwf2xcfoB/c6E+EwBAl24Rxp/BNzFHZAcoV0mO+RQZmHwe4E72N6eVrxM+MgiBJy9dffJ26TKzwaCR51lsRg613tZB/tB/oY8Unaxxeow/8kbwgo+6s0cD9PFHYRWN61J6OkFiq/VcwoHWaxEwWOWB6B5lETuy8reXg95M9P1vYJyW4iF/dj15nsb2pjtoQapXleCzlNfRTV+MAhk8r6UWqyeC7j5LLjnjcyvw9wSk+UYSua44vm5JuvrFvr4Xs9/xOmSI019aeYZntuGSVfs7LWI6HkFhuYNeqhlSD8dpRPgYHrWHeNVG+Fau0PTfdEDZusGPUePKrwdfroCAovTELhBxvhMmg+AKc0Z/D2EckkWVXkleX4dmKbSNTN4kRhFg1vu3WDylhTTlgLyY55CeCrYk3OrF/RGlnk5QOW8NJOW9v+WJVRxFsI8W2csSM/bugixFz/BaoNIHwxHQC6W6iEYHQ9k03CHh/J25z6B/FQHG5LZoVmrzP3CzE+ofLTQZ86MXmmHbFwwjyIQ+PVCxWq9SuFYCrSwAfthVqJnAjevXZGkZsK+vqEUqybKa7vAv5Y6Kztrpxqce4rS6lAS89Bo4b1Ot7qtBYz9YIh/U4z2kHzkmiLHa/xh1xsG50hSfn5hFePa8DMOA1v8d3QEUFy6YC/2zJ70bxhRExGn+e8mA8QEVl1CMy6Mf/vLOybOtr/lbCM90APMgOsXyR6jJbHA+0uWf/QuaGHgZgq6nmEtfy43wvZ6K64eBHfdfGYj2FHY5sjcJvLdT8z9xKABBMMrv0nAzhmEoXRkry2X3/USV9AlfhHOmRHo70zRHZAv4DoVbVUAR7Ufi1mZs4FPCB3ejkI2VRjwMFmJemok21vyo+iHuRBtizjKF+DpenwQBvbQf8MED8xCg92+WVnmz2kzj71L+cA1u1NJkGa2yka+VTQZcmAlVSUllgcdFcZfxlyE5LrP8hECkR8s4kgUF2k6xU95HzS37xx7Tt+XIaI3LtWC+U6pnfO7tZFjRjRhuyai1f5RK8ivL8Bre8tE2H3kq+oFFyHZTO0+zjXPBV88iTAOMUhtbhA2BMAn8D2JbqtIWrkoB9zWcTd+ylK10F4A6qtl+G4dYjcIBD1eEv/qtRRGtjacnR81IMKDpgY9qz9py0Oel0ZH8Nvlm3lKHN0bicmBxnT9X2Wwa8py52LFrD8bZUsOIiZ2OkdCOQJuiAmgP7x5uMhcV3xK2NUe3XjWjvKFUGFmrOfM28VNKKw4O0VTdLbXkqTVuXYPOnLFmm63ZcOeSBgPBYOrS4axG3KxrHKtnQdMDmwnW7HfVF8qnCD1EtX0PjXg56TkpvCr84dmvbOdhJXMFFi2xUqjjpw9JbFsyixQR3wkwe+u5Jqx39KEv/TZ93ipwiR4P3BBXG1uf3kfeq1lwe73LhbXcXIhcTAxY6V2VoK5jZIXzYiA5Kl7obg/nPhTRaAEvei3vBOJcoaHRhmoTTUOeoaurmH/iIyd738ao9x+RQQ3B6qXsJJTrkaWGvHMk57Sv7h6GxVgPxvHaHrTpro9dzIbBEEg+8TrWvd1AmHLMqpPbGvuJwbqVSmsFv6GxX7gsr6yGdvA1MDqsadKXSChU9K4ZBigxxSW3YOR9MZX9+mkYFjmE4ZBnCfJtH+9VxpiqQJE9HMu5LtiKr9cCS/5R1GcJq5D8N1kMPnHKAUjwFjz5yxQYBMHlukzjlWj2o4ijsbGhq1srjNJXz1/pYnduCHQMGyxgYUDOcWno8EyLa9RS4N8bPLzizMD1bH310yCznmxyQdaQoOes7Hp21KSYzOnphtZleZcB+8o+BLnnPTXXbIspfe8oRyqeJWRTyIDX/LLpTOwVSYYpnvH/eYLg2HSncmqpn/EaOcQBQG8za4O6kcuaRDsT740tmtKLj12bA1BqS6y9aTBlj4jJtHumYJKpVKrGK0HrhQf25vtskuAf8H+iAdu48tG83DCdDRPyzh0sxFAk9soUup0IFjdLOLCilb/Geh/LIVmKWuMJKslJ5TQabWJ9jMmPc2Kma+OA5HecZ5HSu5HoCOLaHiNrz5igNjMVqOAmQT7/GcBUEQ2GPctpe2/PM+XVqseC/N71I3KBrfeeu4kSYPfLb6EbK0bjSCbHbt3HIYg9MtNZTfLqVOwOhnGo8W2cQflZw3To6P6eBli8tZ5uHml11qgM5xDrp+zlHQXrMirAK5DiRvrrpCPEqme/yXmv86WU9LwUjR3tYrurQgk9yHe3nTXQIc4FqmCA04htWl7xLc7rOXkbtXzYOd9giry+dOlYrl37rG9QHL6tyltSm0kqFh1KqDce7QelOf0SSgHzPtY7DsOVrk9OR6PjODiPxNwuSz8OeWfG2RJfSGTRIz+k6IZERYAP8yG0/gUZES3WhIwelgMn1oG76/1z0WuTfrG/ikZmu0wD99/sABNFQ4/htgNXoB8OK2jsth16hIXizeOh7J1Q3SpGO7HUc46P/c9sea0hXtmPWy/VeWsRbrV5CdT+FmZ0ZRD8xEXAgrLlaPCyXuYrQ3MeomiUN3yewLJVJRdf2Qo6kBS/IyvBgIgS6I+pAtqOB0VJ0pSF5ZZ4dGXFRP0RT5960UI/rRCEhtgpneQLwkDRA0fzsQSuXE1OAHLZy4iqyZJOsA+SJTqxjDIgsPNWhapjpJva7zjpg9lv+zZtgOUgPL7IO7djBG5OmhMp200Biwp88AtAZJ1jQm9ZaA5qYh1bTrsmtYC8f/HrWLoJVOxuxHr4pO9+WttlV+tJ+Uz4hisO90Tv1VxYBkRfu7m8VvlwIMKSzJg/y6fE3s5zUeoyN5HqERPKAAbvW/rTK7CebBb0NYdOu7Mx9dTw8IHAs1/SKT2VjdabMigM7WS36bVhm+ADVOWk9FUPJS5fYkws1w0fTAiI7TsWaS6CkEmvxzACtIypkm93AnhkvMpWpnoWpXmq0xsiBFSf1B4kgRK1seZqjC0zybKv+8SuMGr67NN0z1Gj1LH0FPSkgKioL7oC16+5IYSFAg+OEsqUOIgirSX7jpEglmVImDkRlx+IJIl3L9MrHT1nDpVx+ogYsGQX3JEtwQ4x/NKZ6MzWJE52lOKxHjaS/f7xTjM+5Z+FuFp4o2pvdxgZNJvUkdlxiVj4Qa/8xh14TDDBJuiA+1uCUFAT8l6N3X1b6yWg7k4Z7I+gAd2bguC1e6ripqtbLv39JZ0cIZAk3FwCM3mG+KNlAGQjlZm7+xRJxyqdaWewNOt5B5QsSl1aa2ZbtcZleOawri4koKXL/IwxcoZViCPj0iTIW8+UOeq5+eo9SHpmAqxxdQMjRfKQk99Y0HlZ+H9OPDa/+Bk26iGtfqJIOlyQIi36ZxzMB4wxVb6GQbuutMKruRjeIuXEHVivfkCuxYW43qjLxIM+sRC4fcgr8slIFTrOEp5nLGlrMu/FdydhySCxpdZ/Evul10jKP/ihC/7m7ArWr0rUotJ5ZwQBZe/wOiO5ik+zQU074QuhQmU/r/g5MXbEGWiQ+3SyWQywlUmw1h2LedEijdmVsgP0pysOnf5AvRUgvUV0KZ3sSMjbKBIgg6uEHKn48Tbz2CPy4ssddiF6UW4qpailY65wIJwcF5E1Rm0j7WnXz4zaSX5QiDzZMZK4aEIJK0bE4jN3lRXQs0wraLvhp3kk1dYT1sf4mBuvj6vtiGo0YzKio6YZQOB+IITrWHXjAibChVaWTHyrufIU1XTTjBMudrgbxAEj7pwOt/ly8Tm49sOITRxLnmTLHTz9QezVaUGSubEDQxXfDD3uunm3VASt1UnOB0z/YKnUJr9J5xxbC4pu0smbuKruy065gQCg8OA4tFlkI7lN4LIXXdgsYOkwavfl3rGyw7qBQYIVaHy3rGJLSYVfAcIQV+p+FIyBoGN1IZVlUYgZyMMUYNR8A0qCnFeKh0hOkmkaMeGvKhu42UiMFWhFhdFWtXqIx0hST1sZ+0OK9lsJxPfO1uKf2KlPrKBa4m48yJBSaNNaujQwr82VGhITwo7zXTk3ihA11XKN2pj992r541L/SuAmyu3Zk4vzaAgbJie2zoDTIHm7QmDL9uSTN/KlVHWJE6X69Gx5EBN2nI8gF6UDNo1RdHfOiUCSsiu0u/SWEJuhRmvmi/jF7VSI7HfrYfmeKfFb+lwKU7Fy7F2DUSUu+55J37bFJwG+w5TfUZAxJ4oruVtSsdQPjIOe3lZDsDyaowwXQSA+BeUb3tKzXCfpEL4i+YyvYZempB/pua71EI4zublpeCHqpkVg/bh3l/N8Vd4Y1j3Kv5rLpn1urttzocFykC6wi3a+B4/oIDl4vC+Zs5pXqIP60LOMGXf1iVdKTn4ZiFcdqOotfbnKHTFfg/6+fpXzo9I5iO+WrxjVIzfLRbbkQ5KE3OcwaPnf7PCCUMNzErgWjhODR1DqVBpj2FEZESjSQQCv2115+LpiDO6ugcfENmCiWT2Txlnq4rNN32znH/bC945iVKUJf9aJTX9Moa9ZNc4m19/f0bd7kfnN16t53D5rn1ml8YJrEow91FiCP6R0dpMeVBwNclRM7wmTKdQF6kKe0hNj/YwHql7nLze9OCJBCBQhKB+6/Snlmmz/K2G3xeo4OBphgpL9B+RGdjX/lypfcpOV+LsU30Aol0bqQoAWwJ5Y1ptz6A1eXNMDOlfmsExEHouYY1foludSad/pMB2QctxUVyaWEDbWtbWrEnPZb8i0m2Gs9XAW+9gNmuHfvJB5hUpBTXfc0BJhiW/dG7M+EgpDSiK0e4DNHSCUpq1ow6h6l60kpwZVXQUiTacwqvNabFCgnGAlhxLL9v8gXCMpX8Vd4Q35Rerb4ejsmvIjuoCUiHykn9EghAt0yq9/Oodc9VQCHRhTPP5+oUejqfidIcDXOTixfURJ3k5cjnoI+IXDAQC0JeG0RF1MaGjvPh6Cg+LOFO821GYbB/cXtRMn7XQDUspHrVSaj3chn+Bpj4MWO3kzG2XvopPfZOeissR/KRt/dZ5hQvxLYJMyzML2Mh7cXF7N10m9qyU+rl4AWm7O/vnlX733VFDOhEQh1w94KwD01zbHJZmsYxUCkkvzsE3AfDyiZq8xbY4FMCSsKjGZw1vK85KHlyrPZM1kQUYN5AIZqIP1YhOMZtJlx8yA/q4Nvqjbzi1GJb9yQzpCheOcawTQFL0yzV0FGENuWrZCdMZWKplsRZSksaU80K2r/ImKxS/UOKc8CahhAdnU6IDZ2b+K/yfJj4wJKnogTu2KuWhoAL4PdIKZtmBn775LHS26DkbgRVu3Hyi9tKGXAPV9NZ+ZhTj6WFprDt4LmAbBC8FC61+Qkh5vyHkTwBms03d3NdTvVf6lHjnP4VN++V4OedJ+W72+fDWTKspGg6XO3a1zhzqKOgkcQeYq4Ze8xZCOSCQLC1jeaZzmp8j78BIns312eAj0DjRoVZC+VA2heKRQb8RsvCEfI3oC8HRJzmUKhBr/IqQPSoe6J1JiOx3HEH08/qNxW6iK2K4w5LXbMFhe9mZpatl2b7aIw998NoOAp6Nruu7fc4QnZ6XGkWWnzPcnKR4coinEgB/GpbcXslmhRieN1sxHOaJUr2l0HDsB5074cy+o5wp8Y7pb/5UIxWV0eo9wPiNALdxdi7uBTH8IWOJtglpDfaBVrpa5L2rL9kTB61pPJSIFQqZkSccYM/aOz6xwBaOatFBcyVv4k2jyRGqXwP16lW1OanBSSyAYLg7O20HIXG9J++BE7JrJrH77vV+lpvWwR81SDhlx3hnhx1ll+mSgpwJpanoaY2C3qXXphRevlBCrwqvg6i+fP1E0OlHsYx5GAaxP/EHJK/se+E57ZbZiVJZWKmRulwaCUmv/jatiw6fUVBnLo17rmVdTgKbPifaPkOYyXhchMClqvMjo2tKUeQXjp75mjpQsnW4or/KC21X4qh8jakIM7VjIJdqrAxxw5YShZMLmcUQ0vaJalB7w8sflRbLkVzYVkEiH6ziGukx9LHl6tTMQ/E5t/gSg/mDO3+pWvOFDhXYHcmKrH3QGlrYKhr59DXhcu2Jaran7KaCN8aacUYzwZi6mItdR9W67eX7llEyZwD0rhSXU+GvONDnfM7MSzMxwWBkqVEt7Q/Iv4YNGsPvtaFLC729preLqFmh5eMgNOq+J8dMdbn6s8qXACse3KRcM0JrQR6GwU5UFxnMYjseOEsh80cojdmdRlNfD+jzpKzK+nO4t1Pg6Laefy9ZlimV0CNuvjjC3eGD4NBQq/Jd7RuDA+baquuMSE4A2ecorrNtWFXJS1UAGT5Jer3+UpKZvRGKM04IhVpKSu8jfFu+WGn80v73AoCoMt2sFRZhdo3DI2EszuNKZxGzbHhZF9dY1EurjSq4GJOCyAQToNROpu7ZcmIhdzvPhLhIar+czxUlggbAcg+tfUYG/supzEWGZUwIflid6P80671KrBQWZPp2mzOh8gaSZXlVhtHTd3+7zQEsMCESCmhz3uepv0LsEDVqObRqkfy6lKFfab/Fkm7K+G6TnlDZKWHX1IsNwrAsDwWZoB3ex8Kswes7JR4gNwg+pGfG2/xA7Q9X5Ve3og7G+iXl/SaK15K2e4eiL7z5mJeFpIfDlBYCQZKvFMhM5bUUR7KDTxMdIFZN8Z3Yl9bJybgqpTehUapv9Y4wUaiDLVGkN2YRyT5OArUpLj+uVSm9QXf3ul0PThtzlqy/dSi2WmHAW8j2+9vldxXJ2GgAlfWkS0uUp7kDeipdALS+Uj4X7foOTmFP7AEz8pS+gJCGpANGAqx3IkVg4iaAzP2AZeWOzxzp9XcvbvBGVUi2YgiIEScdFr7zID3BrnkYRVdwkqk/KkfgAyuC3+ZHfXAIZLgWUSil50c1pb4egYS/201hyW2oSclMxxQoz+AGDZ0pSid7AD2XqDeMC3zGBgBjqqvJKSr621dvI+quoQymTnpGwZQr9I8OCY33nQynHWse81O1qw9fpgarICjsODkpLB6+xQ4HbeVMcanxgyX8+M2fpFQEhXeZpq27wXPPQ9CKea0fTbPdVxn+CYE8Yus8pi3emtih1mPnAeYdq9qcyxg6p/+iCUK7kymAcHnZmV075H8CY29tBmjoyEmh8AosCMXTlAUX8SyBnPF0chZcqdodXjEsSmBmfeVxPBQZLqxL1gWQjT3zNclxxU+PI6Zt+zlN8hozgNDcEQzHt4qLTDGwEtz17IhuuxR177k4Mu2Bzz8ONVkueMkrRWkRWowdCADJMafUUtDBEomCwJ01gYg8xae1ah/Cu4Bx2AMQWMwD0Dh/Nsg0sndF4c7gbr9+UCIaZwSHx8tpjARunhqcQnmp8V0FiJgEgoUEbOcBiaRbjWDDfrWg9YKHiXaVMFKo/9Sty7E4dQc0XAhXy4Gq+1q8YjkU/VP2PyRUHWpEed1L2R1I2UkeiV/11msiklQM/Q4zvVLZ6lv5NPPzpAqC1ld6wOpltJ6nBGP2oC0b7bhxgK/hPLdt8ID5Z6cHhgyVPDN4AnQGpMT9lB4BvN7mEn6LkaBvVWu40fG/pKgU34JTcKTXqg/LnESHZrn0qgoCqUvZASWxZ9Ucp8P7LAeHn55EvWU8AfaJMmnWecR+jaR28ADlVnTp0hMOQ5WJyKv6BEIG9G43rD8kGABPSRFxw06Gu5HJo6XugQ0sFEI8JFEFZTpogOoC0kq3kjpEaiYinmNybGonzMYF8VgxmIbEuj+ehY5wqVqG0ayGE7pYI0ROXkBTDJ9h8L/dT7Q4kT/R7nGoFFoRWZGbVkc1HJ4zIQIBTmnVIB9TKUJ3OvkxgapNOufOWs5FdjFvqybYfGoUeZFIrLJt4/UOyhH2P4GlHRLwqj8wy2GGLhqsfifdWOI80qqPpr7rkal+gPMvhCTU5Aul4KTydimCtNhm1741c7RZLk5AD95NYeCrFJMxqCSJ3/ZQ1XZvcusAziVEkYhd+ey3H62CcWQbK2dhY+6F6SDAHP+bVzyCH+brKnX7n+CIgFgsDmes7tBO+AMCyPesb1gi4Yj+8HGW4Q1zCAaCCqd7/Kbn23OtjALPuIhbiF5b6Wk5ZpsQw1dSoYxucTW23RHDe+QDhMPWAvulpX8S4+7bYC6d4fa6FbdLXSzOIahSe/bd+WDJlKyvGI9WN3b88BcDCqE3PMQhnF5Iu8lIVjd9rqbMGQgfIloW6mutR5/IpCGVSL13Z5iVpORbegireNTbw4t5xNBEuslwjcGnaQjzek4IP85zkLbP4aGAiJ4y7ROUctnU1yNN2iMop3QyHvA3bSNV+YM8iymUn6iBonc+jyFgnOdqkyZ5O970rH0rTz2BKtwYFNIfy+yuMkPbXwVyGq4TOCd03SpGPhcUik2Y1dkocoSQUuhgtidvBkPJGTz0RVmnyaY0p2lhuVsJQv7Dla/z6msIy1SQ6BtI1wUSJcAnyEoY582idUonCKNnNlTUzPC+q4+T6kudix89midFEeO5c+6QBt+Iw6+cWE2+A9YzDEQRN9RjBSUyu4ffTfVOvqptGOjpU4t4B5vnri4A2q2xpU0VI3SU0oUandcrXFvDGvbCvu4InS7Kzylukmiln2Ls7v09dcJuF5A1LQrkUdrVYyPd0fumDTBFYx+wlDoVpZCwHKLwdaO3zSR32A4jyzUAl1ztB0G4vSs152FP4go6SWM3Ds3HDIH+/xVc7Sa+RMde5t7erkZ1fTpHcrOoRm8av7S+cXEn9uKxMJB2lzG7CGcmaAZDm849Oq5FXfAFb/lR/JMZVGqJxnE6fe/Sp+Gnlv9bB6nAKEpCyssOnT7tq+0yE6DRo5F3knPYfronyzjctbx82QeZxh1h91/rodXw4bGIWXHBBXUnn6zDkMCaq/cYFVyGyfQPnAUywTSRt+18cdbJlyl7ZfCUmVP62ZOmMvSWT19f75Z5apJZPi3wVCutJ5Z11kydS76X/2YmvTisKUB7A89Qy1JFjhtVAhWRUiEIQtDS9z2eKdygxWW8angF3avlDvSdVzS7/2xfuysScMnEjw4PG/y9+npdcFaTkvmkqLflKmnmC3YcN/EwbvBCTro9q+SC87MrzGCVYoqawADcxdPZohDVlvq15ERYGqx/pI5QuERYybKWZ9JDZ2mvsrJTteyTnRs7hBjpDJXueLso2oTX7QWlHyr8+i9ALUCBcNZPppAr3FMjeiE64hN3dW2l7LKQQR9e1kQEygMoq6eG2uwNMQC+DObF8rQMw4jdYl2u/oYV6IBsYOG/TqJQg6J7cuQXNcK34SZp7Y5FjQz3JmUNRVHY49/L7CxKJZU5eXjueWTAfp71eBxFM5BxQkjJR2EIFAiIISNSDzcIPviecUsu/fOuOlE4WPy0vA4aL0jcRb5vaQumnd6hG4qEAShZrGAS9usHG9/gI5gjPFxZxo/RvCqrRi4PC614PKRSNckMDajpqwx70C26a2fSb/4AD8a4uHLxlnGpOmYZhv2O7DRz1xERCMcfEk2KgjHUE6osGPmQPesgfJp0Prt3i9mByN3m+5grKFaN9ci2lyRg10DN7gfPWHZXA1YPX4n89b3Ww/2haZQEdal3/f1YEuEnWhXDFuaMaJuZE+cTUeG62y8AUh3/Jpb/21LxSDOEBJ/HsbXk7r2Mp/H8Icb1VqaoNUgSeY3OhjiOmpuyFFTNCcNbgxCa3XUFB/+5hV9PQCwv0z+5L0Gp1yDnWGD0zTCiFKIe087xrGKmm34ahvyyYjGRRLhCFOBbMDpV2s6fziOp6Hem3XoPfZSa/o+4DxsoKS7IbLZ8DFa9xrbHDT5eUUgAS313T+6tI3ql/SWxp9vSPp2qyQFGwpg2TPpl8kOPK6enxlClqm1skhGPTEoP+v6UgWKmovEFDJmOY5IoFCY0kI2hugXMGGmiADlC0OF/d7KAR6MVIS+mLBN7w9zphSAg7iqFbdnsc6YXGsOFGVGO63UUZeCSoG5/fiNISmNp65SUAPqZUC+tt1DWkGHsw72ZJuNqCllIr12ZLNOEEFM15RgjhoU85GvM+C6qK6RX1SPbZ1Rz+9XkJJ8mpJKgiPQaRqLJnCfq1ZN9/4rjclQ7SqeKOyBIE0Rww224iq36eXRDrRp3xr5SuGII6yyZuF0/naxRAXR3wa5OxbZpMfiPxmhxp2BCj6ZbW2WhmeRsDqAtCidIE3tEhvQDnx5agarB+1wVoYegnccdb3Ej1E39tfMBzyHeenXRIaBF6hOvvDPNlD2qJx8kbjE0hGJ2aYfNQ7Fz6taSQ0nN9H8Gc/8BqJFtEbdVukIU5n2+5o61qO9WtgTTLEovEK1+qLS2xzIUQxARRQNWjDWFPcjOlqto4V8RYUZbskYC0ZlMQZsP4L+Kuaxbph6eMN9wka3d/sJ+h0eBOIajxRENOxjxIheiMeIIFvkzmvU4M1NOzlZ+eCdis7CaLADRgv3x21foTt4n36HkfQa+VQZMR142M3WvWBIPyu6Tdr2IEcTucZZ594cl64EwU83Y/zSte8WX6uG+ygoDOTDWjyfPOPTNixVV/wKmU+enHNdOGn2aBV8YFv/fAm9USbbzlUU0s/ZUiSdkiFq+3xr0leeCq/VmiJiT/fUdc8MHwIQ76nC2qJBHsRUkUdqOUy0/z+iHZ+JsW3xCNRxxi8fmqEAhGXFaL6XWGOm110E7PCD2e3sOULbW6EIDHbHNAHGdg821IobIgsth546b2tUSa47Ezr/5GPPDGhm1exqBkulH6ZwmcohXw2wJlknyyKuTZeIJYajTZ2Fy9XxPuf7x6zNQauRGrF/8zIgSmNL4tHdwcEFZqIu2OfNosPGHlLUzys1ZLNJPsMlTuHTO1l+U5wYpTS6UN9J3MoVy2XpZnmyoV2q+2CeLhsv2e7LeDptoVYH5sX544phqnHIjLAciPdUZOvfL1eNw1eZXRNh2zhum2au6jpWeX3P9towxRg51e37ZHvWDvDAN1gJ3xXvOYWuMWd4GhFStOMPRlAs6dncUFeHUJXfyfC4fPasC6njPx7DYLPdues8PuWRiMCAw35aIgrLGic7lW+ncPZhiGZtAZk1MEi5n9uTA2k8suxp4tdogiGyZ/MQLaYQTdtmKR11NVulYYf2RPCwTbBnG9PxF3wxToYR2sQ6b7FU6H1OMAvBOtwhOjfEzX90wRVkbQ5wxPxAponDruq12GhGAdEXXUqzMFhF9nUaEY0DMI+1PUI/NVVuc8yV7xuVcD11Opz1epODjqjhasN4K+RKAoR8T8Vem5qL/6CBHO1QFvhIqSxTTYgLw+dOF4z6fcpRDN4f85ztE4vgIPfyVMPBZlK4+Ku1KguaR6o8EiPGt2bzkirObm/Lw9IMVsNTzWhp+26G2AuL1/TEbKc6whFpVWyinGYPU9ughRxxX/VmOYobCmQxzw1t8zfGgKSFJAW3syDDw8GB0mKz195f8DfS7qJoKcZ5mfPhQxVIq/fSTMtivr4pbGZFGnM6XsFkL4wN3nc01CW2YYdjjVwEsq/bpx/CLjZn85zkJ/3rmqIRpxxk68qwwU0yXjidTGZYNjE5Gf7tVVMEXTgr6IZH+uqT5UmRfxLwo/kxCJl+Izic49WO3jOgI2p0fPyNqMF2y+gJymJzKFUpsqW1+83wVJChHcJfCnPynjk7mhmED/0t9+G8sdbnUHBit2pIJL/N8uvz1apUlG0z2+MiMj6I2rX6Y5jxJk7/njw8vLdx3JRcLj5WbUO2H6a2O9zs4MdXI+NP1YClVvJWeV00/VWzVr0FuLvmh/y1e6hbG2vveUOLhh02r/2Tu3AardGKyfcn4N9w/nFza/efBUiK7HMmvX75djVIUDfNXJsKGPNx7xjGDQnxEjakQCBVBK+xRGIA8PS8LrbFftNSfVbKEfnjn1Ri9pDOTaOJ90wQoF+AyaZ2oSEKS/bEuNUjFqnlebP5Z0Rug4mwD+487Ru7VmxdLCO25RCgmbSZ07Q7fy7fmla2YUg0+8ozK+D4LZG+KGBX3JCsb0RVGXeA7UbtsTauJbpyc2YtbMJajdYNmwNs6OoNqHPeTarATBxgsogDEuxV9zLo/dn7W5WGOagvH/xNzRuBTb8EgGxR4+TQqPEtBH0/SPPyGI2acL9VZUp5zuUSTeDgpG/Vv+h3XMqI6642I5fjf9vidnVCPZ5ZQc6ExjR13eTQxsKkWw1DGUa5B1tyu99vsQVYKRhKwnv3c7yDsOcLs4VD6JET76HyHf+R84BLoAPWQjlhl5wavsQvKy/kJPNYTekAzNSPl7QnawasHyDejrsz4cRUPLjMs5nYI8fY4pTseYTT3Ugj5vp7j8KpRQYh0lu52UXgKYCeghFwtWDFBYRpCsi+DZakpG2X9bBry+f1gGZI6illYzlMR7/TnbyL2IEhwt9LhnoXpQ9rDiAOn7KPcasJu0XylIQMdKXzhcc73z7AqG2YkwownvT//ESZEWj8DRQcgVXiFvXWnZAhgu/DxCNkaFmALv7dpi301/Cq05Y/YmZhX7bE6ccfg90adcJxcP2sgDWSoCBU5jGyft35bO1/q6Zx/5QeP+CBnXT3yV75n6wraCzeAXZHeEt+ilJJu1VzLGEKn9d/GiqB9RxjPZ0UHdK14DR969TPdMwy+3rlMkOgBlFUQ9bWz5MFBJWIy/zUVwS3kzrkxedHwR6ymSmB7LY3ROhUqafpDfbAR5jy5vx/58qAsJNepK5EfY+tIsBm07HcKOV3GHH4nv8UZ3/MC8OZeVb+VMkx6q1ILyyZPaTvpeIQMIIPUJSFNzZPiImRT7AnYrXkkkLUIpSGAZiUim5Dngq7VSioj6fxdA3zobBUe9AOXGeVTCduqJfjHvIGY7PjRgZ77ynuC84MDCqrvQ1Z6jGoXSUyT3hd3M4ZAwRerMrsdjvAO2z8rCNdemoF35W1lHB91JqrKWeD47xptDk8nzwH+EHbHSR6L/c5k85UdA5NBcsR+Mv/wTji6Th5U7k0bByy4meXracbdwZxEL9MWUec9xsxOCZCSjXXJJ1mXbfmKPTD//+yNXx3+Il0KptHKlne/Koo2FPCTxXnwNGyX0RHr6o1dw6MQt0kL2c8KnYcSJtaW4nGt6QqhE5tYlYRaabUOtze+e0bhR7A4S3TWUs5L3sMfDpTvWSGRkSKRuI31bElwuFgbrB1zqb7+mPPZi4oykiQtwUU46RKX5j2Q0IeeGMJw+jbpGWBEX9teNCB4M/n8f9DyWHmA42RSRRtOKr18Kc/dj8lLbjfrrGqXR9/LMZQPhA8auz3BMpmVvrFGRoIBbMHuIazS7oNUPYsrCLTJiVIxy1wKksZwtkydiclxiIWMJagMA6BmBq3wtzPNJGO+c8lRP8Upue/UZG3x3BMETyYFwX1rYiG48ju0McliSqILbeim0VU2ZKyH34e7LA+yDVpF8E9O9A984VWmOYKJSoTw4MfkvNAuvOWiClESz/yWXGPa9Ku1FldVsRF+9tIOUEa1GBqzCI4lB8CTmX5MD6gyd6xjp7IPGux7UUFW9SJKS4w/wLd2lQRE4lWyGk0nqh1pObmhZmXbTYX2Yn8rnSSw1e8Ph52EDVoe9Z1B1/a+RbGoAd7JRjuFdpE8Nnfo2cyicdSRgYY+vyY0h2Fm8RX/HnqqyJbgg771wR1oPsWFPnPThdswTuSrhhzJ9nFBkD1b34GO9ywN/AIEZnxKjA7WCvAEaJm9qn/38PCqdMUQIsOMtvTDmrFYrFvhko8Te81jd90lN2p3NcZSmsiC5Sn1B+pF6mx8NISuuUBEHgK/3g7Mp9NEg6xiJkOBA+NkZ0w8oufcVLmDACXsmkbQ5xlOhqjILUQQZDMuU0ikilbaNJC/eDu3+XZtq+Aaw6ZeL/nQQhUhxjrtGb3p41vl+hCCY48xsXROLSHP3tGq2aNApug/LDnWhSVtP2k4rSyexCh/n79rNefXoZUdKtpPoi54cZS37R619kheC//3O+pNKnzGvpIy7fyguLtlvgGjzoLQBBORlpGhgiNJ42mCEgNUFLg8fq73p6gahfAd5ajOmKtZ2QBMvd09wwMGqCU8tPvdPEAN3zaZZnvyH/R/3O31QhPh93kKCsqpxVx2FBinHTCvtgKBQtvjhztl0Zz3y0xBJ6Zsalext/jfQu1bWI9Edbw4K2jLSiSqbyBpqbDMDimHNahPF456pPo/AowdR3M0zIS0keNKroSxbtESo4z/POx7ZpwkYu/at8rDFdI9fFecm4UGR0W98ufDp+vS8iszB5ehwr9yYsyJzq1ovd8fKtImPvZaF7T3mtFXTu8a3XQABf71gGq/J0ZBi1D1JI2Wzebx4jJzc4AYqkFgUcO43woK1663cNdwUd0ByHVPAozAnIUiwigQRIwfiB/BWwoB+270ZqdRYXXECDpaqezEHY6ghxACdv+/pPEYvpcyS615thN3JpRzihBFIYv+8HdYcgh8z+Eq7jAUcV5NyM2JY/P4Qi30EXCYfdcdb4s/iEsxnTQvMGrzFysUVfEjzAfe8vcRxt5jMVa2GgnHhRNqi4JnjrNiNBXRJbf5+3vrnx995Ll7Vf6vRJftRKxqNpw3mjxPjfXVKqno/j3LdrJB3f5zXbt5ZdEUFoNklNt1d1Dp2TmCpJ53ZH0SwVIvrAcl2cUrOvXUETWx3QU9cl66y7cNO/QFlRbTnBLS7qJug6E22NwdOlZwF0LtUpvOJm6gkmQcv1wwouQs/DLRfBqIdWm2gE7zOIbg7A01PuWuO0aAUCeDRvRb1zOzseO6GSEunBUcQ5EFX+3McQRvkz+N2N3fD4jIJVoBZTKSUjy/ItPYRgUNnkONmoQBkww4j7wwA++gKPZjy59aCR3OIBladerI8iEKJt4RqIj16a9s6DL486fXQ5b1JbDaV4inqvuQwe9fqJCikx+CE29XQH9JYjoGbt04lJ/6zeAQmd7TcQNwzjiZKXYyMe+doAu7YmXwc/4ddW/d41SF0ONQv4Zpg0VUuN3/aJ3KTlbnpDcmUuG/se0ASPwmy+lC0a3Asj++ff6RIJ1mbxgNN8Gmr/xpO8VEhoQwhFpCBh2YEwJ/3F/Kq1B4vGEm/wBuISFhmdbQoCmfOrpYxKrwevYc5mg4Dmg+0ldDpes/K66nC/XoCSehMaSnmaAW1R82r77SgFXnjqphGAXA9dB6opRkTkKMiPVkUvtZWKum2G9FCifXzz+03IaYlKVD2Jmsv3LgqAVMn8Bu+IfeL+eSerubFc2+dFR9wQ8WloSLtL2GWl5kRh7cBqxJKY3ZSy2vv4K4VAKgzi6mHST6WcbkgovJ2m6F7fQShx9PF+d7pZ0cFa4PVNyoALY63VMXoOH7/ItK0DREhll9Sx4PqgMJ9oqdfOCDrkMXhAT0TTtgS/CoiwUGUJ99MNtvo7c5q74kJdiZ3hPpo1OSScm6dczsV2GKMmJt7uyQUTJuJ8iv2n5ik5GjJnbjO5vyKVAYpldNcPM40bJj5+fWCiT1m21kK5EF9oeWWTAujomYjyBP4QGyROWUhGAMU7D4sRHkTBepzoQ04fZD+ke2CrJ1pYf5/jrCLzd+7FfqRqlQgV/OpijASElmEoxt0pZe/vWVWop91ZX9Mb7uqd/1+oGWLUDi0B7mkLRMZy8W/30k/tAoH95aGv9QFoR/Yffy63oG6ujWj6z34pPpa/KU+B1q0x6pE1/GNYiZOlN3ZEmlAJ7bu3hUNk2xIE4rBzOZLOymwTPCQtXfCU2bueWOAQ2eN9FisuA3N9fm+iosMMJoGUFTUyAVW9oo1y+sJT1bDY0zLRbLhHIT33rjRBNC4BOuZGy6x9sJMwRZuGNB2+Esl44h+jE6O6LcNJE4ymgtL0kQsnjwPTmWxktYuL8TrqZ5XiIHJQTVm3JqCn1C8tH0G40qseSM9XirL+QH+Lf2VGWiy13S790LLRXt7avUHObxjrnV1oEQiRbuODueyvF7AUGFXjLfYplN3Oz/xtvPiHxBYzNjRwgSULl2uYJgjv4OD5Bs9Qa0cf1JQG5Pi8sgIOqQWWYD37qSQ1yPVGvdO1a6DM1fWvpSh2wtjJInljCs6upPgHZ7Aq2mIYfWS62q7g3kdLAATlwyinf6qKclq48NeZPk6rOAdcqq4MnGrg9PXreQbRbsvvWLRPn+to1mbF3Emv3rW4T4v2pp9OZ9klfVvyjuc++JoyeXBsv7rJAdHZTXF/y6w53u2HQGeBrU4oxGFwIDqC7h8k5t4HV3ACVvMhfSeVcceemwKoPJELA/UM8XKXjR5BXineJQ6iYhdLQQNGqhUKxs/eHt2GOzTMSiAS89rts6PQdjVGllNnrk8JpsvORHAR894R7fY/IJrQMIUzGn58znGI2nld2CGR/2Iy2Qbtk4bhNvBmwhrFT31wJgjwU41SDBq9mugdROuK6cHq6D7ddUGv/KJ4rC7x+0SZSgcsGDbg+HjBewmb0i2ugEVD+/UaBCcCImftDA6j/PRbdSlooVOAF+4eCPIZEYI7A0OoTMqA8xHlAyNBpEL+azIr650GGqkvrYRbuRQkzRRDlODuTV9BzvQlViVoYeSeMXSlPKzrzDLqRyHRYtPLo92u+jDwNr5SbdY6Me6tZVY9yHp6b64I5tl9iOTWTfgrWhNAYlvtoSwtvHyvU5u9icqkFnHl07IK993T+4oNmd1c1k4eJ0nbggCoAwP2zFC+IfMtd+TCh3uuWCbZsF6fVFdMUME0ArukuhpEpB7l+P28SWbKsCPFVmeo+9xp2XKMEOOHPohSjfGlQznE0jbE9TUQU5xAcsXRfih562AKGkmIyOdbNyn3zHQym6VVbR275GJ7dOCEtJ2WbLhWgRmg290vg0DxLpIICyh+1qOQvx5QZZwj3O3zpP76dVYrLk63qJB1zi4Gi8hzxJ0Al4SPNWnSV5oc8donMggGPcWdt/+MZW/i3p5VYT1m+xC77bMNm7lm/bPfzieQB1mZeCHkzoRBKcNVwwciz+yDGBoFf72lRES8AWeSvTwDy8IFF8xFqH4eH1axmzBbbbUzafeI6a3bn78D+ACgAVP0QKKvVaM4yWniGrgrl/v/JwJ30BYwlDJP9ULHBD/P3oYeIW736WHwqjtfc/8ygDUHUX/RFGt2D8ZhxVXHXdhT2V1C6XOGGtvUTMUip+RJ1yGVtR7H3e0mf55UvEjHkx1IpLgUFS2MJf5TzXLe309Nt6pUjQC512Punfm+dQNSDUEnSIK7nEpExp9MD0dis9SwAJKZ5v68/rGW5RIk3ADHUQiEAMuPJ/SmOM6HBSqJTOP1Pim/40FtV0ANGHiy86+zPTamRuom42BeC0bU2TQJGiLt8s3M9CdnkIKrUp9zOAzcRt9MHMOHSKGTlOhP0t6Wt1VZNm6QDr12xcjN5fJuLXpLs2ohWE5zzhklODTGd/o3C/KvjG/oMJob3TT9fk1QLJRQth97IBE0922ns/Cm/KS+ywT0bhaLDYlxOmy/PeYIXlDwf2egJXlqQJyzd/pvWXpf9iAH6bikYBW+GYVmnMXcvMWYE3L/ZRRN1xwVtf/Qj0DXdjGJCDGnuKO8toXVAfCWYjcR/tttlgR/J+BTYPF4h9KZo9MfCHjHL7MJtzdQ+HIDyFJjb6i7BtTOp7RTP+xeIxDJeBGWKEJ6GvdHjTXlgQutbFsBfSZ8I6w1XjMTBUf7iojtDv4lWn8CpjfY0k2qr1GdQUge6Qi8lSUiIgXdbfp5qj7M0SRamg89I+kA6pF1ALk8kodV7MBMBmr/T7gKMUrPHDs45M1XAAN0O+iPYy1PTcXEcV3Xyg/Cwmvkh8QyqlTKZAIXhF1LO9HqpGEwDYBsftLFCCHMiC/pn96H+h1yOnMeL5YUhNJpy6I5NpFBUNCvJ49aWCU6WGcIWpek6L09t9a0NFy0Ykd5KBUQ506RDl+w2tJp71dP6Yg8nOunL5cf3Jmh69cMR9TnduzJ46pkpZesCbuBrHmz/Dr9Lohj0aqNdA7uvP7rYbDGcM5AhK3aQUw2N77gl/ECuoiKwjF/QZZkYDh1LVwTEKOLk+dmsg1P10SYIV7QHN3O8X3aI+cvQ/HRprUnEwe4gq92AdYz+dDl7TFgDw8sR9R4jhNcwnuPUUQraW+jdIIXyNIodGvRAoeUJNrM1dZHE3UOgNEVovdZhhkY1cs+lcNh7a3TxrcOvVqar6pHuPkhRr4eoQ5QQbBGU02MHZbBe2/wASxDqbZu6cUAMBfSGDl10t4PjvNzo3k6FhBDtNjcjv8d4cEpGIlygTBgOEMCH+rh25MQZa7DcBJOgoe+xq2r0RfMoPAm9QHmMHGIrpBT8mqWceGz3TdWNMH0NdwYKHVGF8agdPSoD3t9EpFGst+8FZbKrZdv62OJ8bPJKwA09EsIkxuHcewGexSp9xGuHT6OWxnJ7xLtBhavs/C5f6ud2uaNf/1tF4gvo7BOVwR3C5E7u75jiOFAwch+gnm4jJImamWwveclWCdUxwoJDiO56fOROEbbvKqNMhAG/Immu/AY3x5kALZJc0NivYUExPRzxD+gHeWiqj3TT+OM/hco8M1jYCrYedxuekWpbWnVYUKuDqwK2n6Cv0hYf+mudxLuf3RCSzA/CE+T+72GvqUfFvPdJrk+KXggtg4FWMElsjL69FlnGWGSKBDILvtVITmseA7AAiopLvvZM8Y+oiCY8UPpV2lFF6x5+SQdQ91s0SFlaX+LdbwZaj974p5YeFkqiIeirHsHp+3qnb1hgauDRC+SZp43BZYZW/6rkcf9YTO8SEzjPutsxIDWc8rX8646OH08bra7RwNfXvdbz0+bSa9ogQm7pS4LFI2a5o5NYCEVbOhieCIs7w9C15JVokPfBZvPQcidhLaGgcneKzLkt8VdJfWbSXR8/z3Tr01SusURk7Fz6QjcJt0eG2qjEnbpdFJRWKJ2oEa93Ax9C7ME9E51/7JquF+tLh4lqVorwlfpn+iqZV55+P4ZCmvM2pf/3Sgq3m/QupCNtChOXli20mVNaLh45gDz1GuM8Yv5cGCiK6mBtY8VF9fya0c/rLwx54xznBRS2rl14T5v1SCIHtXzquIZuZWmn5jmW865YpSsY0EHipitU/5fgKJMrsnUB+/EBwyShJt50alCupw22lm5A51Bu3Od4DM1CY1pFjfuQ1UbusiRKyrPeZJyDUr2GzxxHnxbsT1UFYy6XffYAnPOZvLhDHDJSW2wThJOzUrT0P4HymHqRdUv8Rt9A1YdkrXKXOPhW2VBrRkF3KiKceUn7dVYt8Q4wuV6SZMIxE/fAw1EULPXMp4IXpQJbiuEdInOVRLcRblstJVDMmOJ88qBgH+3oCmGmbWfwi5VE8oNklg79x2rmjexraA12yanjcDF1s/ABZh2FR749phIHy0xjAWmpGU6f8CFAfbHa5v/jDaSPS2DKv/YuGXiAruWN3z4MgeuNypveZHwWb8/qlOnPHbmWraCndN3kfOW0F8DTZv8S5fqK9uOul2rB+Cpm9teSJNazFPL6ir0zheihrEmDemSIUGJkq9SwNJyqH/XbPLIx+U5/oQfrP4UPS3D2CE2Bl6/lhQIhJVnuAN69tCS1c+GiIBiFy0ty9g7Ji30iUdhJpRnFBTC7+OWVldgXztRPwJnjj2K1uTxPVSq0PLuDcCEmBo8BOWf8ERRIou+nFEOuHphSyDJ6dLrYP8Rbj24efEEtbnaernvYVgPsK+70HqECpNvd79n3jxhNixbMMUB5GYQ16l6gJB5vxbQL7c6NRoytx/n/rz1khZR+I4avuZ1of9Ydt1WcoiMaVHj/glRt9CUeGha2esG24EWCs1Tn++2iW4z2eFAdYHsWT1HvuzNRJf+1YDQaJ2tL5CiGJYwYX3oawoitZjqrz0pQhPp7Zz+DFsvUfz2PR/4o5NcLBAyjSS0nERvq2/Ph1POJmlZAjY+35r3CojBt+atpx+bsqHqT8s8KRBDWRQnl+ZZ4nabtKM/DHLetYOXcBiGKyRgcYHLG6zM0Adacku7BLDvWG164ypu4XDNCok2ciXJCgj1NExEG+vch3kxQZa0LQf4hSWku60io6T/HkAy3tqhn9rFGlBu7UBQ4g8On+C7IJRqoQlOozwgdsZfpr+zXtcDHyCc/ox8LvXmFgt9gtIJqJ0ilb3uJgCPp82oSr9AV2JXKW7P5QXKNYrASAOC9wPt82Arl42kfBAA7hhaZxR4KqOJQPKXU4hMfstiS50Ki/gMazSV1YEiuu67qkQn8MRqWkq7p1Saiorje9KLC+zFwxtdxPrkEgM0e5je6Bf4JS0lB03iua1PzshMjjoINGaGHBBGDJC1AqRegpudVVF+9q7fZ82ZP56885bJZOjVL3rARBGDLP9wGnPngmDHnNanGYNNmlkSrbIDs1k8H2EX7ROHbOPZr6rCLDhziV63++eQUEmClQKUvKbvstKPbOSe/Q9Lq/qkrrinK8G4s4OObYH1a8/qRlvWLG+4pBvTgaqqx2G1C/9ygyfkOkL3Rgrks/K+PgS7Hcdcmha3/q2ig6aHbHHdHlZFf+1dEba4ysKu0in+t60VC7xVg3E3LfegVa5S36ecfKSn74JTLVPEKeKGJ0vfnr82Y0RQh29GADgDzvnMlA9An9i5WR/4mIydEK43O9HSWc3Kw5Xelly0FC1ptqgBNXQM4L9i1tCV9kWh9/Jl7K/B64570m6eg5ipYnbSL4Vtx7TcQqsumkSyw8CMYeO+7IbgNS3Pb/o60NfsGDiEKw4TOYJ/uqohfSdgrBTji796Ju/OWAGI6l2LrAFH3gOLYx1AKuQIE+jkTHAqbo2v9GM50/A1uXv03aSVqDiwOvQYWimopaj5eb5G+sOPC0/y8JBCcSWhexYj3kCbsurWxYoNZgpeoIRzLNu7cg+4CVn0BXRwDcV9L0lMp/3cILcO5QtQuY35Ij0PBy1snOtKY2nva/5e76bJ8s62Y5IMcWKNi3pvojvCB7Na2mBHPCuEdLSckf7oDAJtW4Bse+XLT5mlXPylg8bIqGlNbMxxIRKsTyG7mojX2OFPdEldeAN6vaIYgR2REd/AyXqjlPq/rW13t2nNFTBg0j6SckIwb5cN2xBaUjuNQHgcc/5XyFuWlJY2Zp266y7doZ5G7prGKd7uR1+IyPDIPpZMDnRnkAn0kjeg5lS6gyFDztHbtuTo96AcpoDCpb6RZBdIzQq5o0rfbc4TOjBdee7m27TRIUS/WzMKh44fJS/fkhe7WhfHVinTSTP5k3T0xgyskfUtklQvcVOEykmD8fVubM8phrcaXg+PdOTDIK7zvN3SmpaMngaL95kjMdpz70+lECQ7o/jorbl+93NWX5vqX/gkzVX6ZrPSHuHGXCYUyPwxgkkpHiU0oPqdcdUEjgrjzHWMxlsCzrcAO8BpoPIh3e0NPVftc9xKSPnRhuxaxHz8g6tz1d4brHSa9kdgLlk0Hyms2JE7rK4NYszpdzxEmIz2ZzQioVBkVAvhUtorLs1nHB/2+QzXn0kJueojONFdb1wa9bAxP7xKNc4agTC2sSqMIEzo6yvPnpKqcZ8kPmtjFrCB0oPBSLTsgZPwTC2/zKHKwmNp0PlNEv5c5E1BaYJq9quRYZFnFjRvnsHzWcuFcgV5mNHlh8yWV5ELb+5zdtq3FuHRKDW8VZBBkW58g0guHtjLB6j/A25/oJnifYkzgMgQizZRiEZl1VRQopFV/qKvdVF2cDCfpcJdJ2S1xOBgPICXC9kHL3jeaaehozH5mqvJpJTO1OmU6MaOXB8Fz7aQUm84rT6c70Is1K3R9yXICC4HS8x/lzye4k01Sj54HYsKul8lMMPEbZmNA4a/6wTbr8Zyvhj5jkSRHIGbCRB5B6mj9XoIy7Wi/zywezde0q8JYgG4v0Y4HKihrst2oJogW4EMxc5mDkjVfxuOH7Vn0dx1KvRg2Kh9kfFhPE9CEH/uHpTfl1+6PWHcpJhy7WuCtX7JX/f1kEnEBbIiA8McHBRhhbHzIH/7IzmxwfwANYdHQqcUP25sTcyXXbfWYSe5WJ6AiuvegKn+EI4l1v7qBANZzyKb7NQYpe2mVCqSEyYNkZIJaUWyfSxFG5G4PS3CGVyS8clJUKS8v0oSG0XCmxctMgza8ntXr6/Th2pyX1BpQ9PKTbBdVOQls7XPCkAgNHkEJZwmX2S2GPwNVcMx+a8jOmDWldM+4W2O428MY8UU0tK0Zb0ixqv97JwZAD7RzWDyPjI9k3QzIRmzJimUhcBV3CWraVOfb1+uJ/JG19VgjpG/eAnvyc4pNVxCG0JgXKhvBjk9KjbQizlDouwRuic4PzQvrYpAxjj2Nun0g+9e//CiCngmpKQI1O8P1Z7QAUvkkGhVAu8dAWsdHrp5YTDzDtc+pirnKqbZth230NxxyHnPdKJ3/eYNlzJZU2EQUpumjVmrYMGoxGC4hhoZNSdEXmb+kuib+Z8dNYCrGxF3eyhgYysRymZiliBdlugUo8R5BFwfy5ZD8jQSpv8lgxS7RcIT/0hDArFhL9pMlkp8NfFwU1hVAf4bJctBzfOAvCcZdWF13qj16OrHhFQ5WuGhyApI8JQ4o9jHKTC34ZULEopKaBynOi0UBoSpvcIE3fCThDrCdMExGOJNwdaoKUxkq1dEOWH+VIHidm0R0fwC08Q4TXyNj2PWkUq4rD317CBtY3+XRxxAFb8/kmTaHlt6NoaZ69vYH52LCDiM9v/M50TptsPkVFe7J4zgmL4EXgA0Kk3wmBOgKh8qEzwb6JkAhDoSBtfy0p8Y6r75gc2E9HBfkZgYsC0N2q1bZdbtAtQ6xHVpGrB1RUssmqY9ZCXnuAKp7K0l8pfGqEzfFCczGsBP0QRyFrNexV/sw84Ji5iAJCmTzP49Y4AH6HbnN5dwczuXC4XjaruIJoOYheJEI7mx1SWdr9RmZKHSq6xIUq2Tu/6t5AUFbF9N1Ae1beJ3aoY8W2+nMhJJZpOlX1h7tzci/vWgGeKTrZqLnKAkvVLNbB5aCbBG3XfysgMvk59b1hrXpAcdWlXshNbjkOW9B8ManaAF/PX9K2WdUE4yjBcQFbtq6d5qp8TPY/NqdL6kuemNuBUtEmNQS6NR/b3UaUYKeK5g9MbjEVw5ByUuUYD+vEnx5hk1zYClnPzQeum6EqBz9suB0kwS7fzjuKsW+wOyI+hs9JzKQ0tDloisfOovAc5p2vDBnhYcQI8o9pv92IKTqYwcoKFe0MAav+V7XTG7o8Sa2/k7ATdo3nFXjKSCDRbdkrrmYlqzgzo/OeWmciRBXV/nO8MVCh46De/tsYsttLxhuWeStXEpJLU97eQRS9Ha0skvK/1RSnmKXZkTKsY6AtXst2aqLJOBpAV2LvmA9GdhxyJaoZQZccRYaJ7LJ8PrNUs4Km4laEUAdcGZrMvyEIJxq+GK3VFVwxSSyO9wMCqoAHwuC7WowMCwGYJz+zmWCjr7cRd14ykvJYIjkrCSCfDJQZ2xQhKB5FBzhVgJ3Hq/z7Mqo4Ap7aDQv37jBctDvdVvsLlJce+N4JnUxvGJYqJRInfxD/bm4jz+tZaXTfUZjDzGI3np21aXs6Pr70r4Ul7EiNFPSAPlZTwsmvONoP1rWZoh4sG1EeuFIiJMIkLrRhy06hno9583CLQFfRIULwf7YeSstbKCvPKGnE6q+AoJdjjA6ZdR9MDHKX+y+OMM8auoCO3kEhPN4VEP2yw3OcnS62NsNva9b7Sl0ctjsmfenuimLPgf3rj4nOrBtOrRJy+Tuf6fIEkW8zuvT3T5/QYJg5ApunIOXSkQFx9v0zya9qfBlTkNQvjjBNNhqIoN2FuJSJ/OFB4S9R/Pbg3xEApkcmYYQx0iB8k5d4Z0gBmhTobFgcYlPEZdGlvfiBLWkYMkwcaW8VSf3l+7Uk2ud9Lxl8un91JDCCuBQ0Xl9hPn6PVO/LcictyEIOTEeJNbmcEL/HpnSesXLvNGvmTIUIfwvIHGYhAvpIvg+/o7mztifGyfATGbswu66JkhzHUhrakt6HzLpp4qRjlqkx06/xHRy4RsBYK7HBpfpuzmGtpYuKQFyjuvUmdfx7rKPR2dFwEUtqBTQkV0quGp6xqcCki9R803VUG7QJCwLgsPrEJVpXY1+o459omBctV5pv3RqGYvjMAD720TjwhtOw4nOUaLBAufbXN6pIJdFso180kly7h5h46WpVfqHQZfq9ZCHTBo4w60rREr+3w4pvEb5h87sJLSAuFXDxEpSbTkGM0a1+ijv/pVRSgjvcRuP2+R2hyUUkjl1z9RxRfwWdIw4n+2k7jZGj/8IRDCwTp+vN9HBmNZpwEeUke2LuhnQhJu3wJGQYlf2rxTFjmDBj5+VVsMMiADI/gWRTyRRAy/Fqm+k+oCaKFM9htkQnucdd8Yb0Lj9mM2UIuFZO1Yik182Smpa/YA9ZJ/pNPQLz8ww1GF8/hr+XPYDMeR002AdfMsH6wZl5lPivMcJ77rjQmVvTdfP2SkttT3uNah3KAmDUtJxte0teir4L2u9OxrfinnrckSTwxhbRSG3esy9gL+6v7JVFLH+EnpqILI+a3SY3KYqHjavA7nWj0L9GhbnLhjAhdspMX+Vu91pWXLaiyJyCdMtKbYFbLqDqucdN3Mcg57ZoBCugkyaLkcoaIDK0/5OTVt/Z7epwOKAsQ42pE4i0FIHbK4iSndQ1qV0O8udEib8EogSngjzHxQLOyER3yxn/T5odpcAJZIjp7c32Y+w4/7uVDID+92u3xXwY2d109qKNgKos8N+1SIu73E+XUCKlx+KB3XhDhFAFmivP64SQz5emeFbcRvAwUa6flMCPx7j7FvN+rZ902xAF98vifPXgqKnmSu5xvKyjjvOMXK3cdKOMa1FwEMnYxUFyQV9JUcnu4TDKTyuroILLJy5bwKrDAPlbEs31eXxeYk+AR3VGecRLqeSUggglGrRZtMkkl9ixDhgRb96zfMMsOQqVu9lkhgMisramIipX6QJJldmiYjCQIk5EAzi40Csp/KDMlVzG6qVjzi1AI2s8tVE7fygiSp4dfuzrhcT7ZVR/L/m4zb0ZWOsa3WvzzLOfaScmH4F8pcLDxs9riIsPRv7fZXWH85hiv4pi5ayjLa7EgWCRondew8w9pW8BL5vb6DtXP1Z2Hz+tNL67y++xVwteQQZL/ap8UVctKA/SWAb9k/stK50MwpgXp/yZpgDKusgF3wPP0Xe98UlQU3Ej9Hk/7hg+muWpSegGBLcBB255F17FfjfmN/dTMvZkULMYkZa3TGT3FWKPmABDrwHn4XbXwl+dszYqObsFA4GiWSLsV+98G6bP+42Stlumk3UpdcUoai4/0gsw3lr++1JbsGuNRtF616expLTWHyQI71/BVGnXpU4dF90k5CQz9Nl95m46pblIRZPk4B21CUuD7YCXcDK6VCjnbOY8nL9vaYx4WsFTL6e7hDDibGu59NkP/9XHtizo/4sbeJs606xB5MOJOrMrUmKfGQO8LEhuF0TGCznQaKOr5UmvYZl8/wEXrMEQluL+sohHGwgfPmI0jXljwwMQfkd7tFxPg5RVmK5qlReeRHMcC6tiKts6aUaImtHAY1pIe1wA98jFMSMdVZU6QFI1kb10ouISbZmS3czR3+K1/EiigWjMqWxO8UNcJkZeLMPecSMkWlS5iD3VjSawrDJbVFtDtZupB7YmQQhzpjL8jW3mG1lomu3WTRGihttu5u2tcexoAPciNBzM5e8pMDFuMhrjJiau8VYXCovh6zcOQYr14yxOqNXaIwR44DJKVekJXfWfzGPSRz3yr6bzqykFc5pNUawIa7qvBQHgGn0gn76VpiWmOPQjZN4UJXX+Htc56hCE7D1NmbrOJTF21ni5Wle3IB7EPLalvAooAeuL2qhMKdKVvoi+OgMSqpNxXNuP5Fdlgf2/qyfCFjMBm72nt10CPkRwuPQ9hBYcKcNqh19c18xvUivUibIF8mN61Gf/SoK9WhGH6/vV90Bykml4m/kv9nq2Zt2ZNVv0WrClcn0awvjFkPIQVNblL2hqcjT17kH8knK1rXzjPkOOuqTNhzPnVyfd93KuZUWV9XDJYlO4JcvxPmTU+hKdXnAFF3Bs/b5UmmIQraeGqNDWAktOeFXDMYShc78Ku/cOtuZueR6xbj37rffCVy6Zsd5h/99bUMjomy3tYCxAjV0FXGE05+6InlCVrfgxJn9ByBgPLkq0omjvSsz3ZarWH5qSqLgakAER/SvWDJ86/0IiJh361HI7kcNSXk1JJ0iq1tUqmtHs5bAQAkKeajmMxLReAGGYe12PNZcb01JyFKaBFczsBFlpr/9PP0uu5V+kJ0F/dOXCjII4ejut5FsNPa//X+Xg5SV0qFdkuGsAUt1VB1sQzkgQ/ZOJe2wtr9vk4MimOjabSXgMEHBf+Ohk0oQURWaHbHmpC0Qey3ged5YaT4F5JUZCdhmFyNbQOL1qdV4NLY8Iqx7HLDlfuUzeBPa35NrTXtU9U5jA3A1K8Rp9FOCuA4pd34QYH1cwE6wJz36RIADCo2wpIajMBFI+vfTG2VJKUBWd/K3VFblh0WJJBjyguDqp8Y60JuNSIblYMXFF2w2aV/QGZYxw8n5rhm79Ojmlxscoc6b4d5P2rocY1UpLhoiZvuXJYaadecQ0vnuqTSZQBH+Fxona4BNp4uQzYz4iLI/ZHAI/rqsijmRfHQ9ITDMs8JTlydb+eZkQh6nCLmTqflA+idp53xbfVc4JBv1v2ogF+d0sdJJpuwcNkPsiS6hHLtigpqmTIDa7vcWSzQyZXHPt3w/OBmPwVFbwTyvuhgJVKTVzjr0mQdFjUIHsCXrZLeO1h710VFN7RTcOnlvV8X5MuWopbvNqhvxWYU5rbEcrytJ7lB30J+Gq2gIonztdUfF7cB9A4+Unz+m0R85QC2xvoXs00XLwJMo1XUIxv7aUQVW92ezpVov5tHsJXUJoW6x60cPIb8y3O8vanJH5mqFvZjRjLrSebWYRDW9gxv5V4Gx+lRQsdWgvfTkFckjX/KDeocVMjLs95jJHcXqTy/H+u4jd9t/mOmBSH9tSpwsqpZJNgBqXJFfZnOPut0ce4uIvKy0mUQvHKpcVNgcrKf8itxeBU0Kijed+zrFC50tLPslgBKjhGSz4KxAuin2PmgGrxogo/QXKTZYO4SCx3/88J6zJ/B63Z/Peno4nf1XVtCteiGw5DPIQ1X0r0UWEZWLDvFtp//0dXa5d2390kLtTZCQgKAPSzMX19ZHfbg5u4UYcAKZ6KE8ORWkUmy3P5yn06tpvqr10Tg9yiC8/Xrt1eSCiyVbCe/c5fNLTc+dU9N1GjOz7198VB03LZllsHStRvtGnPynqyK3W6ppc1dcxyfgFqt83LtlpI+4NFHbZsaGRnh2A/ONqpR7vh2VQccLpK9WLkGVgUgA23JPHWheVKu41S4uSBPK+NtXGACVtSAGmWouPlzKyx4xUGV9S2uUxkjVXtUD1qsTWjuQOr+etVpdpWBvxrWJhdwyUGfMiXf4aIZpmykY29ZzFMEirc79TTztT142RWC7wCGQI1mOd53Xko7cHI4Mt6iNhtODToVa8M3cgzOCdXj0oRI8UtUPvWDDWB5DmWuJYDOZ+V+ShUQVoXxNC3N+wAW0ViuAy2rzmJulVNrdXjJLY9cS7wWIB+9SEFXq5vB9QAXfJoHi3uU+3Z4Q5vx+rWH0+15L3TW2RXY92Ng8CTpJDskgRzWNNXBjXX8zhMnBjk/tjlxnPKRD47H7rGdhmxki9oRzXaOvg1x9mLzKhwMz1ROOzlra50LeLMqYBpHKFXfGHfGUgIABQ4KwLtH5DyaGHgNAQXP1UO0NxPdYGxiGXG7vCyoUZqzujZju+MtyhRsxhDkuFQLLaHnhRRxYTNgTT1nR/ez+T71t5bhwiwGi+PLYV+GLlfWWQBicl6VphsWckK/pPTevzgy3kN2C0YETavfd8y0GNIj4W770nGDcJqijyt0KG0d+b2jzvUZcSA1v9rpciF7Y7Al+vm4iC6Q9/0H6sZcM5I3SUNs8lhu/agTnNKlhfzQbyWotM6qjcef+LtevGcBYsIbyXYxvhXARXBXaU9qsB1oVCxABP6CZ0oX78JAMxKHu4JGumn7VNsOfIVZpXnGEV6zTuo5Yny3mjWfvHRoH7aBjZ/jULx7KhLV3M/KKZnmbXqssMQ8N1WBtHcLGX/RTFquqM5c7D0bhodJge5+wT8YW9yZwbkXzoZkkQXaacsZJ6HBxXMOqhA3cV+EJWnwkbCFRw5rqmBV33SWIGZYZt8k0M0MvbMnNAauiEZ68/87wsfv+chZrhZsVp0+LZHmxSLpYiSQ3bj7eVrF3mGcFeVSomieN6mVTX8Afc0wIhv1R7NClXeyf3opsXsc4YrMO44ZicUnxPzfXWNh3Ci8BB+GEgNza5WGfL1kYxCFPfo6L75jdtkp4pP527v/o90TLbvOFwsk2kQyCiAtgz+puqwttezQBY2KAUTGU66/w7/oGz1Ae2AQnc2k0eXmC5cywvhF3QEdJt4vcCdEN5ZFXgpy93NpRlqRJxs7Fe7QhG4x9ppxmbmJX8pb7IXj1OBZzzqjmXhVzBt4Dlvl6GPMJcbSl8FMesG2ESHaNSoGEXt5U7R0XQhzm91XlfaQ2eEFmZ5yX1WjZFbXpoSpeu+h0yZJu42u20vAsiFxuLz7WNVLMDA9PEoWqn6BB/cvL4YEMX1uUfmTSUXldvb4yu8l8IhBO+oO5UfmORFBd5VgB23OqaO2QTFaGrSugpMjhD6pZHsdtdd7jQQy8aMC8APXSoV7U8illCFd75wgio7fYiK4jXTDnbaIvq+h4JfCG4VgMiUJ/fHr95+waYBIJIhMfi+q9P2sgxSaQkIHThFPgWlMcJy9zvhRyImz5ItDeLsuRIeVHRYzm0zftNnQadAstXyEZ1UjU9zaUDFyWhFH2ARajqHOTsLwaIXZz3QvVDkeWB6kk4IYmzyOQm8SF6x7nCr+9USADE1U3ju2tdN7ZrWrOH9CEQ4BM97szLKcyfHfnlVYYYjP0ARkGVkgttpV2KRtTeeGQlORFgH4tevtEb+lJHRrlREFrjqVcxY4iG9TcdFt/EibBp+Yu282bttgAMpBzC08R76VGZ06qniI6A6XFAZSaMPy/9EWOYnSSstNNv0TRCvGX3I+zOdQ/lR0xBMpVeUj5RXsZPS18jWUP8bxJKMxPSU27233q49p9S6fyfgQaDlQhG7VSBJbqmub1XN2LTK5MGs97Hp5ggJAXbag1TNb2mE/JEHb5JNLLnMoY6TMgp8z+EYmAOP6jHlmyu07c4aLYvYejxinOjhzlrr0sburml0vlv1KxoH0Ep/YVZPgirUrkeAq3qKG1UNy26QWWu+/7ZLUHM5k5S93u7R4xIRVQSx9wQipC3y9GdXSs9hp/kEIcVcITSpvdwKjkruSJSDU+XMoaeAlg6UIdSQTI2zYBKknXjMKWyPGSuBAuvM6vpQXHw0WsCA5drdZ4ILbjgscn5VxL6X2Vq8UpMFAjUIbSoHU8GzgjWBZquFk1qNEGRWKN3+UU6bWt6c2A8lrD/BCpXDVsX90AO5Yf4T8Vyt1MwBz3WDemVCkgCEbkcfvAYefiCUojyFj3Wt4QedhWTryNuK0Tdthw0FQNLME/u8xvsBIRHjkU3yBFzT+31NMUpP05nsbUgRRzJAdWRyGvo8suHXZxnTaX2VB/RE1d+6CG/rFE71umN1svizC5YBMMg7HUpShRI8TQJclrmWfVvCbmM7HuGu8OGbXKStWjUF73uTrHQenWQCamH5j4kq6d+rU8MQRlERKbBTe9jSZVouUeG4z1nFTohkOCqdD/E7xgFtuAlJGrv4E/0OKkkZgMxhRjET0B8p2nSXXLnMpJH/pssr2GhxUDZki3fEOPmWiR9YzzC6n8PNx2x80n7wMCXPaHIK0dCFKBZXQKZJ9BWm3wAo6DkhVDSDo9+lc+ZMZlhPPTdCJAtaC2DC8K+VdPvWMn+WfB/eHX6wIACunGftsSX6WZgIFTMo4V9TAme5dMLHmEtXO//LaLUS4NeqVlUSPlHisnNx6QWkbYlrDSiA0ijVnw0OcYsloIIBnNqnF6nL9zI8SMxFbv90Q/KMMoc6a6wpYNp1z9Q4TA/a1CAF4b6jXoNn+sFbi+2xUP/3qnJkYgSU7x2lpZCxrPL/RVr2f+K/6vvrRocs9cm6PGu2f+UhB0XGmYo0MNSZsXUWYACAyUZEl08ULg57I1vM+GIG/pVvKrFDAnx6+ITykci3sU+kibMgpUIpBzVcBRT+lao/1gvwLF3V0R8zXns0UrhGFbUSlkwjF42KfPvBAIAFSoRjUhf8wOndK3jtJ4naU6BekH9SlrrXNgj6wlw42ce9xavRTIkE/R8Csjp+Digqc2+HGEBtTVczKFXwT043S1LbQIvhiF9O+ZAh9cfMpvRZF9kasJ5ZnN9b3dEJqnFUsptxTogOHfFi6i84XUsBfVEDQolvpqo/4tzGHQ33HBPS6ZP24pmc+Sg2uUvzbSXPXrbGsUPNWBS2RPDVORUy+lbFbAhxpF80UAs3VCiBi9YQuvyA1wzmp/Q/TOsC0ktN6YazlArYdogX7Ak14kN9mTfyKDUX6UrRNxzdy1rPiHxuJk/XeWItIoxR14MtIXdipLslVo23iH57c/NSDnHWgANgjVvWx3kJjIeTFLX07ewKo6qs8vCTFStCAx6UVXFfcZ6Jj3isfHX1cRtFrIq7EFxpPOc//eV0CBbwvuMo8YErenTQh8pV+3Yzr96SY1IBid/Cx2uatXVub2FFBMzyWj8qFc8fajuYTHtz41euHrNRsGnc3BQ6FIn52I37pegYaXsfqcaDbNN4Cakin5QWPc1fZloFdJB8Zk7OZOUNCWgHllf4SMD+wNubH4/Ps0Nuze8S59vwfCvyMgGWpmIrgBWpaD+3GE4yhgN4bEGJ0N8QEBIFBsp18ceV4HVYXTyrP2gxz3SQhS+T/sQWhGfO0U8YOyxZJC7bZ93v2jPEUNF5oWdMo3woHxP6wLgfKJJosOgeCQSnUQInkq3k8uAsC0HSe/UXKUzt2aTw4vXysynkC+nevomC9I21HXlWw2BfTfrdGkBNJ025neyif0ESu5Gte476TpOLsDBDQMZHOiUrjUvkTbimnKOwka45V4ULn9DF95YQukXz4H1YM/SWdE4HBgpIV2ROdTp3Uhaqa+1Mh+Omp9zSifAfGTnX9DSwVa37trutEvwg0bTpFZpO+wJSoouHze7TzcwvmmjT5hf3YamJgwTJJbPbG2sZGCkkmNby6JSpEtUp7bIMOP3nlu+hsEmOZwBOX4SAjzyQwFPufOE3mDZMdJVOz1qOlSVDrGpezJbh1PJ0z4WGdbsOcL31pJ2fO/682Bk+N15McuR0soZjk4PvVZMwPkCLzmW0WzWR2upjH3ljEm9Ly/IIZ8zHsxtbsrp7v5s+6XG0wKRAXB+J1YisC78edkI7G2DhnDnZxcN/bzvZlppyirRuHa9oyGbWO4+UIQXIED5TyurbBnojzFN3zUL9z+MvKOZFM1S6/ru8dxh4uLLddJlzSeRDvEAgjJrPujJRqv+GX8kUmsnC1RvnIHqiVHTQSILvHQD8btZZ9jY/uvJC3wu6TXuo73SphNb5mht3HDw6fiEpMexGZBCpo+mt+lrz1WgrhqRW1t6pRjXpocPEnpjBwLyGJJrEV4sSbSNUr0iVLllA+yWEUe2q9wihtnzxNl+Zj9MYQTLk7oXeIcf1Ca3LtIqr+tVxxa5rKpzCcufdP5jHtLmkG/VuWoRNV3xvBgXxEf4eT/HyC5Mz3fxj3bCyAQleW/j+G9WOy84mvN9D9mTgozGryfRuW87rJW0wKHON8fzyNjQ+ueZ8Qrni/ZvwCIHsr0lvcr6K7u4PFJSiGKq7jGaKUhnL315ibjw9sBjn9f9AfZycM+0YoCVYupt0F3E7sTk4fko8qQJ6kj0AO/6N1Jx9EMRYxpoyjpPZF8UJkhvY3vRveQb5J7HD0PX/6o0n7v35bv2/3yTHiUPzIsGtE7GJlnGFO9ZIoJj5m1Cu85vQVD6HOGXgR8V6Lb8159cYHA5hI7v9XQ4uZh7NJxkhnaUQ4VthvyVQANF/lBDHljIo3LlLmIR7281i2CISDoXdT2gto8DWFQpYzil1w+8LhimRd7ryXZx3RfyWka5G+y+KSpqAg5FlSdPZBQyC0amSSClGYfFQ3OJMESLW0F8AQZPp15OQyGSnQlmRT4KirVpBQI8NdCt/HTPKToqB6D4fKT+MilqwTXACHlocJYfbdoC22dL6FZJ216X0EfGeXZEcOnGhngmjx8xc1iz5dhb4zjMWZ//2bNeurJQRzgD9cP/tbfa3v60OXoYi8kZBJoIFnb2rWCalLfvkzx9or+zVSffZl+llddswBZyR+ibLI/qdXHzo9LG6TeSLINzNqgy6nyijUp9F5JwQ7QvIvG8SBDivIJvcCGFnTWX04P4GL+zwKbN9TVXxHV8kb64okBoBe5AIwWf2G3g1TsuJRGwpEq87msWamhAO9xySpJRrJRqQrU1y0BI5GT87pNkM32U0GaSKsWH81Y137KUkEDSh0b7XoEHIcHfJywQm6q3sFvpdgAjAJ4sAoaHWmdsPypMXDkHYp4pUbsTOaxHUac3NwJ7gses1a+OU4U4Lf0ZkjImhN3bIA7zXjkMxZkoRTLcfEkOBi9bluUU0d27wJfJw9yxUvWLQfdm4e0D0XBnlTojNKMkXRxdLzZcaBm2XuCAD53V8aNAic08p9B75IX4rq8VDeM7BCJYyLus6YkRQE7CaFNXIxpwXZC5rWGIOdKfZ/ryiCVLS1dmTo1aMe961C2lAcXczlIc8kzsw3JQynSg3P1VNBZ9kxbVdp4m83S6oUj10NU4rv3twV98dZvimujKJCeU1mVIhSX6wYVpp9Jrjpc00kUgbCnKNum1bYnd0bqhnD41zN7ma5FVr/yytNtTK5tTHfcCkHXqdZdnRaiKG/0jdQLkqK2eJyR02i5Ht9ANljSnfeI7fKlNnO0GxCOBNkxXCh3HpeO1hsNTUOBZFC26Jr5A3aYBX98/YRwcayi6WJz0RatdEYxK2XMqWXNplV0PcvNmbQj2IiY68TGdnM/N/NbIJeP2Qwxj9e0ZTk74OQXfJNxn6QeVEhwra+/Uh1Dl0vAVlgjPElQKsPeBaP5tPFwcIyIHh+wuxZ1Tkjc5QTqTyHVYxYspy7WPie/5/ETdfTDJSlPllsVp4s6cVN6Kl3U+HeE2qHmHAIvFeffWQclviI5u4sOpqZei/nEQqSk6xHMD8KJM9zXe91Kh/NfKZeWhl4iAwYzO1rCOemdZoIkszGSe8XNelc9L7vO7eNw4WwlL19aqQjz9UXWKKxGSjF9o58tinsPrmq+k95OBKprYg6GjfP+YK/YrKN+Q4wtg9xER47SNiLr5Y0qaxQYj+biFcVBNuVWOan4OPQmcLLFCyyePut1Izc4OHjdfuxfMNjUJ4lAZbxe2XuygPzpgHprFNl+S7LTVmgQYesmvdjxQH7VGEeCyE+8VqxDMen3UoASD69mBFuQyCpnoq0HXuY6S2clG3f2Iw1EWWKe6EYLSzRa5OF7hJZWwIEzDB3hl2NMdgOFtkHm2dA3ompMO1BJG2ZKto4id8ZmQWNKD9vLqEMbUDNZUCCmlTAmPz3I6TnaL7ToMhAmccHvaVKsDR5h9b3p2BK7oQkmaL7mgc8yr14Axoyam0lTObZSgWXW34ggIEkWE7KTppZu1ED0MN0lFcKzseWet8A5+w6PsShAG6t8lY/2h0Pdv2PJKURotTNe6N/0/dj4sqY8mdakhdPfNedHiAD3dj4u/bCCAgP/oorEU+Swu4If/oDJWGQLHI/uUmUaAgIa1oHnEx3XyjwPe/pqYUkTOHgreSpIsQ4vy04sTdsHjFmBNQNz9l6tAmO1jXYmntMHa7U+iU/wXfG8cZmbPwlenxk664jrM+Ch0mZJyJbVe9QedMa4E//OD7rd92kkgIx/18TN33ffqv9pbgudIeMxTVhchgDIb5Ap7aLEpW0JV5vgcyDvk1OGBGQm/dtSVHDET+mMCXt8HmV+vcEuq9X/fHE7vwRIonletsTgLavbd725MLgkJoagVH9+SJlxEbUGW3xReEsSSWTJobQQ9fzASmvW5DnkoKVmBp3BAt7Y/e9fGg7PK5P7odJFuI4zNoSacINHU+YuBJo4ZX4/WSYm+r3cNZGUeo44fkEd29yes1NlOYzEUzNKVQBnLlIa3lkB5O5avdLmjn2FGOPZ2PMkQn8EyMS9kMbduko6y8lOVVhDp4CtUN2fyFAw/x/O7B2/vQYEmny5kEz7G/5RDlTjUJ/Do0474HjZQDAyIszxj6JLXNv/PehxsnBjWmQxhVcXP+rcXFzSvMcx0nqAVyKTPKX/3+VY6cZ3Vi6+Ge/phiLzO7BVVnefE84LzlTazHNrTVN00jU/RE35+iruCELsc/37B5Q1kAHJj7ls9UYkL+OnwazbvCyfC31qZv+wpo2yAKgbRW/9huz/rez1iLGZco0oAZavNSQUDGVZ2aqiH5Sd3hEJsDo8DDSgHFXKOM7ZRSPYlOeg6h07p6E+x9tIrTojglvS86q4ulE6ur3ODxn/L7k3Tl6U2emjb3oeRX/0hKfNvXrr1QIZOV32Z9L200+rQiSMmWekw6J4te5EhgJ1qfj4Jr3UMyFlsr+fusOLl9JpBSqgZFtgGR07shnMEBwZsMH7JTaaDbKv3/gNk4nq+UB4Hp8/sst/ZLv/Z1TOII+4/1GLBnO+fFjwt1aqL78veItEbLH1PJmwoWWJ3vByj0n0ByeMIvNKQMLPjT7lI+Xmsxe9SyjMgn5FxkzKrqocnAaLlTMX5Jj/rqYGFBe15J1iBJPfZyyaVxwZEecGyQBSok6DSoUIC3/j8Pg46E+ywPwZ6FtpYyyZZQi/1JaDeHIIwLzxwrvU0nrO1oBv5G+p/dFQbYPnXX0+6WkPdAfB4WZD8Qwju6nNAiK5ZSH2/Dmi94zDf+hH/jzMFmytsNe3wLBsZWrLm0FKjhdgs7DAVs8BcsBDIynQ2OY22Tp8NyQ/R7TtKu31eL9pTgYmPhNWgx8kDawfQs8pCktPaUVdTayoXQULyz2OqCJNpfY6hq0+NSuIP1wcsaW97uEHQjv9mVwji+Hhcz5lbPJ/gVaj07QGdSBhXEyAvWHYViQQXFiYMNqTdLpPC1zuHw2KfEoXNtRed12MvGDBDOA8DZdq6OFVNn09P4aMiVhVLxteH3hQMMPodNFoWHonG1yy3bWw7dqoz8Oc5XvUe3oPllwqVLORvFwAKajpVZhuEhzeok8s8c0u1hoQHgvWRH/x39XiZRuamGJ8jAA8aB2C7+tFC2nCbv2CcZ0ui0sXlugurpywQMXbiiSWsUXI8Zo/c6fuA2v7ONGQAcbXVsD4sYAQ40s5pGit9On+hjditpxG3S1Y4FnBGHohO2nbFXgWnXLXkRHaKUMF20ku8khM3/Q+mKOouDMoLJkNAf0eD9K3kbGQnEt6YprnlnPy1ppZJvPpJWgeK9XkLxArYWMunJN92Qr1bIqxb3dQiZxg2bcvR177nC6RyfKpGFnZkqtmFOu2iNXKoKb/hKavSbS99gArobhMeNcNrRuKp5qTcGWzrLBlKBenmD+nZ+LkD/kV8dechanczcHBGEIDSLYHdj0p7JvLbBr5N/nOHQ9iQFkW4MRd4RqabuSxknGhveMGM4q8oM+L6/NsmYVsACx3Nu4pCVgu8MKSH7VKj5L2Oxb7HhWJqVY6oFTuuQkyiMkZoXZPfF/QgE2VCx4664OvU32Kp/BsodLk2Byis29qma/6dscgf8NAE/hVbUrXKj9u6EmN2hEEv8WUN0DYom6lEZIA33RWP/ceIWO3g1tUJGPKeyb7nDxEN95dqAo3SjDU1pTbsbYsV6cOE4ckpgQ0cuvZc529wqsrmH8fr9SUlpRR4tcKIF0pyiSQ4Exq3C+LPWVfdiDZbIERhUotY+KWu03tKEtt/k/zGzqNe9XfzuMGlVapm3xoYeh7L4rhKBiQ6Rr0YwmeEoD9SJiFA6giM4ZY6prJpMxx1EJVbM8b8UNw9c4kmz7KSTaHf7aly8dZCfS6CfPbsvDuTlzeCLGM9+kUof2Ckt9P3tKmF2G6L4bTmQUMJLGn4RcyTFUfEoS5EK9gtjMBYErhwFfpl/MIaPcwDbfx4izx+djB8CXaggYUweXPoOkLDd21tVFGpvS/gMMyOepiqvXZCCe5cOFCKrCdpx3+T4rkRHLsFNF2TQtbWEAkF1MK3kthQ432SjBWXlQq1TlaM/ZNomZdaicPOLL689yFqN9nPHbQIXP+/JYYRF1ymETItTtxZYNFKSRZ+BcP19py4MWoZtMbsty3pLVl6hdNcZiP3Jh/a+KlCBdlsJbbS3NYePIcrIsi+TEQ0KSWBr/lSMbrZMiOMMcA06NYg0ke7t1SgvR0QmIUYYxgjK16P/Jh0FNx1OZspHiZGA82Ep1hjCQgw//IoSxiwQi8sgDHGbxuKdHUrFx/OKf0N6ySSfiAwtkK8IcmxtIMlWOGTZGf5j6Plr/temBDGEbqcJ0x26Ml4B6wYl1obgZlddagIL7P0XCyLf5sYfLCuedY57BlTLkCi8p4CZUYaWnQc+FsfKf1Pbo6Ka0AGG7iTQboA5lmKK3W/0dS3SDwV0VAk04iCp8VlII4AURDuu5dCGqMT/p0Ss1aLeKdwNXGywfAGJKZYuAu5LNAQbOamvdTJAwMaOuQqDidz6INmO/Lha8VPw/oL8UkgOp2Kvo8qPqd3Wh50Mignhlb0kY733nyRFpFHscMI7PmjHC7LkOUSFGczywGF0zzEfDJzs1RN0N3uInYK7rHflBP2ydnmViUl2mFtcM0NjI5qnKulep1ky0KSDLrTMqbJBY3gryYj5Sm9Yw5zHkfl9aR6yNWiXdQ3x9GB+Ys0bVJS4ltJ+7JJ9wXj9sSGiE3A2aBMyvfMneRW+4NAIINZ+nOW165HofHbQyldmPRh1Vmen5tcjhM5LQxEKHeoCdnys43N3xcS/hPq+LZwL/AV9ZfcSkNDy9cqHKqH5vhQLLIhS5CkOSRW3q/7UWEZrSCvFdRNeof23MBZx8jNyw9ALF7o/WqDVeYfDyczIsOTNiFEZiRU7aU7Qghu+bAOGpc1ak/oJ8fdjhehyXi9Mr9IsnAlSv258l2y8+KP1pTX0Xu/RzhjhShtaDaA5Rd8WLNTrSWEqIsxvqxn9IHpXnfLuipxMIqM8QM49zk1YJgUN3k2vQzwN8j+PgZItiP0cux+bkz1jp8itQJqjlq6Kc8/31np4ig5gdJ108oQ5Mq12aG7gWF9VoZ9LKKaeE7rgk1m0A2r5his7n4ICuj7phA2Wjzl4GdtIIopDrUxGwiYHhQlLtwbSlt9Cbw0zvibDx0odkyakNksd2DbfdICm5k43oEEIN/ehHanlvV9eOGPQkWQHAEnxShoAvMa5EEZsy+namOOlX6MnJvD5Xz5DefA2ZL0g8gzoMU8C/RVxRY1WrWguC6MLMwyRij3aT0DmfuUNWCO1hCv3qpbQfTSWmU60fE/tMz8jnNkQb39rUuW+BkiCEH4gyQXqbItHbDhMRzd1ZjMMpy+2UXbln3xNW3JZXOZrbNf8jIRp/UIKCFequ3kNGRqu+JyhI86JlzVhsJmFVZdG7Fnt3CQFiXgDhGh5S2XQRssEKNm6n1QMQn7XQ2dDLZJEF9DIuNkkTIIwEDw33KYqIx2+0mO/izwWi300mGCY7FaL+FYl2/D0uth2daph4XdMKQ+mXoMoIxTyfa5lw5DchzP7UG/nd/WA+IPG7lKBlTvOmtBIVoVrsflV1pUT9KZpcKyv2ub/ki0EsXMvvfoRbT9T47nXIgMYCsL4jLELAUQ6Z//eNEbH0E1BDopK3DjWfgboHbJZ59823suWodhmGPypdUfSs678rFs1erFyw+Mp3sy1ZgmRgYCfCzh2OaE5uYkvYdrk26od79cM9A+z0of/fergL4LS2nWmyfoP74gGRzYpB7TTaE9S4kDPEItwsM3X8dU+Fa5DwiEGeybiff4aWRXYDboXcIoH0/5rOjRYnXSPsVC8aLyaxVho+Yud4x03BBCrIRV/46/WelzhHBFIfEzk3/Jwle9tls2E3EH3tDA7pGClgVyhzjaZ6gKA6EFYu1xyR8Z8cPSZ7HjbPBWPLkmiG7Z4/Z2LWWEz9hGp2pwqncG7dVVhisKJ4Mj2PwDPLC5klfufw2IgcUBAkJtMdc3bAQ8rzFg6896Z93ldu9aZC8aqCSmB/VxXFGEbi/9UWPrkOSnJQQRxeKcEozTfx+ipBo5Cz5A669Ac5Pa7klo+Fjo2KPbYVBMPByMEWYlGzONNLCmNIsIyY2/GUScyop/l8431DDWK+X77bhekd/AXIJnA33+FV4Jw+M09uV5Fte5lvVNgY1GWNb/IoUNuNxSmcij8NnQRyJQ0l+1inMVj2emBV6uq7kTJbDBGQiJ0Xf/fWr5Kvr9QJVClfQzxCORj4p0uVfzDORkNxqfKVnSKyCWrnD4hkdKYS1krnDf9Jx72V+FKd/exD8oo8NVTodM4TuNw/0FPVpvyYPV2yiQURn3pOsid3auZCV0LUNSxVr87iJMyFjdlEbhzY4L5K/bENws0WAM0nozSt8at2yexVdppVkzw8Xb9tbjTzBNYWTYztNZy9TIIAKnuq/xN55oEh9nojHEer6wGAyna0DB2znnMDyA1X92wgnFPhYVNnGo1L6cYgEPlEaQsxcQOttgGZbDQe7jMOKsauuaC/RcTfzXx5BKIXgs1uSwcHPm2QJi05//WGJcOE4YEyfjQb39z14l+v94QUKBDVM5W115+Ba5FHyr0B7HgQNvRCFErr2oRUSZrKr0dOadgR6UepJY16mYbs1j35RfG3WcmirksAefzZi2LO/wsuRpPLRINWf1Nq2hXwx27nENuONhTZg59GMWUNrOClqwDueM6kva0UpYZS4FAHfzJQsMtbZXO0HjmDJB2r9pnJ54s/7W6/yVt7ghot0e/4zCuhG63KbdzeQb42zjBVsMoSkn684m6sG2HG9fcoqu6s5bmVWZaxU5RAwb8/Ld0vX7szmCWdDSy9UgpaHaSZV7lQTCX7Pw3u2ZdT2gcK3AfL8r3XE2eVMpZGY9M8CPgOC0YuTX+O8GLCaMvhS8JhV9NmDaB3idKLU9UzVircPe6A5MoAc/gSR7yViae3rlzFmQrgQbkwJSbnDpIjka6ODAd9VQKN/267Rw/s79+qI4DVx+jHB8WkVGXLci37x1xOE8UoA9k04ifXX0EkZXhzjSZcKgHINzqh+bJkk1lDNRGeRbcP+KSn+dKpEG4TYxJqLfGntZx5zGhcyMjOpRJBLZ9sjQ+Rzt8pMTfCk8Sp4ZsJ+drDXMIGxk3FNglrduSgkDXMtsk+2emZfJdumx8tlDYKT+JHHwalZvc7sfsutMeTlIfs5mNxjfqEj57o1wg5zcUCelF+D9RtJb1xI/gNxRdQNQQcRxYuVTmkzy6xeIxRma9UAh+4wX1ZfvTkl1DQlzs7B7hXIWOWtNPN3VuWVLiODHxu9DBynIER58xv6uCCJaqmDe9ejjSNXFNoe4lSkgrUqbvV3+QzJwkzXqkaDroWFWzx7DsuEaAtj6cHVBqAgso7shHqPOn9VtIr0/51su2ihIorTsWoANWA7qCToOGl83nMFRt5+K6aZ5KSm6fqzTKu+iGLIcLgcGCzmjxDTOZkHf/TMFOWoB8YonCVMCel9XZeHD54h+quWdn/Me6R/feGIAhmjjw5s3FAomYHnaF5+m9hleRYpb99XJZf0SXblhwt9CU5Xrwck7OiVrbRxVnvgC91P5eMe8eb8yfssQUjXlqvKtYWQkNKGKUTcF1PsZanDWiSelJJX+OxBrL1l5EB/kABx5O6KSGDDMyEvf2yXa0jGXoHF//uNvpHjTlfIQV/zfTvMGlfMS+FtEohJh0qJsO11ejP3MYSDYGLibVnIXjmnAS/3wosn2eZMQ2W1niCOZogXg8gmaqNaQn9eT2NoVdvScnqfeXibKtYTtKitkuApsUOFxnQjObsFM9o10VJVKkwFC75+wP2HpMjWd0ZeSWusdfB3HOpQ3cXuYzd0S8J0Y49K/ClICkYr0v5pry5WkIEBbIbYyvZryB7a3//JMQgLjWfmsJuxtRqD5mOOG9oWayLLy7zDHACko6Mu6YTiiHkAluArKPxrdmhx+g/uz4Dr0JmbdXySOMBfYrsKTrK3gN/ziFHxN2Y2egsJ999q1cTjfGX5K+Cko/UAqfCvtenSdsg4KXaqlgd7KR6HTKAWNvgEYNiWcedf27uPBr6cQ8HV/DrEbYe62MHkYtErAzxMHhjghjit6eXrtxFWYsVbsJ84/VOFSJLHXXFgNvg1b49zGVTD+QdJfWs8QVnyIgdqMmZ0Guj4Gaxgd9I2kvtyLB4WSI3hAYGPSuGlsdf+RHjJIL1DWNkSXp1KzHNkTvCVlNuVu0Eqgc2FsZNdes35HsTyEqwCNpY7fqyO95FMIoNNCTz6d5SeMzzdZ3b7lzdaTrWnCEJ6vrGqeEtg2sRvfKVSf1H0rMazB3h0i0Uey2fodH1L5qr4osr+OcizqXtxkEbYRJ05FjkYWzs3mux3NlBwAJA9Ixuim0+bZI8E07gGEj9zrAqDoyagryUsYKYT6k2AcOYIrBbyDI6D0D2J/gT5oS2DcQrP+Q5+bPem1wCfSp7dyklE06CaUZ0+or+vWrpL1Lfo6n0uAeSH7O/JE51PQPr+Doz6pz3J91/E1kipQ6MD5tKQXedfx+j4081MI9+E+6qa6ojm99+R7oFcAIWAc51TCwCKoWOsUXFa+asFaScRCPYnTDh0R6P9nMA1mP9WGExhZ9APA8YB0XXXABD34ElI1RntmSvSBOZGvVzeL8FPt6hnebPJJ917g0DxqMbdu2lmZ2iOGBqXzuExRgCH9lbjmkbeOALGyUsIvA54/xwhejg5seO9KUCzqAQWnkUiKjEDDQT5EPp6z9nMRMWmYJ+ur2ioiHDOaeeg82jNq3nE0AV7ldTMzICT5KR1zurtZJ0tV2s84z9+5f5G4zyMo7B6cUFwUDUE2lHj/QXMoInjPA70lrphzNh4ZdeXXns3esYdiTjYvsxVWmrOpMDcwbIGafLtxo0J0bBK2sr8jgliNnKeic9/Z7a89/dRO72UE7vSPtaiSIQo2HPu+OB5AeLzvg9XtKxWAK0MvveSmuVmN/2zpSFjTQdALNM+R4QW9P/V1AsN10fZw4sndLTlrO1x4usIht5f9xCGYuDj0kqx1TAIeE4SY97J58Zn8bznQOPNouwua7YSpCo5akplPx89LUIwvsBWnoS6n1LxZ2l7MtmcGhyh9dZpWGq9w+dfiQYRo0gECLFlBRzcZj3bTuolnRB0T9VRYX2J9hz63cTQjbDWUdWnQeke/X/RYrdzzdEZzY9dHCsFRDDt8jKlwzmYUDWwkT/AFeb+XHRNUK0KAA7+vkL8s6BrdudCNVceHbz5yJcItAjtYO+3+pzlgIuPyFtJznrNWh7RzT95RakezVbShcCBhxl7hYqmG5GnAU4QzzCJDwKYYtZhK8CEp35kOkh3z6MtfHVkomjFSAG/nqRcxNUqSgVWn6fu0gbUqKI0pLXhZ94Xw/JtkyjZRA1QOfQ79fhHLezfNl1om+CJZ8HpgmnKjrbDc/CUiRsqJQQi4MQs3BQaByzG79PQUe1RN2y8qfgPTbW2OtNx+/K1+2KJFcxpGxskX/TaNpaIwsaSMrdMlZas+cgLEwC0D3bVg/xdR5eyqAYWEd9tesiyoKI6kJHvmE+kNew+o7lPWmOpn6eLNqBPDrnIh4WOlNtJ4F19cZa6oav037VJyjlJ72Ru2AmBgk54GdFpNduY8IpdVzXX9ojzdGYgSOR/rtEIdApogIu/YV39ARfpdD7WiHmIrEDs6HJL4H3tjepD7jaSH0IwzQDAsd/4JrT0a1p127EMACCiaiP0jV8evZhQh0k6vvfb/94tbPTirp8xT27pAzyu4r0RQFeRCH0bFMOhNU0CQdKZEo2uZXnuTco9FisjlJzaAkFEFzghm1vCclSbFd/ZEpVFePZEcxFnTalLFsNRySh1nfpFfsKP3kIa7L8KIGnF1i4zBkQN9bWKbPYsXIEoQlucrBK620knMsZ2yirhkvfHm5aP6yopN/9UAGcz0+wf2xAeocJJbjiLdgdJJbIBjCnlLDFak9qhiVCnDjEsOqATJPkzavSEefllg62SU0U/nLqBbNjrasTAxKv3SwlGqNOFdW5GzJ4c5PrPqXj4Ku5+ybxERY42mRdBV9k4syQ7NEVp+q4mNmFncb3G7fA6QSUW4L4aREyQ/J9M123aBsWvvna5xhnAZoyf7aNAM83yJGsyq33liio+gjVdwpgYskouoQl5JzBvwjctZ1OQSM5ZfQUBpEbUdZxBftW25Xl2CVG4ZbkZxeWpqaLmi3Qax5yijtv0O5jOvT0PwGgwUjxyGv01Y02yMKWQ0u5UVJ3Xx4M1ez03yjBaWUIC1idcxSwHx374o6QRu/emyL1G0pRd5UCcgcWCzMZpCMhNdcH0jC6xfxrwoO/dp+8INC2l297xNzahJRz0H6kNdECxXBaE1h+rpG8sAAw2KYGSje7bBken70n6qcxJ75GUnZWmnnIyXJPioJ/qlDBHAHJGifBzh9VhKQ1ru9eBgqd4xzEtAy8e3mGnNI7ygz/87caAO+naru1x2SkjyleL4SzFJF+rEtVBt2/Yg0tXj02GhOIkeNt0i5upC3T5xeTcT/Mmp5C63xyozLF0krjMAsD1nMfEvJH4rDYBJloQilYNACpvs0plb8MoykX676nDcN22BIS9zgDICaJOp2vEc/hc/1+W4Q00rdjoLIdc6BxlrRWH6Thh+K046+Z97GyKvdVuCqe41Tuo05N84iwjK47WROTINEf+ai1Wr8NWmVFhHTFA1Q2c39WFo5JEA5R6UG0WWJ5tyo5Omyx9CYQoi9IMl4vai/ARDA39Qg/IVwO8A9zp7lx1K2+gtVjupegKrqbJMKR/DFfRx8Ct0Ls4rREXFz2Z4MZfWD7JUPRz39BlmX+lJUiRScTU/xyqzbDA+ooh+lGyQT4Gx6mYXompoS5+XHXFPbDZdUa/rUnLRhmXY2oRVxqmB305kTnevA7NIVyw0Gbkm09fb1ZcmYeZdgZ5n2JJvanuvXRtF0N3goTDKBF0RoX4pt16hdOPvjYA4UlOhZKJxn5hHRveDsM+LC4jh7Tu4e3vOTn1cdM0aHfl7ZXKq5mBeNCmbmCQlGH16iJyeUcRI6edUKmR9clM8m3j/pN7N19WbWL4g6nX+TON/oBws9fpLE5HEwwyIcqQTMkss6j3vmWfUdQ0u+044EkimNKxzBuLvh0lUW22saSf57OP4RGvolUCtCdDfwmtB3Ls2G5qz1PgFRDXm/Kd5cibHGvMJLPbMRydG7aWHphndtEVvfXJir1JRxnNGRnQeYBKzTnBueC3tnaJt/a7BqSizgERROu+LZnAMUmPZXLsGkeL72e0Av11RpiMMmi5KEYu6CPweNHQOeCdi3KtGkBB463+yDMRVCqR6pVhyycTt1f+6+6IUT3yjPtx/igybS5t03CnleLqukYcGbbFtS0T/L6voNhUpGlOw8UvaD0AP5PZH2HwFYx/6oxzhdskg9dFL7ALWq7cdEfmrtl06qNWXRUmmNpjkkWfAoudoXzE3P7cyvEBwT2IHeoKuaAA7Yc20fbm9ZK+y7og4BQnhSwre2fEAroR1YKNl6/A5aHAvU1m33AX1PpRichkNXTKVa7UZIPzJFaEpD0LjUneOjI47dQubudPKX3BSU2BPv75u4dTohsE/hpmIGVgxpPLeoB3RY5DSAQ6xawcXhKNCha5RvvQL+CLhAMcDHgQuvBbCBzoFyeBSofyw9llezeTCVEZr7/VQLbjcMgMLzQO57veK+Db9yITCFtl7yk0d7xkKoSFHT+v3SoT8JM5nUiwxJBrjW/dFTXA1/u0OXA/R5+K9kcqktQmDyh63aDwlXPIA6DIRAwCs/dBIsc74hWEpgdCnykl65I9yS/yJytpqIA1U24qMD/cduTwyrqy/EeYgtuLcB41Ql4s/WoAyYYQ2bZmfqhIXFAsaXK26i6E+A2vZ24nzcoRO1oEO7q3XftvVBIAFT1Xnk2fs33U2RCHO/EYT4I3G8rYNWA0ZFZpPdg+6cI1/ZqyYVpVeKan7ypfxetU9Zes0qlqkO7rZf6znDiCzr2zA8adTKCn99KPseKj+yQKhwk+kgzJe2U3uDgzTqeMrQCWyfg4+84jRex0wQyNHuObdMhGrdf40xgprCn/cXlkpmEox2Ygi8E0IvleRP/4zHgUkKaZIWUsHzj7p5CB3AyEt03auehKHSmogJkVzv1b6yifUOXSzMnrKOUOnmQVk2s6+GIVtYTqV809jMw9TzyHvVO1saEKGeLgytnAQT2clr35ozWpSd9ruVa/X41+ISmFglReZdCIKvOsa0X8GBzlTCjRvot4GmTVOtEKgg3AnxcEMuL+vMay7Gas2GbbVQKp67X/QrObGXZqcEa2iyY2jVk9TboNTGoftwO+81xKfXwaGB+IqzAKtPczbX2f4G2zhkutWiGaWMNYIyuEaZSSo1g66iMhRGm0HigUG0McBV6fCsGhKBtfzNmsOX68wmyTWsyHSqDLbo75XSFQRE9wRshhleClXJ8OsCl+32BpLjl5ZeOG+Azi5T3kxf1YBP974LhHohVO06H/Qz0CFdF7wtBLHkK/AAovyj5GQd0IODFHZxxm5KLV5q9xKAJ0nlPSNVgnfs9wNfZniQ3kYewW26bTwzviSno72mVga9L72dDTBAXyhb0U7SqzrUgBc2oMhNDEiI13w2o4fVKq+XTlAnHYIwCruhH0uKmzwl7I54p9ziiDwCIMZvswOVijPNu49cZ6BZ8DwUVLlzX6bgLaU1U9BWvt39XyuwbEfqNAJvUqr3NeaPtK4mNRuDJ8H/grb/E0xECPvT5G3Lp+zhNYakbSBLD72/M2oPj9/2WcC3yA3u++nEGGYsD5HxqtXQW7giVrJWQGfj13JjhpPklM3DDb4Yi7nyVIr5SHNhAg0UDL7R6w8g1ZipbGNacQ9boTHxUua7jIY//n7BrAcOnta/ltkJi5JApG7BQ856lhV7b5UZzmaUzVXXilFTtfW6WYwmDs1gfd6Pwlhm0wG1oKDRuorrc+1CeA4zVBre1ruqpAixDHtnNQ4cq1Na7ny8P50gsspljlpT8kwGYsBYgAdSFY9LO52q7S9DAdlYu8RJ83JHyy1Os8Pu98MTDbNXNgHkNmjuikASlQCPdllgQdWKcSpJqaUkuULeqPxvMFLgvZkDcy26mHtdmmzxHFAEidagQ5vcEKsx8p2M+uKavU8RWwv0IRRlOCWSgqtkMky8mEtf7yYAdirDq0cPtahxHFkDa+LQs2f/k0JrVw8sG0UMDjt3PF+RWeEIRcg3mAVn8dqWc69cXWIbr7hpbI0gJXDkTDZ+vCthWpOVeupmjL9Anugic5DjekG97s/AueL4uxQ1K72IWwnMLLQr9bhrmqvxjkTsTWuFcyt0QvqKI8xvzEGSOTV2lUUyNbHc3rpcHMK63lprjkn7tnFktirZicM+zKeCOsFBW6SZmKnVEtUnhC4ANR0Z0Wqkxv5wt6U70C0FWnGRLmIkwhlY58em4dJY76mkkOtX4G4drEZrJASngO6yr1h8dBzCSit6mgQ5p9AsdiOh2ntjHW6QDedVa+bPWMQ0tK73waTPxYP74bx5c6cE8siY4LYbof6WHnZxVv2grMvnQBWMARsF6FcvbaVPq7H2g/GNKU7gJffi/tOMuUkoXejE0Ezp16g==" title="Mekko Graphics Chart">
            <a:extLst>
              <a:ext uri="{FF2B5EF4-FFF2-40B4-BE49-F238E27FC236}">
                <a16:creationId xmlns:a16="http://schemas.microsoft.com/office/drawing/2014/main" id="{4F46BDC2-C31D-AB1F-B4E0-23EAD21C40B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340691" y="1252700"/>
            <a:ext cx="11510618" cy="5122665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3167" tIns="33167" rIns="33167" bIns="33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59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4A45AE9-7CA0-7AC4-F65A-FD59980F8CE9}"/>
              </a:ext>
            </a:extLst>
          </p:cNvPr>
          <p:cNvSpPr/>
          <p:nvPr/>
        </p:nvSpPr>
        <p:spPr bwMode="gray">
          <a:xfrm>
            <a:off x="9864524" y="1431196"/>
            <a:ext cx="2003902" cy="679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>
                <a:solidFill>
                  <a:schemeClr val="tx1"/>
                </a:solidFill>
              </a:rPr>
              <a:t>BCN: Reported salaries for marketing roles are low N (&lt;3) across players and hence have been excluded from the analysi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5E8B563-7911-9CB9-BFF3-0DF90271FFCC}"/>
              </a:ext>
            </a:extLst>
          </p:cNvPr>
          <p:cNvSpPr/>
          <p:nvPr/>
        </p:nvSpPr>
        <p:spPr bwMode="gray">
          <a:xfrm>
            <a:off x="8717335" y="5603454"/>
            <a:ext cx="847017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 dirty="0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5BCEFDC-149A-69F0-1BDC-8180A3F19892}"/>
              </a:ext>
            </a:extLst>
          </p:cNvPr>
          <p:cNvSpPr/>
          <p:nvPr/>
        </p:nvSpPr>
        <p:spPr bwMode="gray">
          <a:xfrm>
            <a:off x="6781895" y="5603454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C5D6BFB-3A39-54DC-B23A-7F1AC173267F}"/>
              </a:ext>
            </a:extLst>
          </p:cNvPr>
          <p:cNvSpPr/>
          <p:nvPr/>
        </p:nvSpPr>
        <p:spPr bwMode="gray">
          <a:xfrm>
            <a:off x="5878673" y="5603454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 dirty="0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9D10823-5105-83C8-4B84-23DE0F14AC12}"/>
              </a:ext>
            </a:extLst>
          </p:cNvPr>
          <p:cNvSpPr/>
          <p:nvPr/>
        </p:nvSpPr>
        <p:spPr bwMode="gray">
          <a:xfrm>
            <a:off x="2642944" y="5603454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 dirty="0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1683CA3-86FC-CA27-B8AB-A5C4AF564C0E}"/>
              </a:ext>
            </a:extLst>
          </p:cNvPr>
          <p:cNvSpPr/>
          <p:nvPr/>
        </p:nvSpPr>
        <p:spPr bwMode="gray">
          <a:xfrm>
            <a:off x="1302321" y="5859465"/>
            <a:ext cx="2609721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Sales reps./ exec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571A9FE-6027-AF3A-2363-D98E50861526}"/>
              </a:ext>
            </a:extLst>
          </p:cNvPr>
          <p:cNvSpPr/>
          <p:nvPr/>
        </p:nvSpPr>
        <p:spPr bwMode="gray">
          <a:xfrm>
            <a:off x="5008466" y="5890505"/>
            <a:ext cx="2609721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Sales/ Account manag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E6E1E3-399B-A1DE-AEC1-AD7C05804A2A}"/>
              </a:ext>
            </a:extLst>
          </p:cNvPr>
          <p:cNvSpPr/>
          <p:nvPr/>
        </p:nvSpPr>
        <p:spPr bwMode="gray">
          <a:xfrm>
            <a:off x="8670803" y="5860396"/>
            <a:ext cx="2609721" cy="1990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i="1" dirty="0">
                <a:solidFill>
                  <a:schemeClr val="tx1"/>
                </a:solidFill>
              </a:rPr>
              <a:t>Sales Director/ Head of Sa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295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Ynt+1z2NZsCb5L0NnN9GHnzsOorK/pE9509bbrwIZuY2urXpkkOq2AJFD2zVuMqAXCpze8dDHj5n03uqOJjkfpU2rtPWrz+PpqXsaPsHHm2Aux96QDXo0iQDuKgfzrIQT1GNwLVoW0dQdOGSv5c9ZAQ1MPOXHfdoGCZw1C1QdgDYMUqp0yMXMUhiXmKsSkCx1h6scuT3hw3pAVAeizfzJdYBKsYjyFTOJOGkLc1i5jYV25JsCxHgsoofjgSTu/eHeV8vClqx9mfe3yN3prVJIy9lr3nFYMpi7r89O3Z5E9fwMOmgc0l8ZGYcWmy4kaW23Y2Is26fYW+eyvM87YwOjlIdiyUXloOJI6F5gHcdB7YOhZ6YgtKk3HqfVaYbN0TqdWF1Dp4BheK+mFtLqr5b8+mWO49hTf3Wg0i7J1AgvI/YhcBB4HGKdpodgWjVCZrq7HEKffXOhwl/TqLjcycAOART8pDsKGZumO6H6VA1igW+jZVA/v1aDCbfj7SwstjegzhPNEJTjXWqH3nKxSA6mGrjQ2HZRvjxAezc7Sw311jcgMEOgaABGzp++UscfuSvvGEIwdBpCpwsFjdlU/37CQw+RpU6brlBIdKZ5dgJ9uMAAIPerpVFTEnEbjIludwDMAJutPCqPwtHE9cInXMWw11btv/QRZq/IZfSnVkgJGWSG5qYPg/++jpKI3RwtuvyY0f7toO8jCF3JlvkxSKsE6D77ohMDfAcRYK9mha3LWqSuHqgTZY0bJAGu21/sGIBZmg967/V6b/qpOqpHddcBh0LtS+AGcUIPTv32cbZX6iFnhOew43NDRblYcJKvtz4lTLEWGvSrFBtFIRHtMQEDaLMqJUxTcv3d/8mkl8SG7e4Vu3c0wFziq3VHChi2L98Yy93VFO8MARvRwuI6z8GI5Jx4V6EQvqCOKcSYM20KdIKhHV1b9PU4tonn+TXqJSt8s8ORNBy909vFcQn0LV9X1aCslWFwKDingN9aTkViOpLCYovcsm3gYOyttdA98vFmu9nnHizqnMv1gaAtSoL/VQPjGtbFJOkh9nuE4uiUoS7mAwC8fs55zPQbIGNfZ3l71bm7zU2OIECsc+FcsG7JWnJkF5l0y5+PWUMJ0+jzRpmMEiVPHXvtXD3TEKQ2BAkAbJ8dZkHyb8kfEZp0oO+xRcT3tRs3Y53oA3m78hPQ6TSAaCFL5otqgmEO1FiMdzI6ryZoF4AOs7LLE2u6L99x6FO+54QGTzqRRLdl/v4SFQ5/v2MgR1gkHKbuKkGLA0Yc6TMkp9AgNH5glX+IVUReozCCQ8QomS/weI3Pey+k6yK3Lkpa1tSWAqQ1sIIOKPBmopxmKScxmAn9ZfIkrXOw40QU2+D9etUXn/IroXcG+LZvxuHxctMcIpOoHGLX8OY0qTBIwSjuzUCvUPYtmgJm5BqkRvKpQZ9v1krNVbSwczlYfPH8A8t7BpiXjEBjeJyfguqgVG07cO6+Iz/1ta0ppkkVj0ndp+TSi81cyCQorDOAQBeVPiLUGmXk+paPn8EbrWZM6gl7FAN/FX058nPjCjeVKnJbv/KRJxFEMfZJaHOZcrNrdA2qRz3zPLDMLDE4DBpWZp9ZpVAPEtpCBZizrESqiU88G6+A87MTvNp5UeMUMH/WgFPQJsVpXOIQhvtMUMCuaUOWYND/xLfgq2bzflPd4HkbqYg0qzzPj3iFPygCEK2l+58CMTdJQGYrBA09o77S6b5+bksbIOKdcKIRINruS2LOA118whvIsVt0od6ZdfS/6j/6Upqupk4oHqLXWprRTlO4y6u6gvaeqJ588Nh1EELBdhLGxlZTcC86n8nWjsYXFyCZz7LwohtgDDIYMeytySUbplQmWK3Jqbnm1JVWDSWep5/2JGoZL7HMx86/IWqRfKMv6UDU0EnNstWP4/CM+uKMkCFkfPh5BabKj8vCi9EA7sDSzT0IxGOIQ62MUOTqKHfgEoDaBZuYI+R+Z23BCC8BSwnYH/fw3hvGBOFf7CD35z+g2KDt2oufeb01+n3DA3h87mslVc0o4gf5jOXlXkQ1/BQ3pB3Jl2j2qUunChG7rpYxtxiT3oZrdSR56B9QCgT1WW9iIpu2+XQi+AMvApEiiAPMRizFz2Jn60HK+2cQW937aZeob30Ml3BjZWZ8rLncUaU8Q45q/MdApHZaF9UPpGBeiX8papfpcNrIgp0D4xO+5lc1ZUhRn9cFcS5pMjZKDFvOOVjyIi49Ox+6aangsRtvYdbfHqREFTatLKIyoxQCylgqE9zArQDlqIvqdw+9kdezZUyc1157b6cluPUsSHQHlUYihP7On3MGyRMgJWHJ2wZr9IUyRPXAnEfqQsBDex2aor5f5PLfbBzSjhRwDBh/1Iy6X0pL5GFyN6CpjXBjavI6zXLDH3rRnSFc09jGr/pcU6ZRFvf9aaaCg+CT7pHYJPEkCe/SMLswxoCmIlg9L2TGLQ4F/PZ1gHGFdX8byYHADfBwmNSBGS6+gTrr2JmPnF4Pe1qf1HrXRBLyKKK4YmAvJvZBnJibIduRfBL9EHIJ4I58J/xE9WQ9dEHb9eUct4eyfIR1gx5KH0FENtkNoO7I3/KHDPoHfY7Qt0ZzY8S+cN8AhE178Wnc1Bvui5caApoAxzIsnQNApkNU6sNeSq0SGigYcrpX4OfZyl1UywtRb8ichmIGbcwwEFd3pLXdVIeCp8lDLzbliR/s8UvRY/vP5Je+ExffLCANOdAS076dsgtNpO4F3LHebVTSGNHWxQhX/ZVFlEhxnYYOxNI/a8MKGF4CvAH1wFBRMN7QH5l5qmuAgZX4L/eh3xbyzxJjXTAWyVItKkJvXLokIZIdujTR6ieeemXzzPmAVhoiKeodZ9OvCnk25E3HwvO3/mQxM+LI3WpICdp3W4CAgkGDEwq8dGE/VVXajX2T8fQQyFRwBAJXYo2RIzENff9loHA/FwZ79MxB9UjQaCkktDwWQ/7hHGndS/EhFZOhYU6LB3pedYhpsfaci5Utnwfm5H9Kjz5kQL5knr5PUSuobWQQl1rumx2o+S+RJCGj6CnqnwNEvb0eoo2CkfK3HulyLNifnbXb7XaBS1JC+YH9bh5kKdMmkyQ+IjO5kaMjTeuW5TEkLgkKEqoTRhIqxAErQDX7LED1KrN9rn0J/aG2dvF0Xaij/2cu290r40s3y9Q1H2lrwC4ypF0qv+ffYjBYXYjTtcboVGYfehMRcKEhaZXXvjo6EEJZlylQio+ye2BCA5g7NuifuJihQnIvp61ZeZfVZTbsMnQhdgPJxtvc1p/l/vFiFyNmszzQN9X5Xv7KmjDQplUztJwtaBSq8sdDt7CA7ALqW9sUzY0vSid1qAu48YdnW4xBO0rWFDc4Yn3OU1pfwa7bBvdOYA2zOqYcMGqijlgfSHYGiQhgx/41ImlvPwg5adtbd6SRaU9diGMr81z1lMYhHEHUBAVUb8IjjcfMyfrREtrapeaTaKLTlOw8LOpXCvREr7ib1M4hJp3pzSPd9LenAVw2mZ2nV7oibgOe3ogEJqFxNva2J26L+Kg4wewaWX+bNdA5I0B/bu8aVXlY8i8uYjk8t21cc5cR7dBUYQNrxu/rstDJhFawO9oytMavB7w179Udg2DBOMZGjMPBKYV2xPDD/fc5WAoMTvhHA+KYJTpHUmb34OVIqp+dXJY0g9kXoTnfKUP0eZ0PdTM9FlLjex7MCTddj63MI6CojP26nYBl4w62clqm+en6jVMc7s3/UpMY2OSxEE/I7pBtC+MrQL3MLOJPI97e+KHP9II5/8pbn9g6izmmoYvw0sJDGyCDkH76Qcx9oMn4tOG2gljj3qUuaZNmSmmF45CC5S6BptxxXezNK83qjjQN7LhGiB1K1jzxKCfQ1DuWqewcOM9dxf3D2l58wiwVfw/oyBPQXXwO8oxBG4BJBc3gvdbSeZYKG0wyYsqmMsUOAETB1dvyG5S6bcJt3w/iWlUhkBK3Svyd09vozmAYv29EW96SD4xEUOSNCPM9czDqpWXIRvbFRex3WD4asefQ8xhpk6/yiTPvl8H+wLzK6tchyv1uBVQuXZ7Xnocb4Uf5de/vph7Fv8iMkgem+8dYK+bz6KRrjKB7rKeElFb/jUPaEDKWTGzRLkGqmrgiiXnVzA6Iw8DqW6Fc6V4rwd3KYwugO6XNdt7VEhObzYVER+qjjXC94T88K/Bg0RQiCYhGk1hZOnjAiZc+vl54rtDGxOfp/38YwnW7ExS7FiwENuCSVZT3NHd++1iAPsf7GItoMUXUOyYXs2BokoERD74UhAPlYGenlnpb6K/4QJplBKhMYGAEYiFJ/tQ6IVVfQEnTG+0ClTCu0StTXEqTnLg32X2UtBuBFafmgnb/7bMRe1LsIDsRAbg/xaVsfHJfpJ15ZcYGnRUUdyeIZXHGgUFfrrV5oIJWLrIzyQviYvQzC+8bADeJ8fm8UglHSwUpVM2ixyVpOLUqYb87wtS2i/4qcoivk+bOSbInVaTiH216iMi56fr21ZlLxUvUDKippjz2tAJT51l/pq4/nb9addilnc+OgevoGaNAkYZG4g8Zd2emmlwm9uVjbktFztCSxawegQ2DjEt4pEJL6A0a5/SI5iBIf4uxR0aQLrp01peLwCIMiPjWZGb5Oa31A3JrgZkVkA9d+8JgUo400vKEvzZgn9u6umopw3ZLBu3Wf9cGSerKVnUXDDZgmnqijcLEGcCMVabS3K4vrzscVYXFEa2gVfLM855lzbQ/8u30QkCLmEVPUr9cZeZ5sVHZe5NPY3StY5QLbmETYEQinGwzIqvR7Ainx9hVQ5FNdQY3VtlaWjYFsc3H2+1izaqWw6I2cHuYE/iJMDoiFhHGJFU6NtXrPr62vPHnoREY/GJ9PcZB5BUwFisxwMQrYhH7blfjQtjKtjFTXFAbez/4jt0zmrprsDhCOMe8xVhl4KW4eH0wqfpUXZPAx7OowwmohIUxbKaKwtvUGTJLGEEzwNecCXj/pxejSwvPuz6UDXC7IikR4xzkKsedjSqbP/7nnaXFuC9oLgFEI7yd38m5PUtGA9egBfhprEangFnbvNo2aQvJIoUZXNFPsWA77rv2ayNX532Jg5s+kr3OGq7+QF3pgi5ItVAyHtzTLKK3IYm5qKlMjh6B4UJUyQMp6GC/iMrq9pbGHndFEDsRf3k2c7j9W2aSsjXViHfQLL2NGujHgoz5EoUGdUvhJfkl91+/eoF2pfCtH1dTEm/RfLqLrhsCbmluIbwXUIoCTZuMsYCuEiAazHZd3XqbecicpI7saM7gBRAhA4warsTX2f1aeEuUXS2ASixIxk34V+QUqNhpnK2vw0VKkojIqPWYso1GHrBCdsgvcCMJieMk2veqpugYNzOA9kyD11oeccjQH1E7RtN6VG6OrZvEHnCZ4KWRiTe10Ebe+j+XQNheZKhxQpAP85HJ1flPDmttewY2VtiReYaU78UKdntDEjEtK8GhvmNhIbD79kkszw9+x/ohJTdhY7BOGc6z15meA3scNGCUxj0/ecwT9sopSqqbNQDqnzJpJ9EAC6+wlfvNk4xnEv9KOHM0Yd4QbA05UCK69LzW04OnmNTaYGCh1N7Ty0b8Q1IWHsS99R5z1OpxJ4UQ+F8LnBlMFEHRh2EvgQDCnm1VXY3RAa95hiDCqlSIXnosAcCwW2hgHnHXcZVbT64LAoaIJpUw1FsjsiQk6xmwK7CzmR94qleVIxRI1BBJbxoaYG6qsucqerL8QJee+Pd1kTk3Wr9NdD8voJthlLAW2EduZTb2HZzrC9R3bKEmHMAan7WGLFDdbAVuKL1uwLT9y3+SqgMUi6csh0Mk8+JwBTDK7BHZX6Y/ZIgY1yCpbB+6PaIF+Ibhhdz4JfQTuMi6Q6oeGMk+0Jmm26mepnckCbLmOU3gyKciimTV6eWW7C0f0tbHC2trMllDwKZ75txhfT8w8g0klm9OHr9PsUfYEIzkNYfbIzIMPmFGLJDbLWiOsj0Q64Zwu5TyDoqryD8khSEwmXSaQqTFNZKjrmwRBk8moEcRFvUH2scPqOpfQu79Xw00yfiT5mDkxxWQbBuqHVrPw1r5xiOQf6QJG5wlahT89yYYXYYGbFLFhlvcFYX16me9GQ661p0boFXW3Bt9R/+r+XwvpSa48oBKXyqcYzNWEE71C2I8XBr5JAKBeQwW8FcNuSkZlz4QkITzaATUpAOqumgIdnX8zOi3zGGflLDaC8LkzUkRIWxhYBIbwTEJtHTNiSviGomFNgRKcPJcfyy7Q8J1r8pH8Ukcu0q7eEBUnDa60XGQ65ZrLp806d6EZ65TTcd6r3Lh7zjW4Kvt/xvXSug+GdwPzmIpyxmmGnUfufqmhg6+WTD8n4hj0QjmdbCFhwjZpFrTnPbJsfkTl45UBFT9dwKDdghRA91i7ZClU3W6jKgLJwktlit6Q/2CmjIggZv7sjWBN1WlNgZPDgc/7DMTK5912+2FPGznElbwu3YUATSTAsEbhMNOHQqtPaJfWWKul3HsgKskN7/aQjxJwjCIseEaOOGtqb4kNkZGxLabuU1bVozWlU8Gem/DmnGRtAkCZvqmcFG+7+1ihdXd0oUx+1PuXT+kqZZjUmb4fHcg/BCuD5D9IR1K2ZX19Xl2FeswUH+Tgtqdd5cLiYWVufyyey22ELGSNNhMGZ58EPBO1jlN7ii8AcCczE6hG8r+ZBY1vhv+lfiHYARAqQ7WHDPb32qpqwYGKBEdNc4Sn7Kaj/JTh/hcy51vrFjcPCulKxUJCX4GkoMDGy96c4D6/7wL93YIPMHNBmQW81PqS+8MN62Rfpip4kmjMRirHbn3JLIT62TPqItMv1ksmfnm1pFuPvGXQQ/g3xOZ4eRvRRlqmYyF+2BtfykEY9PW5ZatD2HGKeFJgEX51RP2cTMMgojUHMpbS3ltDoEbxflCKjtfNwLvfSWA6eJo+mLfbMQwxY+Y8Gz/JqRf4/czNCBQ/ooeuAQm8ynj+Mo6rp22KhuzQWD4KkrE7Kc5Yqk/PO4lXNBdt3sjRXfACr63dTFKWJfdV6M3Z+l1QQbGWzv0J4OpeZnkOEhxW0mMopSz+cVv51BHlrooIxNauqAOU+W1429BCDLeo+03uIT/VL+ftnMwElDFIFjg/lhs7Cge2tWIGa/qdb9Tz/OmuM5DXYgE+hJWQ/rm3XnGE9G97lsVvwhVm/941KzpamXm6wkNNkxoAoEwM22gsZyu4IIbk4PhZFZFW9wxdq0r+Ne8Q4N9FDJtjflc3OIoURJZHvS/dffVhy9RtV0R6En5kYzRP9CsJhAo9rOG8LXnzmimeIMcHUibvUlNGhqEzWXg1dSq5W4+8gszABPIRFR5C4Al5ElTYnxdPmYONlng5So1uPZoL7AyWJFVK21C57yZMc0L0ueCHHbTYXByXnIHf3ankVeXzgRfOGUyUfZupI7kCukW8CI4E+xnzxwkfRhQ9TKhHjYcmwyi5qPyHXyw582ve+MEB9RJWX3ZlKI2dYpNOGRjxci75fTGFIbMJhkPcQ26YAkk092MjtL0ixaYKnGtbUOhaB7Q1ww9LXVljO+QkjLkNo7BrJV/uCJWjyT8U7E8ouVovxGCXrnSEX5+xmlQF1f33WnHqNZdO4RwyAmiVrR8tsD3RF8HSqRNYgntxkvkyq6JWTkVjLWNlTmjEvm48Uui0KpHq2OqpVPusU5qMGVuJPxyU97Y2Q1aE2kcGjDwi7+ew9nhyFDNX9/xFDq1TlQS1hrT25VbxuEKAujrlitk858I1dlNrxyL4KyKwVpALcdjxkOcn/cY2RQWHxsb4OtaFTB3twQdQy2S9bFkiXMa1aAbl/AxyuJJLRXoDbv7fVlevd2B6INX556b81sF9i1w/KUIxWlqpKRCuPG5IvqpJODmK1gqciSsXWFJL0UKrzbYC7erbOKsy0p0D2gVE8SNo33CDwroEyu0iOfF6sbhfpBEcScfaO9QjpORPVgAzs+v52YUggN09SujrIAS0E+WmSBBLeTlupWAoGGMb1e/sMWhq0OQil4Cw55gFRINxqH10eh75AG1TySAGf+k7gMf4k6bUsFD3GwSAQ3/hqJr/FhqSkhb7vohrF+oVTKT8L556XeFHD5UO2B7DTgiSc4I/t0/gl9ANbaPOfP4zJmGkYWFyjdmV4gIosDIvoagKUJf6qqNEce6hpAzJmjqrFl1bbnSXdf/PS5dnF1uEKQ43mmeBgwHadAdUUOrRST8/vvtB/sWI10lwSLyhdzORqMkqhtEQd16QjuPQqls174FOrzjnaRRGoR9R5ieVo+gvXToM3R6m3+EbWrIo5M4X6Wk9T7pcOwpNra09MxjNvAlVo2NQDzjOqlmT/L5JIRCGLRihhVLaUisLiKhRrHY6LMUqW5+eoeWvfe9FUuEVmmUYzResEMrkcfWoR/bW1C8DF7VUJb277blWZSioqDZTwhmjSAZ0PTx8js+84RuK2/bzxuJ3vrn0Bi8ZM3ec/9YSo9dZqwHEKM7XU7q5PhIkYJd3JS3wEZrbwtzpI8xHX3/JPbfQXB2C2kRNfHW7/4qfMYsLHbADPJ24aGVKhP5HfYAV5JGOfRfoAVt4DopKyaoVaFD0QNMeyXxgwQaZZ9NVhQ/AkEGZDz4Y5ZoCTNgQTisWkDP+HAAQuKk/F2hAnuMwArZGY6l7MjvS2eiIg3VDxtbWrhh2cxX07gB3TqYSuZy7tpHLxmgUfchbf7h0QhN0Dnmrp2CvCeOmhKgjLGivOixhfi1+JjfFKjczw273kJpnmN8o49fvhNe7mU8MOP3F0dSnFcKW+1stjnMN5uM89+WiNNZA1txFL3cIu+/mBC6iWeM4MMH+VzbD48nXh+S7wHynpP4LRygxf21LbVaqqTx4Yjra5nhB7lLkWuytJJiC69qq6KOhO7DtUMHekIddg+m8G55A7Aqb3CiHvpeIcov3cRLPsxdDFPGkOHQNpvFbRJxyN7eBole90ZS26pEapSuxIRniEOIbyR4MfiYPxlTtx0NETmGJIWXRh2Lzxx4sexQ7RCFHejYjD/ylcdZhNyUI2UvcGqHlhYIsqRuJ9Po110fn3iMPaMkjL7Ki3GQ+abmbFIeJAf67oYdonddAxhVI2BeLc0d8JKCzYJzb7+E+x5QmIIVe4+4YnVgsf82u6nPg/Os7VLn2MId0hemkUA6go8bxggITYw4KQx5+AZOe/1T4E5rCmvaooVEfl7lYMaDkLG4Te+vYF3yCrq1aKGPvt+wQCiTweBmU6JwDOamLrFZUhlIyXUZeZjw40u0wwxC8qPXOK17Bm/DDv4GMfwvjLwdv/Ty5mqbAv0gF7Aqdn8PEYTd7jdJY2KKZdTyWS3VWScTmKsq6cJyzakGM1tlHfTDHiAyGhhm38nYKSRlnOK7gl4Vwd3WQ/MIPL9H20oRmjjUs8KBTJrYUXovB1/PR88vekiaq4bvN67P/h7sZ+vCXJLyV86aZm5Rig94DQY6VtfTQHLR9I4oAg3DZxu5S6/MpWpYcTP4amDz85ZoQ4fdg3FCEQ29zJijJzxliYxEnWekfbI7YHJEkNbXBSUVdq4uM7KamQb9BjLC1o7DvcgW9U0ER+H8QpSDaE0RUJ70/eiIbysqOZBec66R47B8m+TvdRAK80iSu1GasOtw8WJ05eXZBvP4j733mIZzyyxrc0iwWgmDECqrLxVXsAPzBn3DVUaScM9zv7zJ6o0f8ZWq0Vd6DCI/BrXpYikMYMA6xV/092DgjZXFQLex23Bhzhm+aI6ehDBqjaOf+bGUNmCQ9B8SO4xoQMzyeGoOR1jgN95OyhuaKLSaB6GPO4OgxMjhZz5DvRtJRVVfLu0cQLj3bYFW2eqwNrOJTfEtA95JYQU4YqdK/QtY688YmrL62RoYyYDuokOi7+rbFVtLFbr0H/flJDoF95uLOcRk13fUHqRvzEJRWuBbTkyNU8Mgb/7NMEv8hynN3pwrDtCNHq5i+ijtxeLEPNiJMdpnEO9N0vLFBa0ByXPbewiiea9DG4bukh5jS0pJiimC6oi1ey+OvmNvkZtO7PKenM11ez8CHA2xBmLYAUofcL7zGbSkLrSab3TvL3JK1R75chvxdK5tu84C16UTN2tZ3YlbDm1kVSzTruLeJcOCn49jT8VMJHWmSRTiyCyyJg1bu7r29N2xHv2xhb3TA+dq9/0p1eHBBDbkVFVsfb1jWUrXUeUISjWKFUNZgK3iK9SZvs+7d6Cr/+7vMH7IsaTlIcuilhc5QpDCHS0g5dJmCHCYNOcr6o27rB/sS/y/ZEjd2pmLRooaDqm37VR6gW7fuss7DnqyJBhQ2Ds47gEpmUZuOoSq0TQ5y03TnohQ2gIbUDLFYapiIyMxE8+foAMGfoTb3178IF+bpxb/BwHHSJuJ9ZvkxCm/WZUc8uEkQ0NOmz7n3cCAkmhFX/GvAVvDaU5JoEzXD59hxAyH4/AlDvlvHq38dwTXaCkXPRJ+LyLS0YqB7OVISb+cgYLaUdq/PkZIZaFpcaCa1PyP8M55KmNW2WHIAFamjK73gFYcJ2ohbKEbbL2gacmeMPbrXG+idheJjl05xI90j20cQpSOdVFBV1r14zLqHUaAeAY8iRCZL+UfZ+T4buyueg0PlvF19xh4IgElKa71fie73bXNQdLxV2zdNVd2oHTfmze32XdLJM6vn0pv7uIoRzXEQ1nJ84jIVAFFMKbpqxr7EyRWcqePDiMLp3lq8iCZK7Rf/Ae6pdOhkwGI6A2OmMJ+bk62AdBtYSZ+yVItfR/Kkggp9pJsDpuby0b+H4yPdFOuQNr1h6aAZSIWvFOOm6fQwMfn1fe+PyWTbqatDvxaMHhCUizIsurZ8ANBK/gAFeyl2yeouJWEzRxh05WS2oJTJgYsaErQsdXOfXNPkyr65WLspfG6fczV5w6Z5ePGZ+rHDDtpjN8E2cqYoTM0lePX7X5LmrBw8KmMpcbjJwMRh1Amlf+68eLRqsktU3z6m6jjKKNoo68+jTXc6KNaAl0uNEcuv1SSgvxui+UTqPuM2rU3MRtP8/p8rNdyMNhXMnWujN099ZyiK/lBUqkyZMm3gSnnpRYMFXMbDqij6h35GhLhcf+cLnbwabkf26WVa25ht2ELAm1iOPmSUUADwKzli5zPZMJMSTfqQtFgOc2ihkfB1JE3rL5IxTSu1L5Cq1G9GXjUG7seYHkorY/8KBtCXqaZNaHWfZe8Xwmm+LEnuDR5t9jGlG5X/TA3wn4qlPvvSPWcYkavxIjYfgAgRGx6nLLJ1G8Ga3dact8p5U8rKOx5vMi4usbT2JRvdLtjPqXnfZMXemDYC5ug5qvEeN90mSnwHV3larqxut5CwZGVtgJ9kAN8aBk+SLczbHP2XOpl2ojepGNxDCrYGDcaJ/mT8rXU9AMXh0lqOlQkk7MCJOQzlnU0MtIwpL5MN/VaZH3tdAVvkVE2ZZGczqsiAcD3qpwvV4goNlDM0ELTPfApImd0k1ycuG6C0vXB65b5RhxflMgVKbCWpcM2k0Df3qvwkib7Puf3TjTDiing/mC//FDfbEt3t+rgEgBJOGbmIkSGCsv7SmWPd6ujT3PpO3dieRAsTx/+0fPIN/hErLMknBVnjcCwTck64/o1fAaq7736Hvp+HfOxf+hSlB+Kev/GdD9a2QGlo0TzrOJBfxMZM7UM/rEUQvPHWj4uUSYJUkA7+/fJSLcc+QNXcxcQJ8kEUl3ZmlLuS5mvuVtgNXQLqNkInLV1ioypVdeAVRJhmt9T1pxAdYUdDCieB4g40Okz6EkUj3B7lgZKMzD5EqjcB0rfrHlCVSz4BWf+FydVvlp0+gmG9P1jVyWJdB3mb6MxZyV2xrh/3PgREOmRuX/4Pl9l2GIyycqj7pG71iov6SHi5wQvmHJV/IDxgGoAad0vNXwtWFi6i3d0OfRJQIJX41cxEKhvSvwuJhjdTD9Rd6hgNi9fPG4W2/fEASIyITP5rbv0S0Z+qIVNMzlHVybrvoQnq0hz0DaPvpoWeLwU4z6QSvqcvjWuiQ2JSzd53/mq7F/nssusJhUdzr6k7KX/0aqCn1GPT1msWjECjmMNYX1aZr/zfKnwp6+AE8N++T+4dk4c5wu4me4bA7azWYgpBfqip9rQBWyUVIhy9ldHNZGOx0+JlYGLHwoWK/eMEzCSGA1Bt61zJUHb/EJfGm3WfhNxWYgwhqpoGBA7iCbU9XHE9GzlH0Ae/IoiYsGFjvmv3KvP6rvLO6E0cnAGq+ZMvJOAEQ2eEj/HmADnyag/BmYEjJR7jOKJlbEz6Xxw02s8k/SiMvpi5BImvKhvKS5MW+YOUCUz1HCcMark1AuoUU52NmPjvzYUUvd5sWT2TC0Ky/pz7P5cHbkfgHAiScSzzdl+PnVfv87ywaYN9I6Wso7n101mypUm+y0ZVwdR7qvkoaiqLqwKU/LvLqEWrDNdM/pOzdKWemr4OOXdvpC6JFOodyB3WzAEpNrx+QzOkHKyscOqLNyOlu4yioCzlNKEXTATOL5JmhOD3ruzPOjKj2nUfMpHu4tJqaTNKmdD4y5rDFDrnr62bLptZzeSD1bgdc11uZH78NCk3lYzkai22ZzA43Hem5OjGsYDY/owVV6JC4+z5IxF3n7C5Yh8e1HqCb6uXz6k0CCF8UYN/x5nDQDGr7FuohThgr45D/Qb0twJfN0vUP6ldShk9ccAB9gJUDZvvUuNF7Wavp758g7W8MrLSz/+13WVid/eGN90E7/Xtv6ngnDkuwIHYZf8SbkQUh0xwSkOsoD58oNGfPr5qD0nTo5hr+Iyrr/jkjl0rY8DR+B0pXpRhgj+BVh1TMY448phc4mg1CfNGjxNuyIr8d7luhWnmRlkNfcPCtEWEZJ8w3aS2Pj9bGfWfuRfv1CC8pFVYctUDoYX/Wn/ddfv1aiEPSgVcPkd84nda9AnEnjt2QqOygt4okZamau+J3TErOUfotJjysqF1bFA0emfgkhsFYiEdtDneDuqd3AEgHJ8fDSBYBxdtz/Hd7GJk+2P9Gk3xbVStP5r+vasPjGaZyRzFZohxKKWrfwXoxmzCxpb+ouTb/fPoDuBqJ4mMdBLrydNYc0nh4u2k1AI1qF47PpacB4xnCN28G+ARJGHm91TPxbvVfzUk4VxL7nhkcXo2vJphphcLSd83M7Yt2S6yLR5PpL9i4MpSa3aytlqC6ZLrFxw5lLfBLlgYpzMBZXPjx7U/qaCfGmsBgTYxn4U8SKwcIy3Jj0wp6P+PyiB824w9yJ25pXhj98/pfEB2unT1QxcwqAwVHofovXCmzWfCQY5yRVPeZtUvyzqGHZOw/369JpcxOAI/wsgwmmx/viitl9OeO2fNOCRY/Ly+zzDMoskS+92pRab+Wm5Kb77E9lHebozfJQwiOBYeOohE0dSsnMeVw5Vi7vd2r1TVQAaVsb9HUfyqBSYuIMSWd8MWpU0VpZe34LtikHcTI/yBaYMds482IwJoHBAg8hiIc3TFEAwqwSP5HkIz/hTef/2dekhnKiRz4ZsgDWKNJoct3a+0Dx5uRK+r7YKbcv/C78abOXPFNOyzRpAnri+YaA468E7yILLxdOztyivqBDGSQ8GEOH5BFQnDZhry5tE5zLXEcLzUIpSPIsDIrAIM7dmI1jwQVQpWuvKzA8pazbOdkIr3FP34p07HhdwHC+FHSMvntG8gnzKF0yawhq/rw6L1AVX+B1KJZ8XzJaiTl7f9lduKWqmsPobUIYZOJ7wSyg5/GJNkWdpA81hZJvWvpdDNGzYl1+k7xiK0IRHVFX+zhhgS7fTki4whhjMHyzjxMwSPUTaXHHk8yH4bShbSG48Zt4q/dwjgdiaGABOeAJSTAEQn4pDsgwzcTAW2yPkkBq5dyzTsws7RfC00J68EZ++orC31eR5jffOLyGmDoNTdgKuLU2sgAiaOCYdixWTFzT2/SQcgpl/x1AG9Jgl4N63pvdmTzrvIWk0T8BNkb/M0iXhxJsAAsVJTcxMu8KuicZzd0aDcnrq8zZyoLfiWOxnOqoXsbcRjN8m+mi5su2kO1XLNkS1p1ndN6yQDnarvQ4M8lmFqoqYolxP5HC7/Csrv7nMNmv3xF1JgORT7SUlpSxLjPwP1oPoR6s0Me8e4Hm88+G8vDR+yQ/EtEY3ko1nYa4qZflgf5UwCnw8pDCDqTFKl8bDklKWXT19CbuxrzmAtZHGruUd5F8hcrfEGtyVxV8Luk31fsrFfoy3EfEVb4fwB6g45JQ4HBY1YXC9PnqonoC+CLvHX/a/ixZrndPjsDeyBfja/oiz2dXIhnaXZdMyUWyiZw4xxaYs69sgkAHAFs9xYtsBiBucbBP6jex4LDIqK3B4hwKHaWCxz/xtCQlOU/3CXneJnNxmROw+Yn8KHq3bQ2SYsbblRd8/HLJSkidLkKsVSkmOz/8mRlzoxUEsFnMB9pEdffktEWHTqFq//ZFpUgYkDi35hvcKW+Ts3JEDTVUhLFBPuvyXeyNcVLovSwj3/TEog7RW1kXXR+XRUNzJ6GJa3WlNNex0Yzj/wteZ1wh5BoPGTz6v76XZfKiL8aOnhYX16LQx4VAUW2NkENPLUmAaf+syxhtl2r1obUbGEBXXTGlhxfPyiuBiKRicOzwjsxqPCcwoF1uckZpA0Oh1+Xx/6XIym/CawYMnUTcIvLPHiQz1bGI4AwObssaTo6wr2bezde8TtkqXaTK0s3aeim1hiINM8KQEMSUl8haPAjihqyNs2bh++0zaHPWoaWvJqEFfl5auct1c16B7xrcO4CL5sdX30fH64CN+LfeG384CbYl0Kt24WhrFy0BkHihm4qCyN4rOnHVUZp39Y6NWmCMYcUtYgz0/W6fSRBX/jxZWgnEAy5JbQZNbKdcOMQ6U6rO/oIkF/Cb2K0OrjaP3GsptNcCTlvmCX803N0BOaXJZE1GEwtXFtAUq5+AqNK8/HYcIZ3/VVoEGzETxd5rEVxkDBiHe3FTOo16vInNbYyRYFbbj+aX1ZVcFEmBfpilzxwc/VB1OsQ48kLOPLIpfC+Bd/NCkggAC8rUMS8jdGpUc0ffpveH6QfEJMshdnchCs+pXueymrOoJtzm1X3Gw79ifozIjQhuBfVngN5y/m8PvjqkTrVt6l+18+kjHOOlVxWlgJgiifUxQR0znBM54fxgoS8T2UosAvPN8UXD9dfHVgBdU75N9Kzb7vibtBvJi6S2zTSXCA2JflZlpAzdTjPU48RQkikLdDsi/XK/935QVFG+rjaK20AFqsNmnYizoVGByf9XxqorkxsRKYBMfuO8gHilT7O56wF9xxjRsNIAQCirL3KSFeOTq+muNIHwyfInmq21Hsofmy3eLFzI1ucuUbc9YJY6I92UcF6ktAFYrbfHWa3TehJWRM74XP0j8di/c59NSrnois0lKuHIZF4pE5cBA9qbxo6XsM7YysRiAMnokwpgvf5V8T3kA8/9ePo8vyHecg/hiG/FLEYu0IIDE03SLab3DPylg2SAxWL8E/N/D2M7hX01lhk2k5LtMTUaCPju3mpddPy1AU9HUrIyMZi7Vvo+YVRAB13EkI0ljL5JuQCFgoyEH8vvLVQWFDrTkYU5tB5M2Q2PMuET+l8vrpIviYnhXYMhRqO5dSU0MkanQbwZcaSg1rx6PyjFXq00u3GxnulGo0gMsu//LF6jftolkH1dzIRBELlMeSpOz9pgrOy5GafLeaHomn+CovxwIFBAWBP/pPDk49RCrr5IwhgdJsQTID+etZIAt2g1VQPc5ifCY1+4At+vITA2VnyckzC8J5YZ8/oKcT+ai93kdCIy4zPvC2xjKf51uP03w73ERr9xiWWsEmeDegrqyeOJjLqB9pjm+6iR8gJ0rmvQujFqAGOhQz+Q2WzO3aYDhO6FwZhY5pP3K0hsparyZBChgwapnbv6uCnD8r6EaP5DcOT+bCMrajQfJiAu20XcRTVcSC37w7r2ebQsKwezo7AMCD8nVjzzONdOxGPYO96ZxfnOTD8+Y/92idY1+YCYJe4piSAOK9kUwvpej3RI0GmjelhqSRg2+7ojroFsDPgiDFs1/t3hfqvs4PZlaKlpDY0jUTZGGIr0+reqv0Ao3nfjx5GbjgTWRFve0+N9c1h7edwInllnnMpVk7ctYWLQBFmorZGIQCY9i4WlcX5ovOJSzGXCZIodwSQ86fMNeAwy0Y2b/0mqYcNXlYK86pXpF2O+GNMq6010L/OSOGSqYflADR4xceYIoKnW9Lm96dmDL4KwCwnXm1bl8sjqnuAAJ9vGWtfZmohKb1rrvRAH1mGEuyRiZN4ZXgbM+MPrljg2xUrd74NgJOgP0nVM93mk6WHs4Pyv9QTysJLI9s5a+mGwAlgJnRR8vquvVYH5UWtC7GNjup87s2XN7AO7W4IQYkdahEzD1ozjLPvMdvP3ZyVSamwSuq1h2Np5uhBUq1QRz5SBOylL6UGOFwATRQkGgm+arx7UzHvTGToGANLk/5WdkLsN06DQl+P6zYy2AS/hBkH30FnsNim3RJtyUKJzL/OPdLG9xzj3GkbH2NvfH5I0KBtM+p/4hDiPpgg3opJba7RDY/Y3uUkkynl0taO/686nYsgwykMA6CG/tSF1SSI2RRD4b5jQjI45d/4ECC5N3+D7KsS6mqi/kfwskgTW4JBN9rBAoPYsxfRXiQEX3FBfBNLRB19Bb7t6WNoYAC8x1fudcl4PgVPiKIv9927t3wxq6snuHrh23f0N84yxqPcO9NbUb+0EWcPcA6FLJ5UTxIrGGaznFH3eTFNR32xnrz6cbKLQNu15MH0UC3aKWiMb6nBvg9tNBcn5Av+gB4aZ9ULz9V1A1CdHK+f6VYU6XYP8u1284YxHM3MuYOtln8hhbKt3yW4vuBnCe/zhwU1WiZhvU+foIGU98+tV9PP9oCStAVTKXc4ygdik0hYnPyiBU3G410cw5kPlVVv9xmyL6LUlzqM2fF0zoGztIIu+7yQRCl/KZMSIhy+JBdcJEopGBoRuVm2vNwHp+rPCvBzd/zFm6Qhzhx13eEm3n1mhPeAO2fLI/AW8wXtxS572i3v7zvHA0d1IJctutjkAP77UysExEBO6HVBqACVtzjBsgRDneQv/Sx4gmx+rPGy46LcOC++2E1QTVLLN6VsS4IOTgZeVJbqp3jAqasksOKD3e2jxO/eYXSuSY5utl+V7ZAaxb87o4bNcAFpii+TtiZPzmAS/+Qnndyttukdm3OjAiuAn1Wbc27o/UqxbN7OWKQN6OSO0Xu/By7E0Z/aDyu74FNmb4mDxwm0M6MdneZerPm3nyQASJG/AMpUkuqlb+tqO395AStXLYFuRFdRx8Lu6FNl9OEL9OjBeMnpSrEyAxcEHdx+DYgU9RWoKqXzuqcGkzEPcRt3nsY1yXfIf/rjwqTA2nQFrL59ZZIPhwXBL4A7B4ja4eNi/kOCgNPF/8bTNdxMucDyNPuXJNzDWcjQuJbc+7y7dyr8L5CqS3w10Gz7VuiF+WZndDOB1oOIr7IP8uYfAKcSUratbzztS51FBy/5f/K2vKLbl2ZB5CZC8OghzHXjY2aztbavACzr8SyzLDpmcQKDKcZkDxIuTWMeF7a/c0GQGWEp7h+uopCvK6kJn7IN2D6i+evUrnCeV7jp4Bk4X7Z+0hEn8n/YEwoiXVOvOH8BIK0Q6P72d3zDm5qjfJ8ryveMOG/KBH9aEfC0cLosNpH40nd5jTAijix0monUwK4QJ0MR3bplNpIeV/fxIMQAH2FTm1M7TxI0LQUQ5SL7m9QOTFPSeXbkM6svcDoL7ZMtrzBx8wCCSHVSICna9tLS00NFeVxOMnPAGMeRuwsADa7NzbIYiObKvbI5r/CrcovkiSH1WTEY89sj/zotRUVA6J2v12eilVwilVoaV/bi2fcAHxHEyuWr/OutLSuIp31IwS9ql+PCDbSWgVrLAeINmrq3UGaaFopwTh4NL+BYq4D0+wVXv4fwPeuPSPqiwgiwJRfi/8ugdcqWpkp6W860M5PYlYW2rDVjHxQcOUP8IDu7lrzNX9tzH78t8wAE0J3LzUpBXU3GUYK823UpMvJSsM3T11DqN/LhofQT/bPuGJPPCeoeHHmJon0ocGJtcAbFkmo+VUE3JEyWlMLsWkiUKEJvFl5776R8sdMa5MHUgIaEmoKMNrc/PPuuihHr9kp6JCV+Cy1LuMMWPsgm9fgZxWk0WRdtURb345T0i95vJOGX8ZcE1hAL81rfEBrrSH661PhrYpYI8MPW0Rc8WVgw+CwGioTzEU0q7T0ySV0GmCeBeheN2okqxH0myKTRqaUfzOJuUgvRMgxXV6paf2kGN46SOmobhRUv2dm6jy2trklmfPUocI97KsOuLIGglm2i+FVxlcFEzHHut330zkj6GByAFvyyvhUI4dgb1aLkLB94nL9kFm1uhTFCSJ5GwPNaifCoKtm38IYTMa55/O2SgdWe8tSqrrvU82ENA0UqAg2p7G+NBy67Q6L03qKZRTc4eM2STwcsD9jJeDA3hmhH5sClTukjIN8K/gXDOAr/6cBqlzSiQ7/3EW1cOrMFLSdwRZX2w/c93WT+nmlT0eg20Nl7D6WSlQ2e5H+62doisB1HDKEBfGhxjZXDrYTAAiFL3omozCjB2hl4X5/O3xuRqInBdH02K1ox3qCa9N4gqqcJe9sP3Azj5kQh5eu4zrKIqKs/dGH44y4CwkkTQzzI8VCgXYXTE7NyrvKXE7pyObc0bxV7YWrMB8HbbptBiktOG1vyNtb91SIMHtMGml/0sbyR6ouaSG2HlbQ7UpMs5U03dEfQOKO+RYvSssjg//dEKOx5kxlzmjK/+Pbmo+OBEBv5rVf1Qqa8LlVIrl56w7wD75T7rikMSShpqDhbkSr9/WXqmbJEZMhRTa3y9tbqQgOkhHTORsA6YXWk8PBgE+yGWHiF4H9RBARYj/fmfNzqJ1k8xS2bFQfYow1pCRkTxK+lDKXRUZWsKsZN6aa0FUXVd4AIPFpF59DE6lZRSBNHd35Zx2J77z6LWZwfpHg2r4N5kcwP8cGT8uquRlNGhplBP2/YCfiucwGW3nv3pCmXdaiNdrfnrEerkr8j5eSXTYXt0KSXYNMphPvf/xSVF5+2bQuOhXTBreIoGU+SE4KTJac6/NVvvqMya36KSPavyBqifN2x7YwbIfw2u1DSEhluPYA7h/U7gEjlFqIryl+/bL1DTxJGfT2gyzXMGN5ZyYSu4Zmf34su388axiB7o37i4z68PXGk9sZlWCVwkW1dHe4KzqcWVPkry8FLRymvYWbUUFRiW/7hlyKVe2e3QR9mZJH4gfdS+ALvbg2ZsycPCj55GCUwWB54KgJe/MjpmMWDhyIH4FM0hwTmxwQ6jYstTvyXWJ2IEzdo1mwsoUYVsEBJtUrHaDgOeBDMsFUgCpUIctkubAP3ySb7Rm9yQ8v8sZiNzTOqdvmvITbjQolt51SVGRHVSlOSre+qc2GftEN5NjsQoxgqO1NvGi4t/uzRQ+hcjSTJaxwMp4eGDfgm0zb3G+m9fbNnMyu25KA2CmOGrsRLmCWs6IXHNwqswtD2TlkmvWo4WIFcZ/yRmU5Dm5D0Wq3zAKnZ5tN53zeDHCmfVg5odR8H7Uesa8/Ez70PzwVGbnIb94a2jpNWfxBiUJg7EmJFxMFpbRBvHRtPldXFmZHFoPg+uv5adoXdiGWppqbIRX4ouZwEw/mUCuk/GH4Iw3Is02Jyobta8LHtHvkAirCg4lMIZ0BDZollf8PaPvR0GrevGgNPrgH1Oz8RBIrfPdQ9Dx2uww6iM8i4K9yoE2iDYqSAv2niBiggOgmHQvtfi4/eNFp1KDhnENvuBNCXTtOWeq44dzrDKYJKcb2lkO0AwMqyIJAvOITaZtazBCoJOlVPT59ginWj76gqgXDQE1kcEcSZGw0vX/x7BlQjC2ktL4n/e//7Bs3X9jg6mJhQF4CCjadZ886i830vnOwXABI24pjRSxepEQ3huEjR9Vj6vYGA1EJvWvlLtzMJnGun6/d9iUS3RdxbGJxUB29sZ4lokjJKkKX9lcXTYAoRx/mCtxzC446RQxfUgeYINTW7gSWMukZ2E7oL8UpIj2t78eiKAnqjXe2Nn+P1J1SzBgzdbDXEl//QmZhjcW0jygCu25tsCczcvoSFl1lFN+pCqcPvbJZl90zHvpBMGjVijX/PV6PDT5d23H7J7SAx/aocexHZeyJmk6e6aMd+DNjPo250AksrVk0x7T9cJtTDKZsb0ZnqW7kTO5Bv7GSAJ9g3ia28/5c1F9vCNB3cTOXE4lLoYIQjxoXr9NVoFpml/S5DFQ9uMdtfi2zKUoB0A5wVF95/d6UdXjfFXEugJgCG8tHTePJXXSXRUll8pb8FP5ai1Q9gHfJSkeKE6rbwUOTfc+krmWHmWSJLzY5a5HlYTQpsZeH9iK7WGAjeoW9q2q9d8VJfIfvLTHGt03efvdzucy/bFWhZnZ0vlCBa6HhuDfzLdAN1EsBeZcJodvVAnlZf7hmOz2s8iske8GGD9epNrHoZN7IkKeP5UTk1pymJSeLc3rKl1/BOyXheYCQRJsdkWs6aQNLCf6H75yGeBDfDXc5HziebytzMZe6y3yOsNAMU2gRv6doyZhuRul4oZGHTKFXZKpbUYzakIZdVQAL948Z7aUqm8geAV0KioG7oQ0eHx3orHEp1vZhYO2Hl2ErgUKjdF973CpvWpZlYDvxjwrWKuuBQTDa23L9c4iyFxu0S23ER9E1W03JJEv9C2dQwTY6fCE4dbuTmhiVhxG3T9O0CE47XHUEaChgTRfm3xgFnSQfOghiGhlodITzEnMz0xwzIpiXMRYhHyBMl3ckzSxLLGq6mdV22QaU5up2HxObHqlhYYfaKp3R+OT1JgMfcTI7CnfKUt7ezVCiuET6Af7IsUIL33ppKmTdyyGWeZP/9njLVvdFyVK3xTNDz/11RBUfA3kEFSQp6ap38A6+r/JOBXHcbwZzqigpZhUdxoOsfhMSv8VJx23igajvtbWShHS3IO3xtOHUureH0NDfkrbQ+fJ8v8loV1zDWlAziC9GTgU1GwUCG7i+pBp5AeqmabbH722VTXm7YczJsZmnYhhuZZi8VwqbwJhzj0eSvtkaJlcM4bWgGH5EF7AGoD1Y1qM/xrWI5tn9YpKkcpxxg/F1U69O8VvqEYec6e+t3NjGR7I5WPTzKc4ZiygIE+VtCiQh/Oa9xSHeHNrWhe/bupxxcTlV0pw7nCv+y50wnvoF7ps3MJoPRmNSlPwLDJT5wi9z4Y+j0Sz/f+pCyDJUgmkOvldehPt8aZH6wD6uFsfdSDSxdCVSEEL+cdPBCh+SNuGzz2Yp2xDH3X5QzWCGwkLBzoh71ibOkE93keiE5WUP35K1D0rkCIOde3752GIzkSU20b3froW3OchFzF4+uQ+R+DppOthC34y93UUdhGLnwbk6QLtaKpwPpnSUIIpAY2ZJbVCIQKhWlTi4wrFdMOFdHyFKqDxPAZD+xcJt12+f9l+CwR931AD19OsD2hpY4FVmv8SuVn7oIMF6k3T2vLkFM3taxDne6idsfUViA1jSPAt1gH8jQLbGEnht06ZzAqi1SJLT/SJNkmgg3b5VnS7WFs2mLBUtvJNNKNYX9c53mHl211nnwChgXIRYd1mZ6vDfcpQGK2Z5XjbAsh2oI7q3uOKEROBlXM2SMrbzkFcYPuJWkyYTN0S9CyrLSpd4o2b/6NrYP7J11moKcOj3KBNX5wbyDWuIUqspx2LG6SSdLXQPi1ox3HsVkTiKtxK7gkqmxGWU8P7mvM36HaEbE6Paq9UgmSXLJWGWn6xENS4ggJn5gAHKLspDooyIYrSHwL1TiekLb/AuJSwK76H5u0ThBtIF4TFZf3bo7orHxG7NkQapQ6LNvym3oLdaStN3t8ISjVkUUl54E3FLi7ta/ihA5tty5f8Sfs41q01sEogLkuhg1KG0xnsInTb06GtraPmldkq+hbjr67TnPsuWrJmzS+JQEpd+LiIjHBfd6FWoMvmZ64paIu48xGUfyCXgbuspeHflp+dh0JjfWLNDivaSn4vCff24CFIpVyEBGjckPTOd7/dTnDXZLDNKluZrsyvFYugndLWt4UR76+xjupEE+pMtkby49wqhiBjvytV49lL13zOinMPZntNx99hALtf/R+UTMlVBc0blsdiOHorYERy9c9WTw+JfSx+a9bKDqVq/ZFKDK4m0B2gmdlBusduoGj4rpU6ceACl3LWIpRFjelGeIWCbFjVTnOtTfjgSR5fqEOu0cbW7+zBoF1gkqJEc7d+M9kZH/yAB9qWea6Zo3gAsvlwPSbShzKQSbGV+DkgTjlLz4Nn7xuIVMd1s6pVZogg3mQHmnnuk6TdjPGV/Pq2Jmy9hzljEd114TdTEL1N6jpRz+sic9iC6RFLqNNLKjgDaqIEht6k+BlLPg65DwlCJvbc3Bm222mGrAMujOXM0o4YFTgr1wFyh4TxXrDEI5vT5rn/L3O3AVZ81iLjt1moxgdHKf6KXItfARKndqEHtK/YXPNJtti39Na005Q4e0W+KuYQ4pphSnJBvoI7ELWiySs7wuTdn7qWikoQnh4+/VipsINfQiuzczqOA8FKoQU3Ge/EkGk2Oqlwv6GnBILlvTaa2NJThzxithe/CMbd3X9Ce/O4C7FzEiMya9BMo0z9kOvPKNRB5/59omSEwn0gUZeYHigvWXX2BVYvGHDT91E/FaXNBB47DwvJInkZno4/K2qxb0kbjezkrxadgltAbNE0g9RBR3Iq16rbP5CpAdypsaxMz1+I5kDKhnryKnUa478bQdzq9J8aU4uWFj+3WCXm/73nZ1/9wRu6Rco92cD82Gh3fRpWhFUHC6xacDJgI/gTDcmRczNJ/6qcFfD7dfKg6eEtn3MXKA6BPMV4sQU3oR5mL9C2egJw5LMuESl+HAP81GG4MGXrH83tM2Q3M5pFCpEqhRGrAVcfb595SA+aHO7yDeNaGAIxJko8bWVC9iZTbvUtGcOn67FYsiOB4c+Pn0YxHxg0K5Vna5N7ySkstZbj9bgU57gAacDhKrp4gCF70lDQ8C4x6SE2Pn568RoQsXuA96xfgk5cMNKgt7EuJb7eRUcsRNOHZBEhCy/jNFwKkpcvKrQLt+TO5mwidcPTsyvYvy+8fCNaeaclgWhtCYuOnt9UOvbdGk3Vf+SBL5BsvMTC5Rw4i9NKu7OZk56bG7gXvZGeGsVpJwfwl3AoVQnndiF20lDMfdmt/RQc2/54p8R94hbh8ViXcs01zfwbcq8zqGfw/BTpKbf1n1qk3/8keQLKvWZ7DBDRRMt+QQ2vv5/heHCx8Wr8BBNcUD8NYXpuDVEefD5yc1BsVilBtSmetlrA5NNoL3s6DBJUkVQI1lmAH+h6wxFV+2EuJpfW2m5Y/O0meJ9AJrYdBfndjzgj01QOS1d7yhBOKA1xpKqyWfjV+HWcMn24QxNw7xsNz7jZJ/ngKnHOrZ8BW1vXP0jc2Cu+PBtTKgHfEpinPkvzASOMSiFx0ISyEIo6SqO7dC5zBxFSAvbBVwNRcBya7tVXQB8dOksRau9Oi5Ab6mFjUu921V0Lo/DMPHwUsLLDwIumLYLUD8WGcMDL0XPhNFpZvJuM5odJo2iBPIl7/Get3io7IWVpvlA3sQlYC0WSLvMMEZcqaM2aF2Z0H8jC3aZsgmHDX5ASYpUwDnyFRUJQkKsb1Qa0UOtZahikrT09L1lqYx/Z7RfFTqYo+8TrUl02R3jc6QUPp+ihYGCFiM3N7KqvYdRIT2d0cs/Gz+PjeZEHfKipCbq2TtyyJVzn95IYsZXkZkmWNajE1f4JVphVYkYqMWRSqu2cHjitIozDgZxCkba0nldZJXpWgDuu8wnuT+GOCiH45oxyl1H8he2uR69Ny0BVhXIqEsdlVyoo3ktPiSJCZ2y3Y8RjWnO9ra+QyvZGqTnvnP+9MXmPL15R5juZYdvZzNLjUmXEOV13TpVoQqKniQDqZ4SSqzQ4atZExsp6v+PJjJY3A9Tt8iSLSlf69VhKIZgH7Vn6tSNQXz1Kp2DFce7tclxFuzTazQTDcycX11TVGHp8s3DbvHUXnFPxalu2UVgzuiTY1aYP2eUuimKICwlW3b47OowqSOphpioooxlUpVsnwP0eyptYzLsA6DlF9qrYL54vCKQA40a8hRBjCdILn8buNyxlQdcy5vwkfHsmlLtrHCQH0f2UGMVMlZPiRwIHcuyB/OUCLukySX4b/ljf0nwG0oG0OQQRQyz3pLTPheMGaPQlk4bCwAA/zuXGQDySvUkF/q95wL/SPhQWaRX31DJeKP2zqp3JC2CQ1Y4QrEu0hCiCGgB08qj1lfjHoh554uGg2s18fp9Nt+0p+4E2H7w91qt0VQbxxvMMCS1qll4gQ26q1OYZyFyQCDWpzCWzjDml7OX1LlFp26h/Llpf8zKh9VvXAwMd5fp489R18Aa/GdtuOD11uOdpO2Bo8VecyNkbl47d+waYq8UINzI5R1oMQUkrln7MbihiOc+Dn0sG1ZTWzB6f6yBu0GuKMsc7XcVBaCNwMhOXBAolLfN040dGNYlC9U4hIOlm9Zd5Pa4rzLJChxHS2717l58HuzYBBC4ae5SaqVpaR0pgY20Tzt0sicKWnZQ2Asd/G4iE/aPf4DgzsdnY/eyX6fO37kO+LCHjk2kUK3DD4OTx5t50iW4YL9DIwvQKBQitVx8DRlZr+n+TltFcpIZsIFchLW6awKrzr8Rzvi8KLHEpveYRtbP+Ft63EMIx2NACC6mxHiSpXnRIgn/tt3nJvpK8a9RiQqL6GFEtddyhi5X/2ZDlKd/UxgWot6PtRzbXJFw034BAGzJa3DT5JHojGQNy8qZSosJznDjuFd+L7l67HxOCnIczbCQqEhr1DdjqZJrjSzju1oItuiuOB3kz+JPCmP6+PDurEtVEYgHeptAPSJV43jL2cigcp2X3g6yzvK2rfNYAXswufb39Oe4toQ0XOp8m4dPLLhQB6o1ySo/wuMuktvDU4b+fLxXOp3nTvAB2E64/nUvGt8Q4e/V8E/UkBT3ascrruYNZS4i6riyHjjmIuU4gyUb4nwZR1P3SlRIgr5Z5zuZb19UvW5qtXdM08YOHFw8pzjMmAGGk7uIgLZ0EjbHCbQLRBsn8qjIHD8ayjByO1CrSkWWimV191GMP4C/TIoo8oX+DPb4+qGTZ9qrbDvwS0jLOzjUISFarKLSB26v0fjm28mt5ObhjkJrMVHEmYNR6Baxwxnt7q1iVdBJG+sCfig0L2WWPsFre7Wq7tRuRRKkdQGqFSzLe/So99Jln9OlVoY0npFbIlVbiRVdp31x9DJ73oOvUzcleNREC/oNU5tnSVtuiPbs2EcJZcBdjk6+gimhb3rUlZ9x7OnZqC616xyclPsxAQA7Faed67r9MGavDPfxIz7BuJMqMAxT/igvvOJvnkcRS/2EDPFxtjB1ihYPtzUvWeYFNNkSRwBagUkQB358Rd/T4dXxEjjJI91ZVGnamFHNtagyb63S3zqRdt3Y+u8l9BdppDcDfMj6wnY9FRZzRqynYnQlXLvziK/uzU480uSeE07wfTmZ21P7AL1s8/kyxWRALJPMVHXyzwMd1VQyzWh4VYgnUFuJkyB9yyOG9+4jcVjUNhzBlBqeNSswjLZzwro2kWzeNyDvlqqoZ3ivs5mi+CekZhY8Eg/Qq8W18qGZLBypmautmaQOQSRZSdGhpsMQJg0jOOuo2uhXRrZ+7izcW4jPxnXVtUlH1pRrKQf97jrcR+5C0KAtaOolodw48fGv24VcsjG+BNmY8fxvPgJUGCnEjF/tzpfFI1u9wdlzFROTjjpDzHpdC6AwAz/q0uQkADlxKVcFjrCsxkD8VFtzmgJGQQZYR6IljcagyRG2jB8dcrs3sxX7t5N8P/apa9JGLdRDE0e483pFFXsuae5s3jXB9k0lZE9lZ3qSmx0BTJo1SU9ZbdfUTyQobg624rE3sP0tXN1gp30oID/pQgnDuRWbnbhNMOpt0o1jjrPIq7+oNIfq7jyUwY0MTgXtPZ9c6m11k0NN4p84Qfa6VqEStVBK5rmERf8D1lYFsFXUgHbvR1m2x4oX8MwKWmY0AqPaF6cEcVK+x8Z2FeSIONZ/iImdy87qZ1O4x7V77NsrOtUiqchbHC+bVCfF579lP3vh8SXArsqaasgbjpL25N7+5QEHpRsRfijK4k3993fv/95GEBhdd695Ke9/siHuFOYqaP1OQDKSEw4WO8kk2Bu6PSTV6P8bGjLOiFMCaGZwbt9S+BkQ677PHHqu4grXdfGgleySwr0o2iaSQn+WXEUBIIF7D17YHiE73iG6e2SYmqA69Az+CMQEFNw/7chXmL/X79aWm+Do7vKS3vHk8Dlz7ljHrrm6v28gBU/Wh9LMP/mn1GwU5IhHZXCxYOPgXmQiYX3VhbW1kd8icY1RTLl5GkWnnJg+MpBFN7SR72fzgWwLDkR4niwfthJOs7MCWoiFmFCsXcU2gDEdmRZCJQTIIXT9sWs7NeE6iCPjngiPALEDfqMsOedZmVcixaO/qfexkgpE1ZkGnCtAGkaBMC5l+Fq5vZb95BCOEDmg7FJJRTmkyXepqoQhvYFNYX1DdtKGITiDlVMjBDa2tLMh2FjtIuLA65YWE/UF7S/Zvg00CFEPAIRvPQYNiYjdJqSH1v2fJ4E/S8XTFFK3ijsEBGcrpaBEIN/JIVNKWB6ZP2XOf+kybKSMEmFKwUahp3GBGMFWAcU6AAKHJxYYDTxeyQnmHWfhswF8oRAfsLvw8/QSiIg6J0MG0RB7ewzHYosX+K+qjRQV+WIbvOgXopr3EwyuiKZsjYCRtmlmsuigpLJEx/HFhrY2+noczkcmzCJWcLUrs7kAUnde/haBNIORJ+CN7XC7sip3blBE2Aq9RWTEO2evKy0leqH//UibCDiEH+e1533xqvgx8Hs4dIboDGFPFlY+p0esr3VmiK3l8E8zwMseEX+/FZHEZQ38RhWp8b0Wx2XZVZCuCMQAmlx+nQ8elghmFQ6A/Y34YGVlPRQd1N1uuLDu5O/qCoAiMZDUvtH2pg8H5tECSKEpVWAtHXD6yW2BPsKymG24gLWflBGLtXDbLzAjBGPSJpKEuupGKSii0gZDvT/CvoJu03uSet3Tj5tBDbSGmxEw3QTnEYFhHmFDVfqfvp7LbvMEX1WlGVEsWcWHVN7R6H8hkkTFjwe+GjXyUFQvQBFHRPESp2Y8G6RYSb2xCv3O4Q3zJ1NDbyHGQEbF+HZbqylmc9Hx2V8tUimVVw3FzvEdTeMqvlL5YozS0uBn+qAP0U3TS5vCyU1aKQ0e/ZTf0yvjAUn6lz/z8iLkcLjAiLtwQVXYWHmOvAelHWITUWZc8kujR5HziZiSTeKl0FxObOm4pHfwpYgWMhpJn5tJ+2OTekoYlyr89lhCElpvoRmcFlAxez+Ds/CGmB9kxpy1EeJ/6PmW9Asi3Mjsficg5Rr+0rSzVHDLX3I0GQDJKTaIUfE7aFfOC4DJNSUzlretEr4OWq/6/QMfp2h7oKlup1GV7bs/3Eok6By3SxajR+HDqvZ8pG20yG9cix4KSrv1/L0R7rdY9SjU22L+tDws0Tz/XPkhMch7NdMqUR4g9KnLIcxJwizF84A3t10WieAEddToDB7ZTRTBeTfLX3U5Fr/MgWXmyMJZesTt0jGuQgwRcpsQYEVfiO6svl+xjZqcuQgOuVdaVwe1PTELWy6wxdhDvBq4nkEGeAvbqrNp+o19Lslgk7DexqnwcUi4JKs50Xy3CHYQqTiDKPQt33fXWiDeCKJQv74I5a796LgpyJqT9zefsEZWQuBGVnNUGea7NMeX4CbQcSPV8CZG9/efDBmTQt1NErA7rLwN1lh/o3b/6oUQ6YytgzuaAnExZePFQBec4hGmhULFsnZmUhk1DDIEOvQFvtIWpwmI9wQCCd4b0tM0b5l1HfYnIvFnbe097pq29+GN0RPACVIJEW3YhVwWMz0JQcDaEnR0jvtr4K6lW2RpUGSMuZkQkwInA7teAiKI3tcegRO0Om4Kz6GScRwcmKzC5lRnPQE/TfQmcBQ1Zwa1wyoRz52R66S9WjedfoeDw372GVradB2tTwKvpNjx8EeywG9OTRsIEjmULe1nRFA3U8VYZQQF+cksii03wwg69rPETj56SedIgz2gHF/Hry1BT4i0826yRJYV5n+bWv6f6seJlK/VDWetUWN2KwMz9WFvdxoa1XxLN+E1djZzZBm1g+5YWmG8mHYbTrPnHauFZyH3bImygNuffplhNC38T+dUfr/h9mEY3HB5SNUOXDImqPTivXXiGxpimvnynTqeFaIPZA9P2FIej9AsKbufhngPIsJmr9a0ahxCK3Etkv1/mCM7teHE8426SeQ9F0phx4UcLW+M8kr3CIgn9t8cKhcuEORXl0wk5sUcKg4EXziWcNGnsZOtuxibTuqRa2SgDuWQuN2vWu9Z+qm3wCD4lhgcvRbSroGXBPkDPH2hgLaA/w2pS1ndOEdkjN1wBo6Nh4RWSdJsIcNz8m06AlDyddNWKd+D+JxRIrXusW6z3lHxL0D/f5aiD25kk3tmfw8CpgRkets61UFDCCcBxZmbQde0boK8dVI6ACZTk22RcraocNDWxiVxMk1piiICdeDWSGXPkxryJnfBeQsDcnaMFFCypK5s0mkJNnVMNPo2odKJqgoeLgf1zgax/LVEN5p18vF4/17l+EY/QmK4H5NP91Jztqbt22S3CtDw2KiSN/IpDFcKDGnjT+Z5eyP7frG1sHkw4rxAM7zqFYmH+Vez84Eo5M7iVWCnzfxnjApclKt5RZD66/9+CQG6w8XQjvXsBfHP9iHYLWXAACdXDWy8y4osGIHl/a8xKeOqVFPq/w4/DTgJagITduq3y6iuAsYwxgXp/8EE+bmxT0I5ac3HIy7L7iOgQdkNPNGlqQuCdu3RE0ME06Qhi1mEOAlE0DeuI/PWl5s+JcCbWJThZX04fz8ZYuK52jN8doqKYWiBPkTV33iAIGftvnjFb3tXj1d+Te0fa16ZO7SXT5FX/Xh4+ySPjPOb7ykAXbs5JBeoj3RpgpOqoE7IdLXedh76Eau2cV/XssCmwZPkGNuWipf1INc17y3WQS4yC8HD+tB1Gf5WHGojVBiwpxkmLVU1eIlKLxY6caPcY7o1K/i3Q/bPQAIevlmHX5+klp5hedhvGbHgUQrmks0c9H6kMg2k+4tgGdIQIFZtmIi1cWyHTyrCcA4Ar1mjMzmVcg8DqOlLCcddHjT/44w3R1vzsZcxuRr8hfuuz1iq2Q+mww1bZLdOATf9TuvVjWX3yQwsY90W6Z8upGMXU8MC+DM5BqUGfCtCEOQ/ljpKGDx04RCo+XuQ66O8LUJQRYFefV26Sc1pm/WPBqWIg1bpUgoG3ZTnhztX21+Q4BAzsg69QRnI9zQ7ycCS+yJkLitij8+BRNdifBz8tnhjlCNeJs7mar7ryhzYYTnuSLdFg4YCJXOtpuaBJYQcqvNw9umPhf74yhYqL8c3KlFVwEybPqg9zSAy5A4nF0FtzwlPUGNyoILOktQxLnBbOJ/+i4XgkmttIt2LmMj1/ZiTnR6GLRsDY1uP9LPhvRdYox/59wTtxNWC7xcAgbsLGQaf0s7/i3CDsNl+nV5mEqnrKWG1xPUucn0saMj/yE+EJsEiliKKviGvunpCDo85riOGwcFVnGPmjHl2TiOdNetiZPi9vNSLwMAi+0Gx92FumoArnxuBZwNCNs5LCzQALZOJXVMf+6sxl9UtX7F29c81nGIUDcFmtR7tAqDztgx6udcR0Dee123nb5EcVEwvfYGVqkjoCPq+7lPzMYUskjVgwlK0P063kfO0hRxaHL586vw9PsfKpCjxEorMU9uIdx5AQ+jjETWPZ+ZPC6D7CwB6hX3zVjQ1M8nHwTH1dUVXhiZy+d7hywL05R8SxfIHEpoEr3O9q+Qal7t60mFg7KyIZV+Xr28jd9ijKtL5FCU8k9uQKO+tRTlpIf8WmZlfinFpNzMCFHCfqmd29SvoCQ6uGXn8wnfrXjsV/4DD296ss1x0h9Qt6NZ/B0xTQUwGQzV+FBMJB2xdY2JZfpUGWlZhSDSgeDhOekR5IKZNTcuZ+AauiBWzuHcFPyqeItHxVqXAIzlNZ+VK31pitmCwyASKjfH/UXJ5dwuwAmRdu988d2rn6QwegRUsK/cVgU0jPLlVw1sZrD9mIMx/bYaygExXXSUD84PAjG11Z9JhNdxK8X/aK8d13XH9Q4tMab81VPF3DJo1GwHxfsuEwVWYMFHrq4mghg36koPMDw0nws9KO+UiM/Ow5d2PMrNcsE0lzeUA6QsLs0cEzf2SEjbhhRQ/kBq4VmtqJb1C+5o8Z2OiPIiMRxS2xSp8D8Byh4HruFS4IG3U4g5SX8g9M2cDpc7qM5kpuvAVw+QohFLAYwRv22evF6vpsKlNq16aN7W+ihvWDhhd1J9EUreW7thj5D3LYYAY6nuC0/jiOs7agSRB3c8Q7KV3c10DMgR4N6TdXEBL1n2/YkeW5JahmqJ4rYmmZQjm+ApS9aBvfPKIuw5U0k1iq65f0DzUpTkAJ/KAY+9IG+IlnJdK0BNMR9tgMUuwhhmPtPa/Js78XaE1yha0R6MpoKo8B5TZ2IRSKVI1lWyloInEPGtzYW1KKF/oVDh4z5hTmn73GyOW16WcBRfoy53AW04TuXDjG/2+p0IxoGnEPAxymtiD3oyYB7lpcQc3FvRP/NDsSjqzHQ0imXJYDv0IFIPYX12QniCisRE3ebFG9l9v1+ddAIa4FkuASK6UQVaUuGpK+VwlOEuB8lhy7ACn5ijGiz9MxeZhgWvf+lmuAxCc9b46iPA0Dgq0CTBFKwI9XSFtCQx6rG9NQ2e6nnvhwkuTJPWwDF4QjYLNLdk0TW2l6SxsVt0YPyZYz4Ck4FLHvlMqq2imEH2LsnUoXjCpsGl8c76UrcYBwRbb5F1iyejCDDlBFoWMnRc5yBay5lZpM68D7dY+/76TKBuzkdV+U7yZoyxS526Ca75N9fW4E9EVNOGvndgohRevSfePuIvKpkBm9c6ObA6BqwF7BOcKcRiyDK14ZNNpb16dw61riEAeExLkzXYiW/vAGdGxGjbRfXcXlNzmEVDVc/KjqAymYeoaLDHF2mktUfUDcGZyjC/MD3mFwjSJ40KBCiC0b5lwN0oepM9D5iX0Nb5HQ9sKAyNiwY1HLWSbqaNbfVZp662tZwL/n15bJn3odyb053WSdAn1YVs41sf4VRGxl0Y0E95j3egsgdEaTRKt5vGgRgS3EQU26Tp9sQUpzFCl1sstv3LxTUpGo+VxntNDj+5FYPWso/oG8Lg3YQAsS/d8cXWoEaPzGbCjBPD09SoxmL04zXUq/3WsM/UKsIoNUTS/AUBi6PuxZIPHaR4qrKgACuj1VQbi5F4JN0TNjsjEAK/lU9KRh84uSEOfnqR3lGasc6xp3fPqcOeTnjZKoSLSS7y12g2++fcOnoC+kuMiP+vP24nbGKhk18UPOZH30mjhVhwQ/frWcadDGUqLBCn8v8CDnONgOEgpHiP/PjLiL7Yps1ai4wFtqNK1GmYhWIRUhlTHnmdWl8+6DK/N7X0b/v9HbyL6i3tbgC7afrI/3hbUdrDrnlcXz3A9aM+hMtQuspK+X9F96fDJg5aVO3coVFSn69tkqwby2OcER4wCHhD8/or/BRsK5CvwrP2h2QwXW544cEhE2H4s6q5kEAReQ5XWrA0Dx/S+eG0BGHz/1xh8q4iJhntkvYhAeon3QWp4J4eppP7wZScapHl8VwvrrwLCGSGeSYJQRlBUPRuBd4ONBe3EoxdsvWrYncinOH5jfDy+TafDoSbE3NKwnFYT5Abs2SFDBKVcUozAmktAXM4YAK3hs8ZRGh7ZrHFZiSJLpYDVkY/FxRzHlmrBF/55+m3Aw6ciYO9uLNGqCOXbzD7BFO4usHtYaheI2Bk5c/mmtKoL/bYlOyEo5Uvz9850L+2RK+p6fvumr6FFSkNxmZFd19nsJ8BPQ3gniBl1L0gGROM1WfrGbg1Ma1JxlHVRJ6d+4PiOvG6D/wK5nV0UX3hak2HOLu7Ww8nDeSqFYHEQRfbL8ZXkX2zq0g1hfPXXSMro3I7xyXxw9QbukgoBou5dT4DGsonRxYVZM6ZeWaYS3uNl50Ck3uJ7oXTm/AAphMGTD9grik+wA5hhfCSAyIphu51Msk0Rbq7c69gwCd7PsPRwnwt4x4uqsB3elqOf3HXpOd0Kyn1ngAu8VbgUDpyzltEWaJ88Phv8DyKdp/Uup4u1G42P3mab0f58u6UEz/mm4C3CLxhGb1EQ0BRSET4DYIGTs+h3O1aPixpj2QGNI+AeT8by484I/sg/QMomUxYWEn3tsi4aihV/jb/7wTa4KUMu8sbwcGypyZsqJIaKdNs6OZABVQiD/nWp+R9lg8/gAnRg2OnoslxiFRKOAzeCaNdd9NXttSYHQN0QMZOoe1jnHgJnPw9vOwWfXDL+zi+5Ya03FwPmtI9Te8COyS0OkqLOCZn8OtkGPFxI5YgsKjGNdmR9f5+72IadWbJHkJzZORJHEeD3Ej20gscitnqFdkiHMDgKunFeFQ5F57oMofeVF/1l+K6j7VipfxcH6+ouCwtTjh7nhoQBFfb8RVJHrfhb/Y3s6mGLi9teRUKFwN52grw6XSVthFP7AvJmKFzKhkSrQnbOMP3MuR2LEcfSAzKdjCJJBHC2SvGqRyilSdgcTE4MyXxeKVVlyFCj+vjDE5OtMZdMp2y5WdQMHU0LszrI8A29/W1V5v0pcxfQ0yRDlkTTPkKBYiZLCY5OjyaGjTE4XkLHfHsOOOLQYXcI/mxYo4zt0Hzu7O5uRaSpGra9l62I8eautI5XPa8U23g+4fplo2GNxDl0QsvJLvA0KewXQKevbVi2S3Tcuk8IaI3PtBNKmKzn/PIUqAZDWVZ70CnkMBTBRzBnbMbp56rYVQqOd1UQ1qOrEE/MftH6ggkc/m83n9q9Q8tvLc3T/M8DXV4mxe++XxaM15Uq/6VTQoNSco3doKtrXp7iHoAaSJOYpw9Eso7BQrOOIG2CcY0qTw/lyXAixdz8OpUg2v/9aSJ5mX2bBkhxva0EXeA8bQq1ATJGspNOjWezJMqqyAR6fxSv92L8MnzDfDdQEWxLqCaXV4ybrRV8GahcsAejPNAXeK6aHUnfL8Mdv+dlUqVn8a3TaicbvJZNwDH0MRsRJRK6PVoSrDDPRy58EqodyM/Wnay2S4mLDpkMqF+5dCU2XTmZCnSzKA2bolE1uG93KCFnGF4hfegzXkKAcW+P6pFahS/LP1QVz0zeuC0+xB/nvSXU6Kc5xXgmG14dLbYQOdVdwI/OIW7gexHvzBOIJgP5dIhOkAMfoxW/bVXFqHn72jfqNRE71L3ODVZXs5ZRXz9w9bTGsdgiZKr3q3KOa1Q3PjrWJCMQRqWYQxdizq4ij06IfuuT4DzyB482NvQRxGJATRUtGcyYC3tF2YqujOmE2ZN9Z03ELTyLlOxavccxyKnlwHABZj8aqx3PzCauVOiTz2q7KL7pZSVvRSF0UBeH/Jo62tcTryKFYj70e0wD7j1B/7oP596OsHM0ZJ/PmhKK0Gtx2xrITpTgf9tZ9rruY6sQ3RhAoe5TDJRuypRRfd6DLGHBmqMthKY9sgN442pBzO3FVNN0AHkVLCFxE8RZNRqYfo1NNbfkKRVeJOWhqUZ9I3ynPfDmvAgqRr2dQaNS3c8xYv5wD5wNrNqW7ZzyTNWY/WLBnx6kK5Zgi92akc1dJu3MplFWn4mP37M9nm5srAEsXwfeEVFa/qGx94TeVSZLyatjzgqEbMjzw4uYFGVOnevI2B/c4NCCK35HYd2cmTAj4zByqREO8tFEasBHVGJWJOoDJhF/iGLw0NyU8vz0O7KryK5ni49q0Ao/4pm6Ln2AjiJqRZulqxQdYh27giNrvGXxeVrB/T2g7MYWLqc+xvcil8Z+yMTIDCuO6WBqGy5OfqwSUoaYmfa+yJPLD5zEqZ41uqNiJleFiXZPaPWRwSqxwgvXbhC/U91/9AE9Uw5DeM/pQyrEcycuNSLzNzdBSa4IJCf4YDnttMPk3vRu7EM42U3Rv1AAp733Td5AtTxOiYo52vb/FmE5gPDbkNBFMAUW2CdmjkKHBWfRG7DAJBQfB9kJQISfsH2N427Kvh5xNjaeAl4C3RmwTrmaJ1s4hVIJ258vvDxB+y0J5TCuUvHhNyRwkoCrUenXsU8+2WCWEguJpicrXrFBiAsMSpMMIUoAhmcl/uuGITiQu/wjZlZXDK0gOg4cKuu48Ar8FfD9GZAmMBQAwLg9EnV3lG3r5zNkyhz1p6Wvun1ZOKKoyzSVytCZnSeebBJdE3/8UyZabEXgXV1TXcunbCzsS8b4f+YuEZ/m70ugRXs5Y6hC/p2caFWcP78VxjdfrzU38t2wtY5yrd9/WcK0W1VwNl2lD9cPPLQqaqlPWCRzJpuUWMbchTiqg2j0sVvEcLjWRAebF/1WK6oOyVgm7BwERs2awHrlUGSiDvXnFaZTu7pq24bRMI2Co40oYml35P059nHqZN/jAn6G/bN35pBevFEsoO1lByhMYfOHs7en8msdlED7nEv54PUM2MXnYJmVyHMy54U/p0rJpS99IEpy6H6LP35b4H23q3P+mMH+KsHG/u7DlwsoVMe0r67fwe/ACRfDSfZ52/yGHw+yRt9E9opgvwVSS44JvYimoV9CQMzIimvgfc/0Nm5cVEFRXNlfJoXpewIQibOF55ifV2TUkpLfQ1l6onl9w44v7nrIhgDcoRWpvTQA2ciggy0sLkQu4koTl5+DTKSoGC6jTQb9fEkXC3mRK6JTl3nVZ9iLFtMH0Mx6BYnIHuHn9Traa4yLwip1WgJwoIBQChxHLGzdm73rEgyZRjlUTGV3tfwdGYYe08fDaRRIuY8kHLDv0P3KrGeC8Utqoa2MwCPABobPhdfTBA6ZPwC3KAQYKxd74LlH5UGGwunpWo3mDhxWvJNJzR/jVX5/q8yYF3zjHohL0v5N2PpwAI1bLaYmgeEP71pYJaU3mozuFUe8YihLUCHOp18uQhu1rw8kCoXymiWBbTxreCHnf6jurFldo9nDmPPc9qlVmqjbmsOjYrsVrnKfH7sbQWeCuSlmEuJe6ZKZbH5bad+G2U12xZeIUWRlnDe7eKcONhvbXQX8pblKDSf0xH5gyqhS2/5SoBYr1UN5ACAJcP5VWHgvv9Wgk7sGzg1RIBVNX1q3bScugHm0nY+J6u2BKoZoBnekLjUJkCEtEZ4sbT6AJ84+Ofct/uGc1HavIimx+T4bhG/SqWo8DZeHbMexi9J7mAp8GpXFGjkV8Mk6bFc9TJxB1V6pDLNYygzLkgHx/tgzktO6pSbQ+iRIF0n+rz1hDSiQaCrv0oSaQSW0SzfySgS2hcceOfI5ccSdae1QN9hYSyDnAZj7PYppqCUdyBW3GmtF5jT/h+3Wc/6X25ksVde4lA3AgelVh/j0rS3L6H+NauBM5vk4MsnTlj1CgUWmlyXruRo4zAWL1cJAwELqcv0WB/3WqEI/uw+3gSH3z0GeKzvlWe4s9TizwMN+kGcQ5d0YeaN3TBfgatkAERO8TVKj61AYnfxVjhl4vLB4BOTbNC54RnjRU9csdvlg7PNRPdopIsXoLW8lyrdCrblXDW2cNy2VdtlL3xtK+OumemefpwHEqOLIfnbzR9kK6074PaTBd8JK5qJXX6B6GoZ4+dBQl7uQzBk501VPxaeX++6JoRAhFPqiyqncQtCgEbX4vRFlNuJuE2eKInKDYG83wsgWiNpTZ45i5jzYs0st7cYIOsiJHHwOhelk06BDtjEag5TKkZQvZvw1FFTTVzl59IROmio4JPpZeEUxAMZLxxqOk0F/ZA0bdp1IBPrGEQzK+2ZcuBa+DYGnYtXXsvT5+hPatrOC3OZ6SUPVKoOJlvWuwTxKmyyUCT+btlx2jdKNWe2KN+eqU0wSEkqqttN68eBNbU0+n7UtLHZh1+fN++m0WT4kWOBRuIggau3NhBdubUwu0nAvmiXLqV0WYn/LmdLTuUJE73sCpzNI49/x9kNyWTAJ0nxg7Ew6iRVAgkSn2ZIeM9sfwjUOvItlOBslEDnMZdXjfNAb7iyWQFaKNElgOGKWaiGz/Dy766gYmqAMsYscbgfK7WgNv5Bjy0mpgoftMcSVbHsAlL3mf+jJuqt8Hc+4hwxoW2U+M9Ecrscy//nPKmhYrjfds6l01FEbsMjYwI7U2aGZJW02h4iXFvQh5KxSwUq2bwWx6dyk9L0uqb4wLqRZ1YDUaykVoOAG9EW98NP1sOL/Oz7JeNS+0bzHoQ8Qgwc1lz2jzD+n2tjZNDHvp+qwTE9lsoXzEudaslwiJgn/XP0Sef9ljFXAc63Amg3JhROYhQZkospUUFtgK1KOUy6MVcsEwnTMi+upoOA3Owkz5eZMojyfuqbnq6C38uT72LKA23b0MWSKRSCIMUFQlsJ3XXu+ApXyWk+zV+iYFjx/WYB1Fa9ofP1MkE9GtEuSo41Rwi4kO3KEFbp+uNbD7eHDTGHIeq37o+qQi4hg59gxiuTzc65TS9IvTbZlvXuHVuKSFOSESSJ2h8g1VLClZ+7Bf3wEFfrLyp5SHYwNYBx9/nqxW6aWuM52ypK0Uy1ikC3xSF4soZEOHd/VXweJneudKfnU3v5Dpf6yth7+vlXQ7KzzrRH82QBVxrv43BL0i+nUTTCg49jI8xVWkcB4ctuXqD2DUZ/TAq+IWMCAOlhhDJmBXU9b7DDUFBCHB6Rab00ahUhph6Z7ogE99UYtvcB8doMsF47oXNCjzIU0MxHIJ/Bjf/WNEU+QxLlgwPrxaZh5BmnlR82H3WptSqFrRh/ALyS47FJPTkGl8yA1fOVLHuPCYuddBAFNoAxyB0atDlO/A5o+OvECjVS20fR7Z9ouTLYkwOhVIEfWa28I83im55BzSx3LYo5jC29fS0aNgp5/Dw3xpwUWvgJiDUZXnEZF9d7z6HcnfIKaZ71iIVv210QLmGJMNSxUk6VupTcn1Ko9lR8R5yCCvtONX4tpA7bwCUhnr+IE83HhfBsZDATWGj6kJ+bwpJOT5XzB7Ix7ve00anxMjRyK6qsEkpJAISnmzv+fdqws7o+OLbHuRhs0032bzXD+FkAQf49Iunrraxh3KBSDx7UxAaPnsdhGBxi3BjKYS2Su7DkxDETnMJ1Ki31XtpqPu05tjbSKL1uIpmQzYgzfLmHMPXZ0gQ3XHdH12Dm3RC5puSLtIgwtlGpeQFGdLDrfJW1WWleoocxNgcxCvpay/j7VmcQ6tJBf0lCvTLTjwzUUoI2ZJtXZ4Bj9XNUS7REIKd5tMsTTQy6JGjUd+s56dAF1DIK2l2wUnRqamKTZZu9OTFmPA0FT7a+1VtyhDTgBroJHwpLUQtJIEkhWUdcZE5DccNAQ9U/pasx/mMHf0pN2bm4bA+4hjGlEHq69eyLCfHgxhz4PTH9/eZdAMxIuUghya4KqVbkQhkRQRFZ1o4KMSwH5aNTjIAGF1X+ivXGmNpD+4cnAFld/Bz+UVlpT/Q6x+7v0DNx7KXxY4XxQlu5jXSZbRz8HqUK2nw2+ogHWHlyVgGnRSJgpLmJcEnefRMVAClBszuBDx3DQIjn5FE/HIDqa/dtiRiSgiEPxzGw81exdoTM6DN3LTpJ1aAyU/KcVBvHPXGv8RYfTq7MsLiAYxwPKV3CBJ+Y92Xe7KaW9PTdGf9ZNz/4/6xFZeJp+zEt7vb6sgxBzc7r96H2hsX3PYACi2DyZ4SbPFRztFGgWQr2iMGmNmydqxg6NDTWsuN+1AW/ykWOq+dqavxVpRtTHH/lvU4ahAjM+izGlOvkel8RL39JPQHz3gR//Xjum2X2Q5pNuo0GoqNjm7Q+CftxE2zbwP3dFiLOVQPT3zYL56Fdo6q86+SxxgAaOTxCjtHMuvyHGytZPL2iBOn5abgeEyy/xJkdzJqzUYhq4oR7zZ8Z77T22+YFj7lNzn+KgTvea/baIbv7qSxsTBj57BmnE61XZr/foBkWyJdWHUE8TmcOLG6kshalNmGVBsNKqeHJkUvrHwadahfRp2uIVkJdeWOrveTvctW+/1rdY5DrqAwOqrMwzu7qPq4mnZti9qLXB7uCn8IynTHteUnk7tKXQ0jxtt8LI9eA1y29bnMmueo6zqzG5+LluRFS1I55o75tja1gTCsUebvFBF6Ian+FtZCPOHq7gNXOrNuYXb8H9xWjH+gHrQJzGzkkykc/SaPl40sz0XfuPeyvFzg1Dmmz3DfVF1f+4tnLIFv+bkmfZ3btt8iORpjcmIpfOAu93Nd76rQgwfLSTWa5eqPUZrS2LTyd2XhO84tILOf8eFFVT9WYugmHL4EQr8Wmthmaaf1/3PpSxiOLoNbCWkymj8XzedKQWh7JRflSBBJTUbIKRSt3v91QTF+7ttHMRSdUj7lH/dwLDdYRf9Vij4T/knjGCfQuTUiIA8l/uUgOTbZ+JXOCrohIzUY4CwhVo8K+1XllrIjLk+pLEes6bzHF/cuhUM4H8rCf86WkxxhyBIEu5vJ+rqi5/OGFwp6WTSWx2acf28/JUSQ33aun6vnIDsAsO+Riwu9VEnsgl8mh0UEej4+Op5BKRqiz9JBmCk25WB8gFTGBhWpDIAXYN0r898+mQ9vDGoIyjJFTa/HePxlZK1YTA7TK+YCPNhuJ3dv0im5TxvLomDZJb+RfojEwOYSik8nSmUdw+hAJb3L0oN64uAWlrnsQ="/>
  <p:tag name="MEKKOXMLTAG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RIGHT" val="True"/>
  <p:tag name="BTFPLAYOUTENABLED" val="1"/>
  <p:tag name="BTFPUNCROPPEDHEIGHT" val="472.3416"/>
  <p:tag name="BTFPUNCROPPEDWIDTH" val="585.2665"/>
  <p:tag name="BTFPHEIGHT" val="115.668"/>
  <p:tag name="BTFPWIDTH" val="254.4964"/>
  <p:tag name="BTFPLAYOUTANCHORELEFT" val="False"/>
  <p:tag name="BTFPLAYOUTANCHORETOP" val="False"/>
  <p:tag name="BTFPLAYOUTANCHOREBOTTOM" val="True"/>
  <p:tag name="BTFPCENTERX" val="64.32433"/>
  <p:tag name="BTFPCENTERY" val="36.6666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TAkJEmZIFoVyL75HfSyjycG+BYphGy5qEesTVbqgIFzbhpWKbqqCVG/1rSw4Zbr5DAhBOClY8E/gYQtOkemuMla1i501QR+WANPO0nZMaxNLpHVjxyUs07ZnWgA7OUvo6bJNbEYP6cGWdKHKdc+9xCuKesdAM2CO3DfY+7Qi9rz7NobAc4uV1G1k4S0ZXplR8hFnM/fJXRjOJUgz61sCt3m01xFpaiaIpnScPsWRwyEJsvNoxYnhWMMIn0UAxvUF2+UCftX7e1QZRRyvHg9wvjVGJqZuHQ4qtVcYt9SQYMwQ38r93vLLlDG3BixFbWvfQ6aEflaOoqs4l/IhkU6L0VWVxZ1BMzDHGFieyt/PAE+MOX6p2fVfiO9H0N7JDX7htNJK3X+W+qLcErbu0Y6Ut1IYkyfIXKTGP3yTsGGyDAyY3SVX4ipyf4P7dOpkTWN2qERj18zqwB5rfGnHk7u02xkuHqDGkVLiaBErpeDUqvuRUUs6Q5WbUE4FHloCgbKzHXXO3Sagsy9LtVQC9daAMWtSBWm+uCEd6RMA7ocgJdHBGSw3BX4MdKZNPYRbxOB3a+9vbMyP/eev7oCh6+rkmPNc9Ob7BzzZl7FchTgKp0hNNMG/vPL3Ws6pRx0/xKEejj8ls12dx0nkYuXO8S1CAwy3Clh0WgbEmwjBjJ1J4ks7OztRcXtfD7XKWnlCDKiTH/A2MXqs6wRaRTB/cezORbL8gf2WX0Bn8pTxl2CIhSmuIs2EGZPhBL7C6/TS7zAtLfj+XBmF0zgK2Xg0GrGmH5ierr8wV8pGiZlHhqqxD5UZPnD1QAE5Gtf7PwiXviyI6YmhjZJOqw3HDluTktrSwEBjEQDPllPHGFfcC+v9vRP2m0nvAZYLTDeXo7wDW0CuttF9Jfq9UeX3qj5b/Y7ulE8xDZXE4sRmKAFaKGW2hLxqJ094gioIDmZ6biUKKYPsIgoKcAPSZK61LTIxaYMNOP12LOojZ9kqjg466hiLPRyAEDUqBp1zXMUfcgkMP+YTNhv3JbMIJ63Ec3Otfdyjq1LB+sHE+OvgqsVa+Z9GGt2Gmnsd2xbgsp3Ax0WDLNzJxOlHBBFt7Sz/+78AIi/U+n9/gnXCgtyvXlur871HTQS0VWibQZGrkQK15hqqSODKJTqWMCF5y4Po+bJlEmGg8/6UPN13Rr84p8ld8wz5Nkjq06auAuUapJr7N7bcGsjvgmvGR+hBm8M+jPSoRufSgGW9k7B38FS1qAzwvQCOk+pi3hO5nemacwcYNAF6BxjoD4zz3wOUS5S8iRhb5v316gjCVvz6E45pIqeS51XxXP7/DY9fG/xuvKgkHLi0BoKqo2X/4fGJg9dWPbPKBVB0zzOGi1ELeV/3Dh/gDswyPZw7XbnGLf80XVaMPjEGv90VEJ1C8+yb4atwKx4u+HBQqHh+cRXq8J00mKrWfEFNeaIQxXqR9eYsgn18Xm9L1s1d3qR8lD4EgBPGGwcv/y2ABV6TPxsGQ/Wgv8g5zcIYjCk55UE+RA1b1PILd8mmHOVudeU0TlqR6un5XFDNB5z6PI/nhEqZvr+EB5vJB11pNihPZUI8zNKOrhvmUyG7kwmL3JYFevkWSeu47XAiiqir7Wf94jHSKTpNnPXDtcwX1HM//7SrUgbPodzpwomPaH3lfbyx/JjcdwJthpAEVHnVxrkqx04ueU0MRuOhZhSLiPTp20kQym/BH0wNaC8oFKiHFfzYJMK022hOJnnFIdgVkezZyx8M8aEUrF3J74z9MVx8n3EeOvqXzZywzYak7FVCe2XhJdYCZuG0N/Td4T2r6mLGeDKn8mrAQJmw+ZJOlvtsTZseS5MOacnvCKwdupIWtrXb/oIL/q2/Yp1E6SlW1G/I2trg5+6AakHuDDDZHWXNYyjqQ0y3g3URRyQIN4RBe5+jE7PHAZozGqSPRTWC6je4uVCpjDdL760X1E7dBPm3MCMZz3Avgw1EvJMNmIPLB0+qyJDSYs4Df6AQT30okdONsWdZ58sFHr4cBcaP5JAniXwvb0WAjyGC4FKXa9li0/VNsG2lW2BEud1SAYRRtsAH3/zy8k++5IPXt3a188EmHqunMYA9WcirYUQk+NuP/jHmYK7o0U4rESdpWMrhhrCFIyteEbKZEfIgSsBcYsaENwRKTczx777PXVhjBN7n6FEHY4Y6AY8BFeDDJ8+iBdUBiK30DesnPHvFeMLvt7N10R3WbZeXcDNDicgGP/o2tTq6VE5qt7oD6qt838CS3RQHwI0HBjlPkybvRNTtApligJ6v2kxedKiC1zgYdzHvH8bCPXCi/9s0QAUYcNusvWtOO5GZFqlcAwUlnD79Y/1S2wOKRWJWW0RDjR7oQZHwVKyD8+lP4ncN9qNzkzCECatXhJr/x4ZOGDaNp93G7Y4WjvBM7LrbeQn2ftv125ZK7eI5ukgMurI8M9byk7HduVoIRs54cSfFUuW43Ova8keuGZXBrq/LTElFiJpa81mZpHK8bqP8GjEhvpLI1DX1gcrLA3AH7j7dgmDAqfnvqIj5FBp1OIe76RzfqyAINX784b9asdmfU+DLDEPvEIEGFmUrP2xRKt7cSNHTqzINNN5YB+jYRIbbar4kT3kHSfDPmOpq87eD0O4eWQLzH9E/VyP2PD5+luSR4K7fxNJLrw9bavTZvNeEOGWinQcRkLvzTcK14D7+DF5OksBPkneQ1wA1JVWOC5PmBqJxwBBnyYC2HXLAEsj2L4Z88o2JFe3y0Dxee6wDLOMjEznw5aIcuu0BH62Kk3KRnKQGV3buDx1yW86cUKq1/XKaGcNM/rf1SkhbPQZj4Uu5+uZseJtla1li//LU6jXbT6x7u+r6IgNpbVhJ2EryIhJng84zK0aNrowAQ0a23NoRFQD7Dj1qZXzIVQKl+uU5CMZdXYRcq7VJVll2OkJaLwP553+GMrh0ppbgZeHfu5MtlEW0EFq0b+3zr2sCH6cFUdZRSfJiMoPiLYawrNcXGgRkgRI4gcKLVCXN0HKRPrBvUkN+9Ijt4FJpmnBvsNiNRpxYhKhTeRIaSmk3+fR9KZKNUbX+bA9Yk4NJrBC5iLUhwb7dsCpeAoCdxslcwBYRd4A1a/H08660wLdxrDNXZS3GWOZptJ7/PcKTK0s14czJImpwapwxtoayYsvPFp7pyQ5M0pbVOtiPhjNPG8C/ePCwvRwmxLLKgZpKsI6Wf5E6RcFdb33NKWD1Ec85fKMsn0SWNOhgo8YBAS27gQYbOCtRA/3uER2H4Et7Tn/NjJl9ywB1WX1nXd8JKDo6u2Vn1EaVSBS3uRi4lGWHbA9bfiLX3wCKE1EKcny4DOnKFpeKRkB19Aw8p0xxPshIU4/XhepjCHDxc8PvPldrYSn9XhhpExMkS+jCU93TeZ58Oh+8begMpxUkhth4q6muFsMVKjETXaVcdmKO1ujBWe9doQwdCzc7f5ct4sBbxp3dZ86cA6ou7o5VnP2PO64xgAz6Cz3pRjnSAJ3ItOlnvRbN/JvwJFw3UsxG/2pyTdxLgAWiq9vy8ZXjJoFNmomh0H/m7qiT2N6AxPtZGuvhjxmPxTO06LwzrbpAxp88B69LCq5i1QC4iR5ROFdydMjaopbd5ts5TR7+2mdNpGhXsMHlmnl4dlw1LfUxLd8Key5o0slF+h7EtmmxmSlz3iUJxZiaTJ5uPEzhPCtblqO02v0FZNetNbGwLiMamrgBvIb7NqDYrQu6I37STbn/VxSGOL2fVSX1I74hgEqTCcYa9dNK2APf9j1fWOq6QC+5nrt2ZpPXL0gEKdlACpnqXKw+LlKGT/ULAPtH61y/syXAUhf2WNnPCOTzexsKEmwMsR97gT7O4hFJ/yAfrMnEwEbJhe03MJ/06PG+sfgEI4iJqw4hkmwWs9QMpAf90Bbzx4Pcdmh2dzFMU8qCtD1OhV1DM+XAF0OBHh7iKKgRK5uY2COQCAXn4phpHTJ5016zkMT0gb5yEeuLECIy6aDGkm1c29Wbl0XLve+njvH7erSbaIVp+NvUMRmXoUalwJYWk4kGqssl7CoG45rTb3FHhaMCCDwFkICtsjqWYIoyh53CvXRYkeZGeU+uHmQz0r1IDdoVvAPUQmoxhYxwqUnhZSZYxtOlvTIThWnFe6+8/QH+O2nJ92MS14GI5jYkNSyE2VCzKAN5hDPHs2ERJHOyI6RPnWXGO/bZofzzq7/6uN/3vGTFoqAMp4ZKv1YzVx+oYNvMg+LbvhV45u9jrJdrudZCQZIYlchpxxg662iNzZRskr52aCQyfY22pqVEMMZeI/hdfmM+YSl1gtMHCiU3orToCqrGJeJbCbEUSbKqlX4curngWwUVKqKnJgsdyPSF7bZdDQZhIUk6b1vY2QJdRLXdc77RoavWloQ6fxnNGTB210Xye5LLUTJrOcQ/9D0N3VkmckGf5WNDo5+kKRXNfnd18GQr5vE1zCWj0eLc/jiW8KVgubJdompHDKGWH0SnqQIYL8Z/BMPwdPCnnleTlwvOZmD3SfyDf7eJdUUQlbLzHJhDlxv9zUZ16Co8vsBbErQ/TbZuV3T2pp1H3vwEkyoHtUB7/yYUtQmlzc/RnIjh+xMBHn7m1rki1wnCQEkaptUE5FpkFeh13nsyCK7AWb+rOoeUlR37As4q5onqpjdI2EJnyHHIW0OMhHcGsVpPDnN5oBYE8uNQDIkWgPFSjyIzUGDRAhFrIx56MiEIQp3cLkUxrxvGvkfNfdyswFGPF6HiE6x2XtpnFJ+xWCcQ6AIYoUQ5slNg7pr1x/F8uSJA8sxSL3aHDfmNuuXSQMvXGhTTyef+M+jUqYgAsTC32J+Oq4ApjoT0DisemXkUsca3orijcqEFJobPRm5VQhefsfiNso8KoiOqXZzpFeupqQ7HnIDaiS+4x7y28PeoA/oX4Tve4HMywN0B9ERQMdZ9y8AlJS5/EUYW6pKLJxLnIZeeiHlBRvPqaJCABxvt7hxTkr2ZKzKx7Tqs7LPaS4UimY2O8mJLJotxohugUx/UaLf1S9nEpR7CyWG96EgUQM9WtMDkkVYxB57twFRVUcqmU/60a6v1VmNbVq3gtkpD5Ein7nJojzCjlRydh1GDmnozb5sMKELFxIbcJYE4VsTZlBtQisyoZRdmvZZN6cwBy+raGAgtSm32RtVlE8cj03/8tfcfEuYoC3dhatRvpG7zhDNyvY3ks2KyDDnU8/wTGk+vIzHOKvzSF3PD2MBXzcgddVsfEkeOzkenRZ0k1vBDASCHjea+9jtMaTqmv2ATKe020Mzymxip+/Vq5Q4Hs17ZQxuREuoqoAQZfvlRtGUPV1kQOcZ+ROzATDaaNssu5g5D9uiXU7H1nWvhJLYWMqOrhLzNXic9ky3VUIbMeMdGJXbuUJOMcwNdAuhlCTYOtvR/D3JXVokspj+zCnczDD2IHb//a9idhBC6QkrDASvtMSyLusgSSjWiUh88U4s0yv3UhZCOILupT0VnJS1ZVbAX43SE2doFbyrTzb2eJ4jCjTD5HtC2zQYIO13RLZHwAJ2T/l6vtmP3EtNUVyNewaYldGyM2PXTMVGjYzmxqoLFBnVhRIEzT/wuA1n6EQViIcow6051DC/cFbAncVknXQzS0OOzFaWtzWBSrpnUI9Wig6jWEc2yCn5qN2jAz3D/sJmTsTov94X7LXlTvcW+3hkPUqzMq/wSfyBne8Wnmv5lDDROAyMb5UqWNdCz1tjqQZmEvJAm6SU5oIlPw8oeyV6Ad/KXkmiNCxcFmtuV8/0mwM+81lzyLsSB1F8sGPFJRE/tFFUHrcIm3oJ++jmq9N0aqktAlMZKOtvWn3OZHe9mso06B5FjprWS4VuI0KLRoF8FYUqX+yEDsbiIMMJIr64BvB7m6Vg3Lc2a6gyV5g3f4Eu19TMGhEaEyfYxmWryIiLTVwXC2VJfZaAc1GA5k3bP58h5lGHManUEvUXS1atLMJK5XwhBCRAstBv+YVLz/BW3p6r0Yu5OGjTrbdZKecNVeT15NiEb9yHWzBrFbYWO6YmpNbdYAnZCkC84Wm02ikXYUyDTP23JPHHaRpleZlns/QiMrSghTh6eIbLZkQAYnA0ZJ/qrM71nkU9oQH0pZjOiD5bn2k1/NjvoDB1XcJVPAOgmkFkcXN7vFF5KOMzRoADqShF/AFkMHQW9WyO9N7OOc5N+LlD1T/mbehgn1niHD9z3BKSVxRPSem/Ght25D0zn19Id28riuaxEvPFg+yv1WVU7TgG4el1AE/b5G5g2G+glqA9M5PxzHoySJdlWTlZUXCtQiGet/JH8THodMePMtNSqYxpuG4xyqjiJII37JhWgNTD9tGYRZSzwWq3gzyRCDZhvNchFsFdTkYDS6nsGclF8RfqUzuLzL3O4UUfAVn7d8YDbinP5cpS2ikNOgusMBFq8fnsuFMSaliJBQNivf/uWKdhvxqANaKuR8uK4bnVNi16DEvYMn3iUdPlyZmCeqTXo0MiI9S7iPOumgeZBVF4eDr+5KJCO+M8Wh4SLLAWrRxxXIGS0y26DqxlRLN7IOAoJUnxqLJ3+j9RyEQWc/Z77L56ge2IDEDumkt5FcRZkqIEVbUPtII6vqeF83C2kD4pkgSMMtCNLw0q9aBShrXdEqYfJtCkQNW6bqtf95NtgyeFAYPMOGkxznsRlnumxNWJ1WDyhq28sh5fq7J9RJDhYk2mUqxC8I8j/Y24KBGgaWhCZvPCAJSTbOeEn5YFHrtPwHSlt9/+8JKV52X7DcfNzsoX8vVhXyJVvIQ318t65NQ09EVey9RKbgIvH30x5hKXUejX47jBGG+dp+k3TWl6Xa6avRuFng/KitYnSecB9pfRI79+OHzPZNoaQkKyLdbEYaaheAYcbQdr4cSQBz/YfCjad2L7U58zDIYrjlKvj0s++osGwgcRouhKqsd6A1Tens/Uak3l5gXTMZuaBPcZkJacK+yJ7WPp+FdnYffIvYVIKbsCGcaXw2uFytrOHx71058zv5CQAmirSkziY1yARQ+SZMk60BnxLIpnSG2SaXp+uNmASP+n8KfA+ifd6qglyS2aHiw+ioe4KYURgHTwCq0Ma/UWFE/CF8MtIoNW1eUMyPNdwjNWtc55VccwL16XjdZ47a6di2oJpxNkejDe8zp/P4sB/boI2PAhuSCMSplMc8pvRkfVZAHDqJbEU3TL08FjG2RwSRJ/Sx/CorN/wIorEKzzMKjzVtGLMYbvKQAbNnfgczLT/fXb5VGUM2ctkHda16P/jLfD7B7m2ZT3vWjrzQjes0173Taol1pUcPIMTuyOKFEFGZc8V/UJjRLEwHG2dGmQ6Hyv8FuSXNBNP0Ppi9uJjslVrTvnK+RRhiGdYOXikTOmf6yKJRFTtIlaKer4tRUjh4lpOAdQqlzO/IVWum0qHqaAq56kXr9pGtISO5hfp9geDHzC92S5/WxwqA3sEiNBzEyYHGO4DXae4ge2Tk0DgpZiszq4wrlbtDT3E9G5ci3Rrj+dQOIvaI4WUbrHjQqAVmtjVz70wadUWbkj70EZhBN94JjD0F26i165TwaMSztOIY13c1Qje4k6n9URuAemDWG7ZGn+FUjS/qiU0rX/J9Uwpny+pMJLZynIqQnI14OiXYHWB5rs7i21zY4JbMCpBrdVWgwzz2N/ymL0m91LSoe3PRNZZ3tf5QVuy+4Cjtd5fK1aMbKR0gIbPg0Zeczs5w4Ot8jZDb06DAYeHB0IScF2OnK3r1J0o3JO95ynOLGnh/DwdaGx+4tE0c+RMiOoxHXwU5UAHr7ZRTd5pzmGbdiSe1iqD9pkfd5NCp0pXdS44HpBopqW/vTnFjboSMhjplyBkAddcRgFxRFOJd4L6FJAD1yzhk8lyumTMq+Lh5cXHtORVrCdhRRkzH6C13aSHmOhKRLa6/TtrYoNjsm/qxrLduRQWOMW5d6MDzmm6Xej091xkq5MGmqMcejOIlfFWn+w7qAzQs5p1H9xIZNHXnynm1qlHMELZ5HdK3mf9o2PpvAzMw6tDhWWwXIsxsICdPEdJUAr8+WMl5chSjOHOt/fKgn9qnRN5o8LekbBmtLJ5FUf2RohAGxxHxC7rbf6z0s7XS9M6v4thkCzGo+qbsEgon/pnVgKBZ+tz7hOfEs2eFBN0Vzv22QsM3Uh0uREiNR8I64E9l07ngZNYB3UKHPkv82Q92KeVr5wMb1YG1UPFX/JNqfevcAXqhvc/O9c1MmCZzU2wMpCl1NG2ky0JwFuhCATmLps2KFJENxUkTKvHNxE8FLvjWPXXARQJj+GEOOK49UtvM+fdMX/UbY4WMArbMVKVS6CTJE1DBdBRAT+SOW7f6UpiHDbjD3Q5O81BATf9ICbgN/FUF2ROn0JEWnBsvl/dBnbXkbodHuK9PPw1WHxTaGNtXjQJzDb0ayl6hBWuCzoYXd6gbfKZfxYeqbKndJ9FNEUKdQD74t4mgXYecdJpFmeB71K/fGuPZ6fgTz0ktJnarFQzrQqac5oxWoMNhJa9eBlAX1B3H9ucs6x+pyJiCtllg7OGu2+zTemSyykYFF6gkFQ9C5DNC3zWBk6FjMA+yKtmQBUjM35pxxatlCfiWDfhjpUb9iNKkRMqSdFYmzIvyE3fPbmVAdJ9rFX5u/khqdyVfo9wn6PP1G4+mCxZzb0wQMF6w7SAJaWpQVDJe5hdvld71pADTGAupjxjoZg/xjb8c1LFy+1VcQanZIMx+j8rdWQXP/HF5VUAtXbG2FoL5rc29kyJ9RRcPFk835WSyIF1Ey+EdJJV1zQUfexBPN28a7z5NAX4Y/qFTr8/oggFqLTpLLdHRckFrB+9mV/AYWMMWTiFJXv9L4yq46zeg2gux40IitQEcPvBIrJXqfPB3L8smvQjvMiAGKqOKIxLsSL1Lmr2i87PoYrbwOaIVQO/EDSzayLJLJ+VmVh7/jbQjipLnp7iDvso51uzCavDQtFY9+bM7NrMrbPubdxT6jSOpaVVTnZKAodVNEMMzz2o7R3Sc+1eqFyXQu71AYbFyqLwYt9yaYiGuQiJx0du1aNLrUwggZB3NaSPCoXyqK9fbx1yEMX0Qczc2pbwyHzJyyHdx3V62NTl4uTCrrr8i5OmC2cfRaHT1ZQg4leSpA3Xu4Hlc4U/9MJWaSqR8HgbJBj3IQYRxlYjCtphgkBROJuQgul2dOL/UlapzIM0l47pAPHlwXSD295eM1f7N3wnb6dj4b3Cuj1b5M7WtsbHLu0+cSmfMMZ0vqBp0O9xSLwejT6E3exxZNQoHruJrv5Zo8672HzFBbbYDb2ER3qdUN0g7ygYYb+jrmneppQJWvjzBJ4yy4yDMutqJCtYnEHnC1vACP3YTl1Iiz4Tb5Rs6QkdfCEgPJdpaSdjZy4RS9vWqq77uUYNUoK0bU2pZi5FhMnIr2/bDQXEjOhPfHUSY/9OKmGyvgctPeESZ8nicYl9M8BZdhFZToDiojFgGGpqI3a8wiC4VWsSeW15vZZlMjoPzHPP7qqL3SaubFqn6lgqY31O1CP24O3h9PT0hR66Isor7ZIZTcSbu1nTHdHHtdff3ulRMSusXN3Eg4eWYB1V4OxWKtNwJTLRTcfWL0cdlDLPkHr5qKaDCNOlNRxNCRFv6ehvgtHVvneWAWK4jtlBVONGFCuzZGQJLexm0RMQN1yFdU+KKkcERFadvZiX71TCT0O+Pr9Vgl9Ia39gw1xmtK88Qd/8VvsUHPUiCtGD5KLYP+0ql52uJCS02IHfXj/DHjwRFWbExX7cLaARQabECfdUr+ADbFNqMV+r9qga0CzmI4NGsJUb3n2CpaCRNy791U75CSxFou3PxJL4g4yTyudya6gzIbq5sA5AXXPwcf/KPq9nyd6PPyNDXZLeoxbkD913Kb3HvN2VMc6IUgpmwUMTvnfsfI6zrVDWjDG7khMDPUCAXSFTkIQSBjFJ9du/eOXYgxKdZyIAT09jO5+k2zvG3f5xPes4qzusgrodMR0z17ZugyhtNypJ2iygZ14wzFwMXTbM7B+sF5oBRP2mQqpT2jR0dtba2z50/m/0Jb4YTWtKXbgWjgmFGve/7XDvaEZyJURU0Q8EweKA73WLNHeHgzSIyZ9FsYXogI1yJBDS0sPlRjwTB+QfbHErN8Gl/qrrV4GPj11ZABnKx2bhD2E3avI3yjF05gNtlQGTBS3s0TNseSNDTpah8KtDVgYACKDCTL7RoVAk9cVgut+jUuonj6h3jThMExXAlR0vcgjmZN9UU704xSfNLaDyfTmXJgZ//Fb/3xWPns4wtofcSs7Iv0xVfH/61tb275PQWkXqzYckfP5YuUX0mD4y8+IOiBVMEuNWpbp9agZf1DUi8w6wy55sqOEj2MCdcwcS0wEhgC9EvRbN1LKgP1OhcXyUo4W5VrYlTx/VFdGmtobk8SLfwxc3NIQ1Yf09Od8NsWLd67q/AFStqW/AWANmKe2lWsU0yj/2FiJM640o4UtLqOBaQ8ki0Iu8b/KojTJAe1UN5MBD0a/AaG4Gi1LKN2+2aftUK2d92ToRGlLF2EXMVC2VifnLxdI7tfH0ym20silWJ5ivf6tLQnF8Ho9QCCltBNFF5WHiFGZT/Qq3DOLv1jl4JqdbGd8iSzx7tfCo5l36WAtiBd6GL7xYiOrBpSkUbQUNVyLlpTdfk9M7zkB6HQcnRgZNlho02/fN6YiYNdHPhJfOoSZwjAX3XYY94lHW4IHLnat6Y2uTG8kjMsbszI29diwc/kO0XomWSH+bPlhB8TLELSw0UT/0Hr/SPksVXPiwFlYyWJS3qK6AyXTEqCrex+1YUpefL7r1TI98t9s6G7XBEEaV34hNQSgiS72nK5JBma4DE79hZ3SDfmzQdIwLKadnRWjTtSkJBjjGSkCOA45kvE8mEa51rm6oquLAfzCHbgWnGz6uYDiLtr7QEemSyoDqBilFLX0XJP5af2cH9evbYgcF733185wsTjcZc5xq///DEfqLBFu1SGdnWrDsuQIbtNmQHc5xnJ7eDH+KqNBuF7gJivd5DvkWf9m3K2onDfBPMSYZo2Y52eiRb0DxXZQLsF0eMlnA36eHOzat5G0st4n7rf6QvW41qzsKylieEdjFv/3uMFb6x4xpofY+NhHUWaCYpQNBVYXKRzfLxEwRsC4SZfTd35CFQzHnGzHBg4kyht0EVWjVqtEdFspvrT9/6yZnQMEVK++pTAFY1zg10+S3/IRa9y9SMh6+r7v7pXL1lgyUxcEfmch+mlfXap3lZLX5+8+HmIR6UwBlEQD+Hf77B2IZ36rOCAinBH7rjlr4trRhIDkdDqHwe15cs1Zqikbyf3/I/4gyey+4Aa8BwOgGSnXnIfiCSplnttArgU7S0icYzQJqNS0iMEHt+foBXwU177LcQBG5wNLmVAAOta/HK/fAPBny0cy5m3ySwo+Io4DRQh24sjlqAR6HDD3u/Yy9lUakSg5jmhIbfUMgHlTpWBC19Ix7mTat+AT8dk89zXjqmEcgx5IEMtm8eeST8aEJLAvJdqeAP++s/uU0eLdil4LeauW19INbFlABKmoDCDqOZ/y8S0lTC1azx9lww4udDvARSS4AJkczWJI+48xw0iMPqpu/eXgeBNqGv6xTjpuLaMRIdOXW3xI/SCg26zB71yxTpGD0UzEDeW7t+TArCubG8hU5Y1SLzMirI2ybS9N/jUPlcR1rK7jlI7WyXiimnOEK96lgnYeYKkpCDPZawoMIoGsLwAV6eNJ3i2tbsF20wl7rA/TT1/yoz1jHT+kEYwqnEfCMdgNqpspzPrS05z8IYJ1IuvfpBh8770J22Bi7XBz0POkNEJp6Xn4mos1wDhVOOgaA5QTlO2oIh7vjjyNWEKfRURcalsQtsjTqbzxdMpboj6vP/zoRUKtW/2hCEhtcV9fxSHxfkpwH+mSMmZDn9/AcMx0Hz7jryNmDB2sYfbxw+0x53onPMY+MGEX6PGomqtCHREyLeRc5YKUIJwrj0uYir6J1biKrUHY2BIrOAt621e+g2MBm6O+uZHuJLAarZsEhTVtWQWn/hhQjD0WeIK0Imy4/OfuYSCWKPDBl4wuvmrNgdfrHQWKVmFFKtx8+KDZg5riOshkz7gs8E72XzwDZxswtW7umoVvxZSiWaw5WSDUviXMJFmVkuZMtCsoXQpear2uKYfKxi/G85KoQwiGceLIQQ3QidB8jNpQvtspvzqIHI69LpELkHuMKbgqbJ1i6xA6vboY1ynX7E/47tjyK3eBffdF5Wdx9+ReyQ3EkeLw7Lp88wLGM5r1/WPPyr/kSxcvvBw+foX8u1NoNv2fJ+jyeqFH+a3P8yZAyHNHF03ebHXgFpPI7d6wxrm+yhIuSW5VJn/IeqVwSTvM5zbTs3Kabg32LgqdJL/p29gQutYTG4Rvr+ZRXAS1mo5tUwFs7XIQU4FxTS3oSgJ5zdKFWloqX1uZR/N28poGf8eRlN8o1phuhUWBEjTDQ+bbXw77t25g4JqWz3ZhPsNoNpNovqGzbx/HcZInvv3GlRStvAvlEkEsbYFoNVAwtPN8EPs/eoACZhlY8Pl7ylvjMY4WeZoQoohGq1dEk2eJTW956XGnYIE6AYeMt3qitpAB01+6VUGoeiAJXNpCzGla8ctdMCtRzuV1T5FDmUCh4CXkpU6tzrJbnopB+2mThuoZ/K/3BNg9o49z1dOs07w6BtaBR6ZCieFyCGDJM6Je/ZibX3qULf5TIO+Tx0NLIotYWiAypJKarnsvEAPFPB3eiVKEcbkU4EB+XSiuJ3g5FCF+F01NBjRo/9pkI0cv1fuy/y9ggdX91OZsatghNqjf6It6yx9FS5kloje35jHhl0dY8C6wrifGfaHIphuGRAMZmZbD4URcq1Q9q7aZj8v2ZV9AScnCdVmvzSundw85fys5o6avzmhhVfl5mmHmcNPUvKeOJTADFS1vJ/TuhOs4sdO8Q3mW/IPl4Zv/qo1jAQ7bLxBkzCpOoPl0ubWtAAIN0HawGEOJEfdaBneKUzmqEnl2z3OpMLxfAaivGaasOKZU32RDyw/gtrM2xSjXMB+nqTfkmc4Ktj0zAoa4M8+1uwffKxN62543+vGyFSTdlvy/p6RXJP1+KXUXj4WWNs5rsFRohmDu8pNTgDiKgZTfNP/t4ilJu5c0TfvU5XSQctfJmEPhV5L3yWS+LxKpYE1xsHnpYJeBB1oMsO29LSMdAi4Pdq2DhDS7zUIpFhzY1DlADVU0BXXIe2+j90GF/EsxILq0iYGHRmD4c1unghjtEEy/KSe8c0Io7W70qmnVcch7VlmFm3vhOLXq6k4MH7WeTYMcZ3NY/T/qwv64gqUMttsh5Cn0n65ADQ5iO+uu2i4SyzxpFfZPeg3CFM5KCr26GqHKNsurDXqj4BZGrVYXK7Mj37Hvp2Zd4waUGs9dOQY3PAjXA4/dVGdOXcoxcEQTEJICKSiBIlE52kZsQ75VClMpT0neJr7IwEq9pDFFG4HOyytf7vVPr75lJf9dyAyw5LWRAPbuSvruOWPAOvOVh+ee897/JTEBASNVmse1O3K5isSinHUZV2+jTrgUQyRYdpyXqshhXlXti4bsVZHSq/rLsfUowdcaXQe0KBaKvfrtR8KSrMQqMwGZ67BcEZ7moGvF74AG7XRJFfBdcftcc2IV/Ocn8HOBPNNiVBzCLShEEatmV/AGkgNxMUGPk6wY/fQlo+K9m/3FaeRK298mA6BkEShtLIQx7I9L2bBGUSdGqt+9l5ndlUzPznHGwGAZ77Twdf85QXn997qZfzX1JjVjvFhYGCXSnKZvn9SogeVXfh0+ZkWqfhZc9TVMi3tnGKJISr3h7KY9JVXlXqvo2dnCd/Mvo02fdEwx0i892k+CXBtISZgrM/23FMIuoOuajXZxQcHVorarvE8mS1d3ucKIAqIwwesr9B466G++850ClT6vhAWNJXUbfrAGri0P9TresPbBH6GdTqeJq1QtrnOAMWVjuidi0MDLeKEyfqlZ60nr7EK/G2ZpA18y6CxmytVkNj12Uh2Yal9RksxkmZB4KqKZA3l5WtkeDQzLogX2ypvMwflPjXCubTVFbKOuMU8DA3Y+hK31jzUpABBRUIEgWWVAC1CEgVVA1INaq90pPH+6gQM8vaHc4mLwKOI7f/TbPH1/sRNnXrRREW4KfHuldMOSZpWmi/ATEYGqoXxP9cd0tBwc7a11ki+1YSGrtO3zuZgiEZXVOXGhQE5nC+TwyKmdARiDDdxrXa8I9c/SMtBFcndqLijJS2IdXOyKA4M4d/3elRzQaby491KFZxeVS85UiOeVs/UxLnt2qxAL2nAVYi6QelPgNQ7VD6ufdNlz7Lji/sHCWjc+36Xjfa4oXZiYunT8SxVKEKXBIvy7OfO5uQJbjHEjZpHRtNSsfHHFx3ujUpyDxEjBoesB9yqyTFiVM9F8IPli/nKgirfkRtAPRXYaDMIh+Z+iCKR6wW1nPF2pdBuBjM5rTCN6DoKHdBeAmtQtkMsu+k+Sw1VLVYfVwOz10SuJ+kdOwHfsbilUurxuccdAxWy+ksGGg7l5IXEOmaqQiTriUNMM6HtZv0928M1ita9/hddFs6f4vM5cxnrTAIBY9cvc6I1hLKnYxZ5S9CdDAQ6BML/y7Rtl8hBidGIOfEmEC/jcwgroLljrOAqETFp2UMe1YFNXs2+DcM4nauOikC6vysenaWJP5Pqou4OkuGMfB5bovO/OqBsscyK6rqplmDml+IXLTF9/SvtWv4KebRw9yYooHWHm0J+FerXVq1lzjq3GM+R2+8+HIPN8oBSE8ilviCvHEL/4Esx2ychtxGQAccFKyF18I4RJ//a2GlefY/LY10KlsnK5wWY84ByQVttfOdT3fy6erosge00UVS9l2Lg3whNNWxWfjJV3qrxRRlWYVWZx9WLO5XmH7TzTiF9H1KdsaHSh7lvfyeXuYM/y8CO+zfFDJ7vbIIdd6tE9uyoixDmw4P9Cy7kuY5UIc0TRLsIuPnvmA6KPytK6/PsPWNxy29H7Qi5NXlbjF7QPhu4PvQMpIou5phoABSkBmn43e7qeCyXZbEi74E2XVLW08Fla2yiRt7kl7EzAv4vpuuTBTecFs/htoiK5HeECbwjyRfYRDR6ENQDweGO4+BAwC5+RNtMetXZug1Gtn84p7/r3zAo0EJpG9alCjMTWTSArCGhJI5Ky1WCOGCmUcDAACRF1tb6iELQWH4a1OnBwS7nDKRrccwSy3DZrOyO7C+PWUR+8jGt7HhHEFFqWvv1QwX7rweZuolDPS6ksnqVvNkZXtI3h5Jl3qJgax+uMy113R+jc/QHJfktWx7PD/qeK99eBT8Nydffo5SbjdM1kzP0oJWskyRPKdoNAKFQxqPDOdsC5CovuJaxKufHNKo6/Kwyp8B9yURH8ichqsaIFAQtGbg0Pe2xdAYy30XWIjsBibpH0ElTIcLbUiKoP0wu5SIGXy9DAaUr1I7mHGCo43IBBU0OoLQcJg0BEDNbLIhVYQRIDNdXEBqblvWMY1WC3JPY79M1qaAXajusYYqwrS1B2gSUAVeQ5KbZ2x9ynZ+rwdtb1rh70qztlut91izIZ9sZFbJBL2+LfID9d/DlEjD0W5h6trclwR7aTLC7glP6mbwbfi7YJ97d+5Uwwnt/ht5VTMxWG0A2Nuex38q7q5JcMHWsW8xPMTba9zWNrDHs9gnsox48UmOsD4GMr3wkPXScx5kWfBYyJQ1OFG2jFz006U44H4OzMkyGjlATvMOHJU9BpCeQJZWnpko77jcaPV41iNjwXDtd2UBZ+gkSnxiArynqT7b2OWUfbkES0ifaykt95RY3O9DdX5oUjSOd1MPkbQ1kSyFaV1IUis4JwlQQJeVg2lboHMnulpHjfOYnBQr28yLs2NZ8evk0+8SySEalfJBxEhh60Z55v8WNTeBWkQCNENqsWfXSaz9xPxmgxVp0kBi27EmBAK9ksKcaMVrEhnMXT60vLGE+MBKN3SJNrI7tP1kCRvv9uZdYBIUAGnAHh6c/nLW7FT0WyVsNXcTtUeXv2dIiA4PesTN1zaEXjIT8eCQGGtrMBwgl2A3c/rz3o+wnqniPN2OYZnu6B9Is1WEUX0Sn1xwPfvgwzuz4lzvjKB8kb9Ftt0xaHphFNlVNyzsShxELmsT4AaynEt+fujNrS4mLZNVltDfR7ErRpMbSzzE356D9wK2yGdd3m3hjvX+51YLieQd/oVYsXkpf1YdMgv9jD0sJ5arGFoGw9TkAr7r5JvNmgX/YVvnF+TwhAFLJGVfyET1ewHqYEdpSSBnnkqn0MSUujhesP0EZxOgQIvv1CWMU7MzGOiuPY66c/vjp8Od876rmkn+huqGFMKbJzPQa99AqgpFvwRE07hbTS2UhxZnAl5vF3NM4simcf8vFkYVWhv8fryYUP1pbvXv940u+E1KtjOsXS3cWOkPAu1/QK96xTwRaRZJvo/JsQCIWsetbXjpe5t+5mvaFVeAH2uyOqZ7DHK+8ZLM+4MikU+hi34fy4qSrxOpPoM8U27WqujZBhaqkFc21sKKxAdGNNnapoxzjV9HsDIMxGQJlfLjTOq29kytUagHsFEEzBXa47y55BjFwqKAND+tKl1FdgA+txOSLCI2rlmy0fsKrVrLIEdm6J9qYoAigVn4h4j2ptMH9wmT9BFFbleUseZPgX+YF9enqF41JyvDid/osYygjaYsOk1wbJfrFrA3FAF219SxVhxUBiQnQPk1JEdwLWfm9EONeXzZMgySkKZoEnAZsiVJSsUTFV7RhN7DmFWsawZpL23TCk+/4QuYSbwBZCtcH5ZxUuYy56kzkUo40WoRwU/vDYeUfM4P+kM0xjYCpVfD1XTZ5IPTXoE08Bp8IJUsEtBYuaCrl615jjpr92t+AN1EE8n7RHL8GSfjvycKTRpk7e8/7eoYfMdcGyNSkaMqHLhtlbpAQMeEJD4l7vc2S6jWP0K0/vhBWbZ3tAPrNIkO3tWeIn/hEXTfsL8TaOEoOzQkjmnwMy5U+egsY+hyoqT0i/NfNNZgXHbHu8xMfmHRwCAlX+x/2pAGY6AUnTaRDosEm0mwR/cupOXiui7ux/5h0kEpwYDjjbm6q2QgD8GLhy1mob8JNfQFy2P6lQLHO/FMZM7DYWB8xI9cqg4eETok/P6aHKt4gFWTFzUTlCDHWSXZRTSM8SJaaVgkrPgTgD3B/F2sKGqfAIw1ADvydQ8B9zcLihHy/BgrDM+fKTBpoRlKRofPZ5QhQonxgNNX/4ZkAMol9Ishpz93/0MGjp/AcUmsjEPW63LUJnn6MxQz4yKcixUwModidjpqNqC6HksqWsrfbBz+KpkMFdSAcx8LBdCgVN7t49PqZPZLgoHiz+xWmSNtEFbOUaaw8g9dPdMfa9E/9VS15jei0jox+aqjpk2bIAc3iQTY+l3xu4Q3Oqr4hWKSLHpZ/tnNY4UOvrNJuTD85YxTBy41tNY8VuL1iTvUH12Yp0okj1Fbpk5XKSM1K2WFWoD72R8pRtQyYhDLdcbvX/iiHNyrEQaeD/y6KzagSV4DbEEhbe3mP0AEx8rqH0pz9gxbJ/qmz2eK9Je7H3wR+ZRNUxATGMgCvYWXPZRD8UsY4D9xjA0y2LIPBpH4vdgM6cJe5kaz965dKwYH0+8x6PfyaYnS9bnEvf3TlHja3D6oYrXwyA7DWaG54qyaOpy9zFOrG3OqoHeRC/aTUMF09C38AhRlX/XSfNAFO5djPQhPfEfsxR0+6Eu5F/d6Y1iN5CJZ1AsYmuL6B6RbbHPH0NNiT4ISMgC2QJfqNyLFtY9sjJ72zJm2mLssPJM8j9J32OSfwHxcfL8mRvv/ocDSiOZ/m8EAJMbWO9ZhRRobudxkTsSQJJqwDvmLBYBWQfmFRn0VPd27fvZtdkSiS1RimKY48pN7ivasNIHb24W4Ui2R/Ln2pi8Ph40ah9FdS54UGx8rGvWFYV45SuE4sxGJVS/ZTmHLASxZBG39XxLpV6xHSJ4ItMZeYVNcip2u8e+VEiUNuORr4kuyXPsbyIht7p3dKNzJ7JS16ed23dKzgcGbpl8fxGeoJeTKd5aLQy+d7rEzZ62cb6Yr4Qz5rmy+Tzxzy24W0pwQAmiDvPHGCBF7RqHv099rmrCnwzsLPEBsmMIcNeJlkCADUkuHBr+SlAfXMOP6BhvzaZC7Vc72Al4z10ezjufqRhM8JKgWlFKueUtMj6EUkjJejUzj1qAqIeRRnZMCeZLfyJYFCBkn+M2n9mVsJL0DW1iDs77XVdN9tCBwKnQ3+2Yehq2kt8L7susDZSuEGfrLIqbevLxwlBph4AJ53j8w3FiWYuJAR4ybyq9a73M+rpI2ma0zBK8dOTl1Gta9zuEHbVJhsGYJ/M3FLI6KMEByq4e33Hlt2MKT6LjPviTXx/ox+9XuHk0aVaIOIEEwN2YbpYASODijQzhp9hUWFuWAdOTgCEC8c5OtdX8Fl/T7X0jruDCzhEJcWh073rviXaN5seAqlth1yJ68b0BF/D4lUWpticmJTXElEbeiT1vA4EnqLeQBFDIp1XJQ+bg2yj30dKbAeMz/gAbPw+JPklzOpxAZc7T1txeGORgtJpVknMOdlNuPbpWFav1qwHC0+irS2e8Icu/Vjrv4Ezo74l/VmvCol/Bin/OKDq431AbOgDCG5IQImFjSDNfhX7wThyyEWZ+BKSPGTIl6QzxwGVTUUUK0+qZvfF3p3A7NFT4wpFu2GU6TUUT32CBb/sgnCLkwbk+vr8/Zm4au+FYRonj2tRU7U1l+eLljFA3XFeA8GgWT5sGBPtP7qtrk3h3lAXEkLJZYIyJRzFpdA+i40GJ7NqtOH47p78sP4g5q9VzvGTdlVSDkkRLaSPRRn/FMPVDuHTQxs9/c9LjsJ5IoQkqMSM5l/Iu7H321s2eXMdpEilfP6P1JFGdDfLZCTh6TOWXTpuSyMefo0RQk+aU39Ww1+QzSkq/hA8xG/774KwEqMfqkvWMuK2H6tIRYwEvYn0wS9G9cJBvp4SXekvk5rYgzbvefyM9w1LBwRHsjnswANZWvqMN6D8KscZhcJKzyITl1imb82Ez2Nu/82tCXtA5n1BYbBM8TtnTlCxASs/4V8QQze5RjHb5gLjjwIEyM/FOreWs2C6XfstCzlITRO/7iqKR62ZtcfSCXo079rfUeRzmRwvkb3glS9AtmFY7uuTZFg7Kc0x7NDlJGVt9GC6ar3tpWwZ/CAnuQpDOUGy9P5kGqGtzJTyQMENUm8549JfmDOiShj0d9N0mlVAUBeAL7kp9L9MkMAxW71IGID8rx3GpjtBp/ANW2Q2qwJA9GPKZY+RSImzIz0qQjt4gceuDTuzTn7ba4OUAEnjMoMtjk7qyFzt+P5euVr0g8DKloacdD5zlxsWwyvzcaVp0W0UY0w8m5Qq45Uh9SkPm/LlsOOEBZvH2jiU70/bLb6PAcZ5g7ZfAIOEgRqmIYI1YTFzhYejrAIpSngtFBsYOxV9X8Z/a2lyRsusK2ta3Txr8na9OLawket+SdqWZeWACc7aycg3S83nyA8HJksumqwzPXPhvHt1q1xw5eAyajEPAd6SeRX8poe2nDFohXwDTHLB5Q6DTZCSHROIfVlptj1e8BTHjxpxa70bPI6TdsTGtK8rP6xEeXeXlHt70I7phir/kttdsanmIhLVVB4tKzy657w/ZNZ56LNSqVRZ4tio2Wf7Zn3sLuaUa1/q6kbGPY5GLcchL02AgK9ZoJoCEcEERc7r/Qa/ThS866w2CySRMWFUOAwDpPapGYJNKwW/DqNfBdtdslR6FnnkywHxO5rRO+iwFkv+e/wRfpWZFC8NgGmS5M9qwZd6Fv1iFAohLzk17YW6Qtg6/XBnCQvy0gyOvp0ke7JDRb+CRLCDko97jr5ELT6n6yv7UGIKzFdZBaUvICen6jEi2RhbHHR8Am+iDvrwp4u5i0VppA0Y2bESmCSHaXmLIV05eCQZ+/35eXsq8r9B5GarvNjswgt9J/EQ76/IRK02i3EX/GHFDor7rlGnwpxwQvNqKa7jbVseQidEUJT1yn+yfuGzNzea6q7izSyBU6schuAX+lZYUQbQ2fK2/VuA8PeDPg7F+Q+0XyktuwJpyPRdX5TgKcqTAvmki+NKCrFmhotywPM62n6XqbRzx58YllFHsYONA28/lzJVaIS3v4CqT/uds8QnDVkKp3b4oJCsAL2qvgEqXFdmQeUGWO/fwbNqtS6kQKLcxWi4w2iqiCCRiktst5IumX8ZbsARKiUL8WufmYg79py9ZH8cyCcZ2pRPn6hKkUWFipwcO+6+NGlBQj8UdU8x6Irmb7D05nGmH6pJrI0JhJ5mQDzsGgtBnoPlQ6062bePuddf+G0iiERj16zSjrKZazmsOuO4FjJkcsKvUKIpm+oKn9q8EBh68OVBxOPSIX19NdAjMtQgrxIW1yBR3y0GYhw2e7Efn7Hvl3n9t7ttbPyHlZuvVnxcNzmLuJxfRO96UjnF0uampipftP4jrCBAyB/WtZhv60FJgAtPbgIQCeVJgO3KLtdTStN6IrJ4oZqX5kT2vTvUCk+Lqrz0ddUF49Wi6H8XmMttBbhAbz04lKhUW49y04I8uHmWNR813WpFvcllafktdSnN35XmeM6uaSh8nGQQMT5xUkmYf21tYV1I9frpCIK79wtZqofRJg8wXlhzhxfjIkz1Oobkjjcxgvnced14fPuZhNgYYxhdjgnxWNZYYSqCJdTqI4lTboOU+5yP9k5Ou3DlnqsDCvBLEYyblN75KNybCS59pO8RUIS2nYLz1pCCbAbXxwBam644vDgpjv4wOjkidGmQeihGvUWSQlN9OMVk5GeuHHZ7HxoYXeTZ3MzeBwWk5n5n5J01vTs1Mxcst5hfspzIi6shKMchylqFR0P20w153Ryj1vlhg7+9jmrwCj7nrKB8Knblza9bZEH8yPlXpqQSj53dQuwZ8uVSlE/d0tqjSqSOtUTtgOdfZ9XYNe7jaWZtjBqJ0AK0+9ybeA3FNxJE3G2PylAUHQFGI71ggrdyGhkz/neo9mK9jtB3QedgI+qeTKNR8bgPXRilZ997c7SPZlonC2UC949J4epAZWfYkfHRejyuNF+3iO58zkvxhq479GVbl9+adaQHU3x/UrTvW4v9OeVFnZh2mhelznGTcnE4hge5R08Z/H+Nvv78X/fMi8kgvKZg1IlZrzbS9aQiuSZo/fxcnESL7KaVKsNWB+//yOL5sxjEkaNG7NxIROxLikEnEd16HbYFI7EwtbELxiaxqaOSYIzYbB5CODARF8zIzxfxisvK1Hhi+olanXbGEbQUiJdj2UK0C+g+dfPq0ToIaervPiP6JJXdYZnQtgZeerbomDvzvjK+Q+Pl9Aq5djcn4OevyGXy/mjb6kgLx9WKRF1ayB2hfcYj0aUYjvA0kd/4K6CKW2kWRkKzVGu/ELpBW3eIs5cdOXyJaG6Fp+16nfpSWBYKHr/IVYaasrQa6iGI4TFn0HeUXwg4jfOSAMQIqrBB3bYd5fXgQEFPQJRF/16o2K3QJ5lpuaXkJPlTTHy1S0WuGre3plYo6/a9tVXs5JeUD/9TuDYPipySNCFfiQGCoPf9yedicUVhakN1aZyD4BBKkHtEFUPHTxsCELGzwKJ2mbhJ9e+F/reCeziODzlV387foH7wgy4rl7QwLjH7tAP8FamLlC+cn6msNc9p4WZw8jCE2TsGX08UR0M5ae61wHAasB9MPB319heyO4mdqD1mi1v+Bn9DpR7MDZZk/I1TKH1UzFe45bB3yzlLyHI2Jo2q8v5bf4ohtoeB4SqUDgdiDD+U7Si4lSv8mauOBsJLF/CU+ewrWh/foCufcnkzUvADUlDtnKsFq5+pc39KBL9Lihpqyzgv315IbU1GHHc4hCHvVH1hhZmfzN9oV0RATXeSR1bCu20400Rukoly2qj4WhU16l930uYjcyN/i0vyvjqAIGKs96haSxoFxNLMt/Qtrxd8aM8kWQoNWpoVykvZtqu1fmQkddCstY4pZHhw6RjmdNrUYVsN0UuBU9mKiOu1RwY2QUOXsIwxa+Yb2wRbPZRS5J0cBB+T1GoPR1Kll2ipezm+ucy/WdfxaJzsjM2OoO0aHD2bx3OkncDakcj6UB9BRi/v8SnO8ShXl04y81b3kPjWLZ81/aNkJfbrKWGpHrKEAXb5CjlgpJSgEHn0f++rr5uyPxDHK/ZpSP1BUTKKlaZyPU+meSxKKEtqImEYbcQdAfxkf1r4Gpwl0dfv2+wzqanXCBJA/NiheSZmUepqRL3tK04KdrUVYHPnY6qTnK78OXiyz3IBbnzb1f+NqIeq6jmPNufw4w40PC/kkqS3VD1OlrczcyhaH5Io3FYHXNK0t6ZLI+SZUdDV3YpgkwZcggaB31m6ZjIXVIIcsz5VpFJ8vnm1pNBQqUiRK82YxTodIIet8vnSJX0yC2qKYiiFXzn8MCHiqRXjTslF1+vDg0Qof89jzmpt8850WArpWTmEIysO356rvF64LSA18dgrDZDUxjhUtiWO3+7dbnfQytN6/Y8B+ZrGSjOTEOuI/l0Vdl+IB/NbcqtQs2F/WdOUVuS+psMg4inbZtPIqebfV9tg3zpF1IhnAGc8YST2vVwB0re8EbaOyFNwZKQGIT2i9bQd9d6WRRJJXiyR/QCD03UCtNnqk4/A0+lZuDFZJq5I5TR94G4/WCEmfECel3bC/p84gE2IhTb12hfZwO6Mv11azX3J7OcUcoiQMe+JmopoIBGJMvsQRNWFh1PmCB4Ml7QTRjRShaCyRvZdv2N5ecnne95jCgSz2Ma8IcwxjDy3+CfrReLkqEYS+s/PLJCaJBRqQM9F4r+1GzgYfiK6PSMhmNmKEuCCnMOG/uCvpxvy3U5/oW3QQJ50x1URd+ifCx3Bun9yEyC4J8p1riTdfxyo7/bg8MRI1YTbyh6l+AdXzspbfZgdc1N/7o0/gl25S+7dYhacuVjlREZuCAfQSvdsXNjHCDC27c/A73+ISDsrsURPFn3acsletAmHx/u+Y8qxbZgw7MtT+GTcg5U/LCiozO2qkF90iVkC0W7Qidz7mjj8OYnFAMKtVCDJAfAoyiDSycfFDONb2gZ7YPLnoLX6qEzKMtmqhnUefrXPnHuRfNZM4EDERuYrogNPN30Qh1LgvZx0XRwaBBj3emDLR3q+pY7K2sBmlJWwp9WWUvDUTwrdxeBfu1+Zh3uXs4xn5am25fgGvsw5Fm6emTzyY/Ic3n0JFMvnkrWAmmg0WlfJ8o6dlbc+9zG4s4YcKTW5KOY9YwwhpCdL+Q78lO8l/yfFvkrTJ7UtBxQYYfkcZv7V30h8xTQYbdgSObNivgWpRK5uaEpxrQwhxjv9IF7Ffa0hde/OP+H2W4qzN2iMTsbiZiJZ6MklpUg5agOArE3TqxT8yShW4JSmokWWG+L18xjA8lscucyl6WhiL7GlpbmYV46KKyJj67AMDh0ot4f4GUuZtxsFMUWnhJX/8UEb46zjKse0I7hNIEui2mD66r2CBeIX0vJrBZqlIuo5jQCi0EAH7LzwJb/AjXE+NmzzCCJWzp5bxkh8mNVr1ElLkYJSWuNPeB+sfBrvQscfUX51r+N4FscBgnLJugcahwqTYSNXai9/J0UzHxJPR/7Hdx3Mj0idB1WhEo3WXbO8PJXA7DrLYP1RKuRLmOyipwIScgonYpO76VdJlvQ2TFh+hWTnjKCIGRtrtNU37RExTL/fjlvfyuAnu551wQbwJwG9QSn5pScPZpLOTPFYFqySybO3zXEPFWQ3jYy+CYcE9dB1OIdWQqIagJrSe1hGiPStk7NmZSiQraMu/6B5eyR9oGPPOrZAprtINil0PJOavmBEg4ApSjK1HmpDEWvdboGOTfTiOXR7F3uYBjsJbXcWCRteJQ8mAH2LbS8cKn0Kju9CWLDoj8sjj7cjUO5pNy1VxPNCqgAPH23frtuIIIAVxU2TuS8weSTsI1X3t1zXLKoNzkrYVZPtHnxLjH9PgDE+Gr85zBPmikeCE51PFLQRe+pELFiatCYZXDn17mHGXlhby9RAz5YE9aCxTw5UEID1DG7CoOFF+yblPxHepumF3cw1Z7tLD7e4sv1/nrQ2ilHVgroAnZq41vwu5CgI9W0BnaT1TwfrQJ5PUePudwXAcQlhfHIAbYSjnC4hTL/WErevvGn0+ZT7nr8DjypisPi6c14VIw6CGu6m9KJ3vJvhV8r2dYADtEv+KU23ON+vPWKrWWCx1SCPwzrVTTg+kLoP/tmfOIq5qU0L8LR45r5mZRqA5hS54uJivFOg3LD7NBdbmyAp4jnh7OPVBG3+XagD5Nf35A/C0NP5Zgx0Ao94kHYq2U1IcUZMhheNn3VCQCBlSS25VJqI1UKvqFsepj/iioVyMk4s5OV+p8cmUfpxmi+jD97tgIDWp7GbhGz+9YVLbXY/LKj7NGU2TPdawx/TCL2/7IGW/vwEyMPPH84RvSbJD19TNk/L9Ypz2FTNuCZtW5TFC6Bsu02fVrVwhoaiZqisW2HmVvGNm8VtRXLfkqJbXwxzJCeUPbP4qghsb9AQksMvef1dMrW1HOa+AMD60+wawc1NLcAn1rPRwFXD76+8kz5035XmisvWTDT0gYUZ5Y5ZpQHjj8MEvkJQ2SKm+/guOfyuczfJS6oLJYqE8r5oacRbEKgwB1tvCAAFAeefSEq0Mn5qJmANN95xH3hhzwEHVNVSfKFpY37HVodYgM98lJM5goutRuDGzaGxuOkVHYSQ8FwixWjH3DpmJt+VzzmyOn7Rx8PxmLKhu/9lwz3pGtYdDNYrquV5kQ93Cwb2eBoumPjug74+1GOpXVRrbobIgncBYMGzARIu6b7drAPYR4BM9tsYCQ9idhs8EuwQm0qBgf4Gol7HxzpBqD9h4VvYJ0XZMXIIWNBR3xF/az5wxdzISPlV/zHZG7oJA3hoRB48uW69UTb83mao5A827tcDK0zLwcl8FfrFq6tYC93P2295jHPiPZGU64hOxbPO2bZv9w2RYVDrgfZIWgctTtpRrOPczDTNfBuZxnJwcADrtLttlKNChZrwG6it1IySdvc8n4nEb1MsXjFRnZJXUbQLwV48AS480U5+Mbo+9ITLEqi7nCqjnG9nIS8dXge/KEExRiT1QcJMajqg2pVisYVxiqvm88Ax5Akbg/4QYGVoqWdXHn40TT1Nf8ww+5R0lc+ywmH80OtiBd4oOWf1DzlQKcTdWoU3qM1+aJjUHCFhn6pyzK6ickq9AhQN+Iswa3gHtuPnaCs4KSazd87M3TaAg0eczzrFAGKYWxopQJvfyjdllYSZK4yxaCA3XoRIZvpGBUCLuJZ9WW1pzdJpBoO71ywn085ZigA5DDLMG1Hu5IfnFpA9xv+/RGAMyhfMN6VP2LpwqX4WthsfOTfiZnEMeE4BrnZBFXWdGoyUwgSH8gtUILDG+uY9GyucwflHmsnZTHPIqt70HwiXOlSIfHOqNJE4TNOwAtfon1viofnp+MjS/v8gg7SzU3bodd3izs4QQZRnUakEQ0ny+ozfdTg8N2dewRCX/U4/Jn0RHZ9SS1mWdnzjYxiTGj9OdxhD64DscRY+o4/cZ7wEhja43qdnwE4MQaPxEkvrAd5woBjlqO+LimX1IS+foi+BX3Qc9q8mnNJ3OYWvsJ1jV8h6jKGh6tkwp5mfcWTaPNtvitzgSCejssOU1VEztRjdWChjJX7TS0YrWRHMaJl9svzs9fqdmpfIU4G1jJn4MpCSdkEIy7TQrM1Qvx9HW4o7cIfSollbdCvMDdFwE+zJ2/3NUdyvDqTnsxEyo8wryfvoUxsUs4BGfdyDvW8soOvu8vuK6o3Di4cFRtMmHjiyr91Lj9xkrOU724v+RM7Cxkd9XTYW/oBWt7fvZXxu2Wb466VZmu/SeqTbSfLv26T+ytnhYnUPovmiKPSjhl7Mr3Q9/DgJHXVQMagikTWqlAYaxPoQtM/BYiWPmOEU92MsIkdlLQ+evr3Tufv2XAxtCBxb2XlscC8ResU80mXtrLV24uG1iFQBnNkSunYgOKmyn4rjiumGJJZhNM9wzseEMxNnmJJg76+FckHazZ52sEwHs9L1ZgvmYERMLFBOxtURQ4HxsWeekBt8+PS8gRhZ6iKzxBzpArDQ3R1XUCjPywXkPiKEdgZX4I03r4m5MzYfD4P74RHOXyQzpXX3URw2XbYvlU66UPboG1CM0plpRuKFbrRPs/SeBj57iRppJ/4U2SMXfYv9fq22bj+U+WOwiPp2iAQ7NrysiiaYsuTMVVOtcMEXO6jt7kcIj3er+H7V24+uILlFtSGuFthVXFzaJkCSUbfB/hEkuwBNjAGoRDcc9t7/kJK1J5SMNqWVqsowmMB1GE/g6mCtoFmTXxKHgo1Lftph3Ri5FHFvTYOLbCYGFLf6drw7R/3bLnES8UzykkzFrVrYEErSSFrNd4Vk5Ci1VzusD7aSfJyDQQBgEZFyX20isr0yClB8Oxg2qaAtjq9FSFm8WnVZBD2yuJ8q/ktcHJy31liupK6RH4nTPvRyJBJVfY57LFy1Iz65QVG5qimr5RzlDt9YPIEl39mm9D4S945DYSa5qFKiiRPeSQe1KVcclPCCbhdmw7sottuv9TJjJUYiitLj7bl5MLGdToeDxSS+wuKHmttse9Rx/WBih9ib1yhOY9cuZnYGQcoBa2tFklDtuWuvLOaPqgY+17C2xpjdHsrtJx6JKqijvsiJBvex4LPLuOZy/TXbZM5rNtPeVv1BHoxd9kfAJbjz/UVYyNrOuI848tvijdXjNSL95B3LdP/CrMFXUfHF6AoXsLZFL/ITG938pU5ktI+S40SPdXcwsZh6w2hmujMxKzpKHeZbI8iH/OKwDs/KGNVAZkrLl9dDn4lgfV6tp5V4YGK3dg5MLTRPQI4EbU83JXajxx32wyWSEnY8q+8px4bxi90Ril+gjDaQalXzYTDjVrggwGJrQ+CCqpKxfHYMDZnolpT0E8k5TwUVzIJ51++lrS96a6zhT/v7HSrSMuNey8rpLo+LLrONQRyAUtBoPc/AlL/AS0Zzu8vvxU0jAkSpsZfNV2pZ7gPLEzhrM0B6TJWzARVPX1h4zq8ZbNbCmml0cTTpI7ny9fxL/AzQSeeX9P7Lw/0QPXGbM+UlUKwhEq+rOpoWcVYxtXVnwXqCkgZQMmBg/aix/QrSkWMDrsOpEM4ulFf5KpL1iyetvsK+nJ/mMpfwJR4pTLiqqJnidKcaP6hC0XV/Y+h/IHZMX72ml0ts/UkzC5ioMIcu8rmgY8IUwQopJEALgxmSMiYufDnxWbtCHTfEp4GvwSLzwaQzyNL7VeBmZoeVvE+OPqtYIEpw8qSKPv8k5FzKmcj2rH0+uRkJ6UwqHKNKTnGXVW40BpCjJTkcsRtnIGbkEDSC1oqkf8D8JS5AkFgDo1/1a0lOalZ/evsSiDDEj6u40m79Sli5VKKBajXMP+VggHNyrHhIcLO697BeY4Vc5rSWov5UdB6s093fg3brv2iKzBhXPy3thoGIU+pWDv8jtKnnL8394Qso9iB4mgOEC6tbhcjVN/AD49aj17PpwHBrQj786vQ8qWcqq6BS5bAwb+0Mt4uxVroyTZNRCQyKQ4HcBFOlolevT0ZpriKcCVMeaeGrlWTEuHKNADRcYEOBdx0R6jY3oGEwVtKLxwnTlvFKg4Ktn1R4jpDjbeHQ7v2P5CxnSfOxPm8dWZ+2Z7T8kF10a/3YVR8GqfQloNcRZFSf2nzXsVD1kmL4G208TGPQJnIToeFuDg+m8scLchwNHWqQdw4RCPx3wrVYIwxeyul8k9UpeI2h/3qo29rWO4/bXXbXNjS8wcJi/5NvGS1i/svMu1w2gRiRUMdXr45ejG5twWczhn2osoBkhTTwcPhWsLH0SpVkryBX4wfpq8BI9jm8ouhsJsEDwuMW+0vQx2+bosTmK6YcOgqXXurg30LaiUzNAj3G08alHWimPJ/+5jWhqbmSz+HSc9lXKMZYdxISDzXuzIDN3oVGNYfy1viEM9QW3CK1ti7xqyrBXO98PcrFHpcq8s91NCJWiXPS0b9gjTSOE6Vm9LqeJGkimKt4+nc6ElaOQHJ1sxHCOidBZcKqEW6+vJreRwrK9ApQpGPGOmVf+SZ4Ar7TR4VUCU1ZlTBdO4eyEpqGPcMBh9aMEIRQf9kA47eijwh5TWSAFJo42ZYn595/L7n30Y3MOeSFXvQHkqTTAqNvNvJOKnyQBSdnHzrevgN5+kpNfOjKfdQp0RaBAbLRURwFmFyGj9iecEHfXdda0T4ri/TTH/o/pX9fvRVuKOS91d7tY2587vtG/URX2zibBlAVq177AFmVMi3qx7hl2dqMC1A6ngg/dJwXJN81115lnNH/K9pFSFdjnQv9REjnyOgsPJbUnn0fH2h5pXDLMatQbHA+N6EjWSIm7rICzhyLYenpS64uGXpQ8FdHRBTr6CSC5y7RWCiVSO4oLfehvxeHPTr0RS8zIv7hbYiDLAK0K2K7ob7n8D03MVwNEGYz3LlSViy1me9whJgJCxYiefn5eE8tIFHJ9fIRs7uTLoOM54k68RwovwgDAUpB3GlpT+4IXNq96v0BoMOzoUQceoWPlRHvweaSvlvs04aXHTPgDnzwFmUu+Zq/Kl+j8Yv3XSplPQD1f1II6bNVCYGLIn/KJYA3sWOnyzsf5XxA+sacnGu0c4CzhsXnH7jFsKN3oRXqa8AuJ2A5xKSUsZh0Hfl7t1ZNEWTbRIlptM9TGtXGZh87icSiYE0QCLoVV01mXLtaGcfigwJChFrnxp9MsNy3BxixCG3QQ8rbQ4zfGG+04nracXaiQoei0iwY0OQ0GnQ8jq+s1ygU8FmbWco1HB4NmgRWqJfuxqHm+js4QrFdRuTaTOFtkdbXHIfmm0s6/SguuX+YCK1HMf/qoLS9OLI8nPPjLd+klt3syk3M8dIs1M5RI6FDFUz02IoouDPCmkWC8lDGvM1IXeVPbI3t95Tzy38mwt7/XI0ytkME5xqzFR57nR4oC1HoQUg+HdSvlrhJOnTEqLbttq/vf1bInYaNrPmUpqj/iCFMIv44JIxA7UUC1p958SHyb0T6NN6SX3eOzvivO0iyLQpOxaLXcaYQkghkpmJSs7tRgqH06kjekTLM4edscpkpVUjW/SZwNCGkxj8Klz2j+u6ep+Xqk/O7bBkn4gHOy81VfAsyRD3bUefTIpLx+/kqMPy0pfoN6EFPnvbMDTQ6fjmu1b4rd498VVSpV9Wq+T2Mce6fBDK7jS2/NvHgqFdAhBinoUpkSTlV0EIeCY35mRSVj0j6lvDBQ/N1Ho2/8h6EFBiyJpuCmA4Yw+gNKIYaxobb2O6OXeAi6bbcG9d9OlmMdoBlVtmnte4qiEnUU3niTkkejHqfG/3lLQekHtaX606znV9ZqhGty1z7AjJXWmIhxnG9UUjNodqkheZ7+C3iA++kBdzhDa54OsK/OUnPZ7NWyerKEag80UMb0JOqD4kZm8yogY0LDcje/n4bo5n0mZ683Az8/9QoMLvefLYhbReAlWU8b3mS0kUwPY8XUy3bW6/6JO6OJq7xbhvoZIX0HtlUjMhgMdRX+lsekdWN3hA5BzGJ3j0J6zOYMbIAcE2P0iY3JqTCacfXeC8urNlou8pG53fdX5HLXA5mS/lWhjOCPID7qqv7cpgu8vTscUn1mjyGryETG+B0JjvtEzxXbEzynkOeN1T+eA86/q2ulEzf5j0HVTD1yXt9hggSF6xeHc+Ny9AFMdRzrtmra/9iaJmxxjYr6aIOHMXMb1fMr6WXXPEHB6fRUTszMvLmlpgsE5c1hMiy2QF3m09+VT5fOMa5QQ1mTdD+mKw+QXV1SN9+gs700/4L6rhu3pCmf5BQ/vw+efBPq6eqd9kXkTITSSQWG6gk4cdlcmUtS1WQUk4zsQv+s5j9lFHC2xe/cKipZl9WW6svZPZ4w12SJaTcZ9hAD4eIsGLecnr9wRL1jVeDbaXTQFDBnEt5PUQZ0SdxcLolIGkSn6GAFy7uOBny4X+P6eIjLMoLmImpYP7OcfvGOsTswSZXf8/WYBvVuso0+e0LIeqYIyKwXn+/alXx/s8v36hd5qgMtiHNMTcanKsQkiTZDDDKj8mNvScZVejAahNu4w2WI4z5wLixon15Wjm9BLSktGtSGKkg3l363mfGutoPoaH5epr8LYcO0fmGeLkFqefHgm7Ca2Mar+MpLUkgIoRyr++gbFTiHNJUavFvDzu9ZAFjmK4wzbYqSvJCdzm88JeImkw3d+yk0S+GWXP/sFACWW2jtOMsaFgcLQJnCDrLjCTvkfQIfHj8XHfScVOed5/M6fK5Xnew3L0G15ZKDW9uR0qRlrc4QsXsY5/J6ThavOo3AZukBpYYJu61/FwtA53ppEP3ep8IAX/vj82W/tM6h7u+bklADCTDJVkPxSUzixc39B/lvE7Sbb55shnpCT9q6SZTMLn2siq5kQdJ+yfD9Q7Rslm60ZWYZ74aLbdcy/DqwYcQAnmpCk6GxcCWKhRv44S9BO5ZFE+DMJ+t69yPTn7tskkEXftRFSC6JHWKNQDzRPM8a+l7tTt5BubaGsVX0FfrHcIWrQSU/BF/rw7vkKHXKzhc5pNQKMgytbIs48eacnxck7RzMCPhmqSnel0gE2coY/G1s0cy2F17r92Hj7UBqEJ0M8rb+Ayn9Ma/mWgB/EtLPeObsxUVVRyAqQwmSEVZz7CB/K/3Jvji+5kFS1WBzPJWonrJfL/6qnGRuyjOgF6H1wHopmIB4ah+4HawByRZlwlNZYWs7mMSnZbNxzbiiiK7Yu1NaszyyDw0PWoY8yyfSShZyjrV5M7Yt7FJ6SRIy3SAOawfz3Unnd4nr0e27pqSdzrlzLJ2pBvK5VrCGRUiHBrRr6TqaWMHVogUaF11iZEgyjulZsnQ+Iq5pryHWazrMDI4UWi5MpBBTdnJLNkQuleAhTcMFBXtsVAt7BRHrZ6/stfu1lyp7b9RZxWBhiz4PMGs1/9Dt7l2jBZFcUQmC9Oaq6NJptT062/SywvxjROIHGLqFUl1EOhtlNvbcKkwqzZWWRnW3iq63Cd6PDHAwqzsFxYdHP49t9zwFu9HElyX6WTELWc7Ha9tfKUMcTuvorGF1JucbWM4h0we70lFLYmaVagWuBe1e96CJkkypCqisgS7fmCNp9sVmC1svNucTRRg5SOvQPd2Bqw/DL0gnyyRQMBU9bYxohFbQIlm00JV//OR3MALwHqLIvJpiY9UDPKJ2frEiDhEgBkDkFa7/rLBxVeqWnUdFYigZARnaeRia9j2jzRJOuuCcUPx2IWBKnpNEDThX3Ma3LlgODXUnO1vAcgfFwX4DnPoafyNydBbRXHpKyzNNJmnj/ffnQBIx96Gh2z4QaXIX5L/sdmkZjxkwiqZnYOXQLrb7odfwGGhrVQrksG/9VBMHEDiy5pxJqr4l4zLLGhizal0nNy4o7F5CxaCD8fAw/v1A5HRSVG2iiZss6O8iKx+AbmP+6E5QG5P6pjCxt02mUrvaUUWnR6T+kSbuTLRQ8fU/sZqE7HDcvMuArCgZAqc4OfhAzJ1KfHxthuRU0FuteHy8QUmJthTR2yKa472WfqDr5Z2L0XC4dgYjPYyarU0jW23XGTKERb9WrfJooREgDgXoBbfTGyVHxPcygM5DrC4x1sHlSsc8tey14c8CPGkEIPss1VsS8LXNEsHR78C+Qr7FexPj88z0My1ZXHo9XrMpZ4SsDjo+N77sfZAHfyse21jcDh1rnaxk22shIfazVfK+NCMD0cEPpsqA/RP1TLZH3kL/K5TBDSgaSl5NeHn6/XaN1dyH1dS/hw6PUoN3dtmy4sNNaX92M2a2sL/FXHkVTs633J43ux/sPZ2fN8Onupb3M+bhxuUGBwWzWjEPo3/rvyp3Zr2izSc6zdWGCTI4KP5u+E6WitKN9EjdlFMSSHXdh7L8A44+ESCC3Nk+I0dDgy6ZU5aAAO+onlb9VD6KmBpI6lYKG5oa7H3K3hablVnJkhrX30x7rLcnQXvGgjSfS1S3u0eEIZM+blbnj7UN2IeFTaVza73K4n5vGyiCV8jZIl8ezM0qW1u1IinRtwcID536VzZ0rhN1xUNLpfMUuIz3mvCkPRTkejlQZl87T70FZTSaDgdX77ROdQJ2kdATkddZrejkctDBxduNmCxf8jG4AtZQud+clr68v7OFhQfykDaYSKnJzIsiqBAmQnb22Fg+IV/1LXp6n+ZuF89rFrA1YzY8YuOI3LsiOYyDCK5kiati5xqalur+Xt3c+SB3vXUvyWeds+L5kqzAUZywj7hTRzCJ98VdBmkd3LAQGvQkQ9gX926i29X9XfyQFZuXYIPFZ9/9TrClnF/NZrpSz8qmPJFtCPpxqlfN6gH+SgppGxN+Cl4osbg3Y9K81t1EXA15nGjGGOKKQSpnlCW9H9b7IFAF+uXqHzt8FX74VHTJGRj7a2Hkt9Emi9TGLvE8rQJn+qirfkx9y4qvAXTAKRrgu65WJZ6hkfrWmeMVOoDdmyzQ5ODLV4KOp3cu1mJqJN9Ed6h+FmWaNE+OYIJ7K5y3cC6GTngH2OrpG/qltEHIX06E+hYbDBAHEiN6g/yjqTeSy/H6k+QdGwmVyTqCqYEbfc6zAXDrHL970Rz/JrwVmAoZku/XYOrsYVEy0Fw4BGE6cX0nyBtH9ROTJbSkl4lVZWb2Lk0iDQge9AfbpxG/Gp4AiFR/QaHvPe4P0sj7VgkA8bdqowxkaJdp9pDp4uAAe+qBghG4WMi9BVab9/sLRd4jkoRNpMG81Iee2ZL78Cnr3UVJLhjCqJHMbdjXX5s3Q4vmGN2S2M+S55ObplO//k2MvjJG4yKZWQroL5aZY29T7HDbg4+6BSNk4gVsItQKAyWNYAT2oGnGoBrd6yfWVJQTyYEt1zdHNB4/qall9XYj4oRF7pWPc9qP4iY5TDQMqlO3J2nFPmO2P7jEBIH5lxRaXb9l98hoy3St7l9a+RhDF6W+1Sq9IvDudTOL2lC/Lw9p8ThEYTJKWml5GTV9Lfb9zZLKig/N6A1/q8F6UqG6WCNbNyOhpcUBq4ZflsUld3IKut2kIx37u8yquIMA2Yea5DmZY2kJ6DYjHW1oJEDi1XZIqJ9XTX/bfbWPvWWjVSNZYhxI3yoBrvGpl9hmeFh0FuWALmtyZu+58tiKf+nxkT+5nY/CuHMdwsGvGfW5vi+yAvMZ0XUVzXxFWgd8tsb7tNHBoDU4ZunXMx6ZMb2UV167CUtcsUplnCYDBacSpPFeBM7jewFkgb4nx+rOiPWttE4wwFBlxS2XaEkknkVkDBXKf2Q+UDsggJxUybcMUpv5irYh8oFQeyY2ZeskE0f6+vK7F5rxwpfmTzMX8PgpbR5Qptj4/ldz1GdB5td/Q4VPW/HCd1N3yzcVjy7txa94RJrNPT54sRj2iCieBUIuCOQSMtGJcvhb+8F9rIchlUhdk+Y18vOWYxwT9C/9vY7wgjQ9E47ibZBp35laEAt0BmOkKZCsUtcHyWvfDGZadlm5VNOt9bMOFOM4GfcT6XGNRNUsA718gwkJGMksaKkNZsrV/k+N4aga4LPe1wO/nZEeCOS6CvfLgmreIHSAvH/SgstRraFafPRn9KDGXlv4D+IZxMxaHh0ceFm9XtMK55udH2ajdTKpWzn1911+i8UEq26b/yv+Rmusu2nFE1T8UD3ApiVezN+01pQDjaUYGzBjPMcQ0CjQMCs/uVlH9XBK1h3i1++pTyKrxUFWeuc2bjyNNhIwG506LEJCr1Pyf45HvfBR7oCglDm5+As2D9f2D1aQB5FYFBmV2/ADfbuwiBXqGIxnd9piSyWjOPvYHaOcvV3r9wYkCl8ia/vSqRoCP2ycMbNDYq04xIV4iM+odE/UJGJO76goXk6KQgWmv22Ok/OguRppM0RTLRhas6MR2ujwcveNR7tyJlASB8G+LDC6aszn185cwDAPaC4DSXlrkz7/mz+S8jHy/0Q0beeavAm7WWMiNM+qjdc001ln0cStcFnMxT4arsKyzVBiFtUczay0gJ5P39xppa8rwhyp/jx2tRhQf3tMRvHaFe0Ve+0jylNJbjGJQcvHepnMojoLFi0pOoAwLuz1e1+b935pb6a15etyWM90TirpCP+St7GMtlwF0Kt7Mh7WchgFwKnLB+kHrFgg3Df2tWcOJyIavqE/OZvm/AHX0cbQxw6uC2ge19AJpSIGRq8PhSju8vMxqVUaTC625mdF1ybzRyzWM82pEDg30Ey0IzeUP90u3jETw1mMXSMjUP4NDVhXdmhbOWkbId+nKQHBNflB4kwP1ukWiCV/hv7zRmFDuXCRTEPSHr/p2sA5jup+5+e1VkwAVGY87CCM5Cg6E/AGblHwIrcOkNV+8XfbBS7eXws/aRnSrHDopqaAvxBDrk1Mjj7fhCI6OAcaKEjnaJI6T0P1XRUriwBd8Ik4wovZJ8kje/i+Tr9i1ymL+xd61Ktj2oFDyKmQEY1y39lUjxodPUU4Ya7+jEanm1W8A4UIjGF1t05FS0BQi89JgZwq/4nZxCK2uM9QliBQjaeBTzX+hDmSCO4pQb6O8ZDjtGPgjfvmQzu5O43pNplA316F9JdvAJgFrbnz6DwaNQD5nJ8AQ9lklRNpWaTcgljBU2/tZFUbWQWkdCnBXunlyNfXiI0HoLs+uziazb1nogH0AgGb9kwrSryIWs5ONRKA2b9E62Z7UOEm9ibg46jGfkhWu+ilqrahJj78Kk2OHNU+emnhYlHWcZYyN+/H2+z56UXFif10/VVJqspNklFZJLKFqdbNZ0v3bc4sVeNHSxLz0JeHQ0mjH8f6o5AaztvH7Gl83tZUj8DRjZy8rIZZ+uM8Vg7zxT497zgOdttEgoEZxKB9OuMY/5mpgwmVWLXP7MB3cUGiX9vny8XZnH/8vHQv62bw3QbhYTj9MK/MDADNIiOZeK48X2pzrsxJ68+ApOGUj8slPYSGVy2z0Ay6aEvgWO+9uDGCLnQqUwcx8PyK6lic0WbUqFTb9m2Hs9W3lNNB/Hf08oDz+ZoVEpZGIuMiMgOBJWYOF5HwXv6PjQw0MtSN1YwTlKedQcbwFYwoRhWYmn/oINqR/NBOF/JU8t5lzWprNiR0DTr+u+1IhrjwjEiFIbxIKtY2JbxFJYfTQDedmhUCeBfhhZTMlblvGfMNLTWeKLXaiyLdHPwZ9NyyTsTww7ZVSYEVZZmR4qq65CGYV/8DId3bLZ3HzSt6J9tW6MGKhhnzoxTTK4vUz9mhda29NexviEf1KlaTZaHf08qMiDbKrL1BPv04QXnU2vMP5eWBnFSFbfuDz0UARq887KFlSnaZMCswU9JBB2o8zjLrjE1pY/P2smlNw0ep4mHqyeXx60Hxdejw1qA4zDHc56+SGWpQhea/3+Nq7Ew85gI1G9KwIU+vwJn8eMXAzm+GYZtJnc8Au04TXzLoVdnddTyu0qivD9q3dBSYwjM0tLftwzNDruq9iwEoUMOWOxH3M6snsHm6urpC2kLYoeiN7434wanZZcqp9b1PlDZ1FAQ+u/Awwc38Q2M//WC3PhnQLjVr5iCoHEGXKdHlT7ZvIuup9CkMlxh8nIkLvYscYzjqFVOtXtGvGaQINKClI17m5neDlgiEHjPZ5oleuHMIFsCC02dZgioUbuwB+ck9p+nUODiLk3XDWn3zL36y/XpHH/I1Ya4zgoV2+d+Tks19aogLtRSXLKDN+LapyyoWPeN51AGSU3kjmjytIKOey9z1XJS/9aOZlqJgAtkErAWXO7ucEVxU+mniM3yxL5B4sipAhHN0T5cZI2aRVNPatdlbvfpBWoyxzP8H++gcdIbOg5XGAri0quqmm5b19k/3b7Wvd/XF3hkctWXbWudo7gTXJtcuUPV8gc6Xsxp3F9BwmmoBM+PvSObw3oRIAhBsuIJLTBCLJ+Lem/QmBwglq5vZdRUuYJOKFiBilJa11ciFsrVjH/bJ345VMXG76Td3JiBCAYXdNgho1Izf3fiyiKifk5sTcBgl0+vqWp8bj+K+GNo0vaQMLAzPKIWxi6/1bSIZOKuI7yH2q4//2hUuP8DKnnu6Tpq5EZ1D+hyA7CSTLN7FqMiSDxvLTvkPFv+X2PFL5anU4YM7J0oaP+9I/lIuaO6ktaqzzyuA+XQQRbzBS+wLIu+8cxAhb6Lo7E9ayfC00mZ7B1eLfw7JYe1KEO3cR2zS3lHyZr+i4OmPX4uRDJRYM3t02FedFA7Quw6gHV0oTF5OoQRz+bFq0F3ZC6sMlE4Akjq5CzF8c747zoo4DjqmAKDvySCzfkOBQ9addCchA6R71d2wfkIwzzJgdMxYGB9dLz9vbiscEMHMUTsGY5sk+7/82rBGwArl6BmGzouLK6MesnxnkSSxrFBJ1p28Ob1Q5U38p7Wf1vIPd7hhTqwARr0FL1+XHznzudstX8Rf11wzQFZge4wSeORinTbTyhuUENYGD893XrN6SJeZZ1Bc8C8Ju8JvS8ez8yrR9fs3udGXWIvRdV+HGzWZgiQDUo1RQaU60xffD6hCu3pkdFvmZverrRaUaHHi7Jx6st3at3Lt0ecHQ6KNSwbDVSR0vow/QUB7LCoRbstTJA/yQxJnVqMZtOz7E20IKiyyIT7fE0BrBaaLGUg+2cmqPJ2lJtrty74sM/W4lqUu1rliZzmJfMGQuhfh8A/d0SEgaB0i8qkYcpAKtZqYGQkh2ItJig4f62NRAdUx9Ze+m6r7wkGl3fpPCrXCFnjZmZyDK88Ih8KfXyCBJ4S8wo2jUEnT4Luip8034a+8JlZkV7V+XL4zeO3btPtISxA6KQshrgFjJ9W5nJl0U7dKFpA7eC/5aAoFWkp/VFtOu+mZyrrMCPBVj0dGKFgqrYD4ii0TikUyYtl189kzBMsl3iSpy7ZeJqkUofFeB+VuS+N1p+Fy0jH5vsqm2CpAdvq2XSEukbZoKwN9YDUEcSVK5bW9Jcusy8X3Dc/3nSQsvjwFfSTTcjYS0X6vuCrypmw1BpWVxUymdAVxCkR6U+m1mOs41Q7PgKfY/Nr2EDT1BWlwmy7tYwZikNP6MlDbeWJ2IRp63wPdjFnt1pQHimfDKExlIiOReB8iixF9gZVj8u5KZUCx4JlqB4UCR8QuaiEQNonB3uTxz0J/3EmIN6QSvnwBB3vME+NPfePiUSAbNnM+CIDcDWBeuzWlpAukLxv7BDpqpscUxQarPyK8VX/jBOqUDTg4lKXGKV9n9TVJX70rC9q291JHYQPYkBpBEYauo5SJUAFmog+mKgRC6LsI/nnYFGWYsnOjVDrfPbl2RJEZkvAZJv8kUCRz77uMY1/qPml9qsXcEoCA3MnpLVK+C/o4d+bjOnKa/BsOJxza3NJQtSNIWsvsdBFuct/SoXtbK4FCD1K1QL9OOyJPLMsBhpNKmzPy3zf5SQ+wBBnxJ4KzlfNpAC96El+VD2NNzjHSMwlqNreB5azmgX+WiTjDA6TSrYUx6wCO3xzVLkcwSTsDPUa0JN2W/TkyPVeEQ7HyQIwjjlNkD6mgLNps19FFynVYR8/CLFTEBC3e/LjB251zlk/QM71i09kb1HeNrpdW8TrWVq+5R3gaAkdBABpJbR6VZztb5W5mK6LqsV74buUwum6ZSIHF0/JiY8adc7gv0pmxd+o5ebt+m5cI4Sd0aTSYZfRqn6NexNR51l1yzE3ETjQqZgtUw+JvcQ8UkSnODptCcoYC9wy9SLb7T9jsm1alxtCzoPfjNCWHKnCU3K4qAccJ0cxZR9H20HtjRglnTYl7BVGvlxoVxrw7J9uRecq78aKDdY1HLp5/CUsKwsiQDIhKEXPdFCxIe6YSf5cL70e4aXBlcAB4ocfuAlJJlUgaJUzGilLoweKgDnp0jc3XpX36Hl3EtPRGvfWUdyPug6zK+quDdYoRpHlRncQzBqE1hibY9ywFIwyylPoznJv8ogkCrICOmvqX61MSuJz+RrEKz+9vifwo+EkOgN9gIDfEwNOHNCbIsTNNTu/DYdyObCEaZflM00hZrPXBR6yro8JvodhYvYL6Mqc+5+63Q2a4N/blTp2l6LmqY6boDQycFWEnhcGeyuWhFOE/erKr2u30t3w/oGREC74Fs19/PCITOYOAsoZpAmsl5//e90lpGgdKTNjxmqJmuHWZUrafhgOKTOKB+HCbS3Ujkg6rYBvbtVBBrpkdOAQowrMxJ+JmDp0N9XlMGFpwYANOnuAQlNWCPNxCj8t2kfhBfpc1IeGTgFybCzX1Wy4cEn3Snngs0sQUGObFBiH6AAphdxmBy1MmG6rB/oUKBa3Xbf+9FG+R3SmoIajs39coOxMDMpiNhxCUqtvbEazHD7L7GwQc0wTxcRp7BNe5wI3QhBk2ykOSGUrAiNB6QE1Lf4/vuQugUZEWnGEjpgWybbIxpvfUZLy6OZlq/DtxVMFKDkq11CXYYYBtLvARHFV7x5gEmiJtTyama6IKVj50OYDwP2pe8/ryf1CDwTLRWGLTSLaTf36Rpwh7uzyvc+iE8ywVuH+MUbsQmNOYNub1gpzlAkrwSfgM1V6JRBePOowcmxAbrlYKaHfysJV/aaX4HxUOMmTPQjBUe+MMld+JisRTkEXVL7aK5jhMHjBvEpIlYUESpixy/gklWl9oWR1A0EsnaBP0hoC3i16zxUF6yc1Vo9IFSkbglgYo+IV/cW03LvWzOtNdoB8U154J9m/lXtIyQ29kW1hSTL7N/UUZcPuumWQ7WPKVGArOnu39lz6hvgI4WD2wQWBk84l2y+Xn+CmZp8Odt5mefffobA0oF//LyytykzP7V1i1P0D6frFU0ewPOQUa9T0mYhKZzq5nXkG5y75ugTVtFEp5LyiFx6cpnSVNPhas0V0NgTsyjaLCuTbC6a48KyTh8U2NYHf3qUn9edsyotsFSdFk4oojTSXNs8GL3max4CJXNVM62LRC1s+iU7q9t4bvn8xo0+D356Xtl8VSnw03LfA6SpQ11/03GRNjTJJh1sWharvo84XBi2HbZkOYWQcaGJPEQR9A4I/lMCSy0x9evwxS17dUIl3bvzpHyOKX//NSJPByw8wT07zmU+5RR/phXZUJhIe70ELrPC/mIospCl53KOswt+iAHG2jKabhemsvSVbT1q+w10r63qfurhPU9AwP41x5Lx0CSLsIW9/qijXS5KTEGbTWO7JJZCCIKkvP5nHtKgPpIvVnAs/Gqnuox9GIFM3vz05j1kTxVBsL+UT8rsUKTOJAEGunuAhwuRxWYJqSmg40BJtr3q8WHFcXSy6B61rr9qChPhHJMPd+4uxuSY5F8YPuYCwrGb0L8/bAceJII+CxrkpsW5YaaXzkHkEGgiTMToN7gaED/7tU9Fie5XPU4pXl55umX7BDBrx68Eg+M7iElRygcDH56RAssRAwoIR/SctTD2ZCJY9/2m+wNja4XIeS19efKt3M/flmGbMdtzhggQ57X8DbcDlJ20deIrvXTkxuO8Cu4I7VgGc0GE0HlSmoMZ4cStZGLwNfj4dxkWi3+QCahHT7egz/lbf1pGoeaAjntMNuwJiCN2k15yPiH6xNB3ffhc+Plo9X9k6Fb45M78lEUuC7xrpsZP9LNGaMWzjmYJdDn5UGCMkP3QLHZvXB+uglM3ovEfYFlCIgeCQHgT5dyd2kwjDZv9yJiagQhF23ddxWFwIkC+AK9zfJ4ZghH3ymzfCeEykzB+Oer9f+WYsQlAjhBQtL0uDgkpqad6a9CoVRX4WCkQcW06y4VZlpoEnu4gOb+ycCXbxN8wGDIp6A4CZR98v3T60/ajjSbtxet4FdTo3SNL4HUHKdHvM7ijxjFiMPpsAs59Wc2vBn/NgZkhwx0RJTuanxVcL35MTD4taUaxUq87oWVTVvtKhRN/JAi4JSKQ3PC9x1AYINEM8IFkx8ZkLGgKb2bOt9pILT3Pk528YksAXse5ET3yX+IEmjeWgRO/tgzXe8l+YiBoYFi6EGD6L/NcRMg1CgLmIiEPNcLPVl6b3EdURZZiRrHxfa/A3QGUg56YNJW/gZqaLiOdzC+CSzN5fPA6//kNzbsr7nL5BpHzrOXrJo8D7RKCwP6433wof+C6xUc6wHo/7utM9Tj9APzKMqQ86yW2WaLIeKuQto87hmeOoYZFuKFcxKnToHQ4kVbsaMcE5IAOl6lH1T0t810cQbIz0BjuPGMz/SaK5r/wxgARExt2oDVAtn8NtvHFUCsLIQNKC5JOuam+u7hucW2XCiacda6lobL9sk/jkxNqV6Mo5hopKSr0iJx+BuSnDoqkGeo43nAQs7Ag3Xh7QREU/5KNdHNZZZk7f9EgOOAvbu+HEFtwJCep0+fExt0nktrxleoonpRnSC9QeXcRhJaEj+4/ebSX+qLfvKYWsUbHF+LTTm1ezffFOeK/pBHo6OZsrJqZYEhyj0ZM3ROiO0l/D81kkbwrWEOifAEXiknB6y7uRtrgwkdZfaVr0czoEDrLZWZmd2Sd1kMkS1jknlNyackGjBnpPcd9qhq6gzFEjQhgbA5vHWvf6l/FCj94bDyUss4PCMOq2k1ndHAg5LtdXNKBR3bgEobzABHtA8Kt1+2yNmrJ1G8n96oAj4tSqUpMWhJ7pkSTtuFET1IYeqtBY4LLX1MgzpdDqj4dee1eqXtYJZ2U5JYfoYBOyVOum/hIeHwdceJmy5/+XT0ErvsJHkrS2PHp26cCUsT6w6IbQt3u6QL7xuhKrzvcqVGGI2n2gMz7efm6Qje/wJFsI1p+lpP57wE99X8SujDlN8I8PJaUNetaJxcxgUlubqu770ZqWYeE3VjwB3lDw8lLfPPBR/u9EdAwOiVAUZjHt1LYWcv/AbG+gW70zPc8yGSBzwPl79XKhD0lH0+7cPG6+yc6dmDKUdr7J2hgv2W/5ssQKjoN16MiRv+1a0gKwUAZBAoJZ2SAknLVlCqhkWePW+6sxdZfW9+hMlJ83hdNNLkHalj1W+y/13CpnAdeC82E+VmSOu2ruxLqH03gU0Y7s4Bh44knDcQMJFAOFiz8jOzEzDF3nzeXN/sLBCbSUVQIewuhHuh4e+C88YaIxWd29lUBg49Sm0YjYfn03YLPUiuJPc4tbeQzekeFhDPMU00nJ3EOBp3AqQdjI3hJu4/jxXoSXaUHzr6caB1ce2U2Dfmw0VHQgDtYX/bnBgTwOlnjJIoAoWqkSgnk1MDLQa1D6f+KAK5k5XZc4rBuxLCScm+ohrfxaAGEjqE9HWHVcFmn8P7tB06BTL8Fu315Uj81La5Ix53CVzXAODRGmuCN2oa7vma5LFbyFyYgbfVnFTurrG9MkwCMJPd4t06da70y3T5RxdmN1EZvf/ozHF2L2mj3YmD7G9F/4SXhr+F4KshIkfO1UASCe4LAnwjJrq1r3Drvi1NQelQsDGwCFkNQRndziCqkn/qraijLx/w6qoVUMxkcuZ0HXsLFxJpccvIUTEdoFQA2rWRX6tIRF1uSsKaDqyDzL2lc8kL1GpwBZqWulVMQb3L24d8E+2W27qtYkw7htRmlrPenykhMFsSBLkjrCgpxJw9Oi3gUjrMDoru9wUDNhg/FX0esTXwN9jTwg61f3BTi1DF8IzJsBfv78S5nRXMeUg9ru7idYMChBB49oQwehz101NxuM/m3+YJ9qe2GKf/XlYE4zEkZkyg2ADj8OCBln8wAyi+UshvTsBsLUt/b02xbeCIPWAk/FM6LsDqhylQV4SstR9AJ8IG+grFgdGtmCVmi2mCsI+ptqZ9rNllXMx6tU9vfhwhHTdN/93gX4oxz/68Gk47WFbe1L7TT7d6oDuhn7M2A7PMAXei0jFd/MiyiDcGPot6Gp+fblwMmD8StcrrITg4XepgdH+Vojy0Wzfu0WMCrgsjs6/E5hxp/o4aztmDyHV559YQGD/dmZRxGKJvOLOy8UE7yt3L5/Zb/X77T1rtVXGU/xkvMFVG67oBhtVjPuSHCsszB51o3LE1198l+tCkg2tuIIpZdTddcJv5VxYgMk6hzkhxZ8lIVRXdd3wVqIWuhXG614G8mHEkk1VdOBzKndt0w59/wBTB4fYakMBhWSoNSkTlW2cdrov3FFG3kbhYOZJdfZUUA984nIbKCjfg3NnMuBFZYrSJGJ/KkW1FTunLftq5kdREC1PvzbZwayuPbw4rNtg7X9oPBmflPmN3q0jjeeX70x+WFKZEAbaM3Vi+W9UfWFv/qlDnfWti7W8GZy+kfV7i20KRVD+kA5Hf7src0egD4I5a+pY+DEntbC4a0XK/GGE+C0KWFCOqLN8KDXm7s74tVFazIq1pOLq8gYucz1tv8Y+JpeEkQ2OviqVQYe473gBh+DBj8BUjTzTnJwyTPBblSo+rJZw4NWij+JsFeNN5ETeSsoYpwO1IhAmoCFVeSOsHpNfPydrc1LmWWnDMrpDGNXw2ls00Tdn8rUVYfkHEceCnulx+x4ff7pJ8+x4D/xHv9zt0mGGQbObowzUyBgJmKdRu2v442l+LF+VBAkCYHwGlPpa7z7rgrzeohZC6+O9sgSMIvdYCFB8Ys39aHCLmUa6H1+2Gw+lIAT0yq64rpTPbegyrCVaQv74NAXTAkFDC7IsTuvczZk2sVZnfr8utn+Z0ZrgVDpMqIY4qzl+3SanFDk4ytgAoKonwXJ/5ZAk4gobkAa7cjJxKOMxK91Y6W9myqrhzwVg+NAO3il5aIhKS/DkPgkhCnBUxbyrW+JayN1DuSeJfLnrLJggAvz8OnOO+e2D+VPiSIMiP9N/jbF6BwB6LyA+LNvwjcrxySsUD4OJgu++/dXjI1eBrGtuNDHCY3BPXM5w7b2SkaJib8Rd4C/kfaLwE5wRZRVO5SLM5gWaIFZqQWa0OdDwkLWToikV5dL58IC/m0KFPYcV3CGWU2wF+0YV6qBt7p3fDON2OtA2dpU7XB1FwNrMnk+uCJ5P6/P1ziIcwVIiDOhzjhDt33KQRE6LTVuanDjHKHaf4+1NzA7LwWiuHjBZrCLLSppjimSnxBKQHm6V5mY/LBJHTjdyR2rRmtxIhTXad6zv0lIvulAc2E0xDMKqUR516/o+znpRpj5rdP0RPE101QRodIHhFjT9A50NAxP7FZPw2tLZdjml9kIHMP6sjfkgrr3N7o0oroPBUuTUxbEyJ8jD+h4s2ryJUQZ8noh+kZHv94n9wLk1eF2BJ1BM5VuxdoWKONzax0h6mvaTXxSFE3paiOGaXp5jkbu/UbwXUOypwYPQukkCRJeO4qCU8+iif5qp0I1fkPJektZrLYmY1JN09rfN5Ej1Yuiyo8q8JmcC+kjyERi4UUNrEIBlj6Ri3Ws+QV078+cY1e+tAALuCg79O/oWmA/6BehSOcBG85AVjt8phOt4aJj1YAaRkeql0uHqo6SZlqP+asgBBPezAZFRxZ2oWFxcihk/BRtpSe4/VExwGDBRv5HfRseUWqYEVK55ZMgL1YGXBQ9jg+57PW43OCBDSEE/6FxNBP98SrMul3WY5GQwm+rJIB+hma2vXzapD0y+P4a3AG3yBI4VftlT9IV/Y8pd5oT0APP5mnMDqFsowIb/EBQt3l8P/smPcPX2Spk7VaUejwUz7q0r+F6AUvm3IXHiI5cyjsVtRrWNPULC5AkwptzZ+1sVHedlZCkDXiRZp+omK4EhiM7+WwHxD/vgsUegb0iAVHbBe1xrEHBQTCYrazRkkAhJ7IxcnEo5smXgaAONK/lxY3owRscWfIjGZC7Wq1PYxiJ6ODCWGF4R4j4DBa5LL90+VqSlUB60qrRjwX8RMp0DL22YYtu6HvDt9ImcXX4YMoqd5VLSDl2k/8WMxHm4CfNti1GWMekyDTzjNTzIE55pEI6Jx9IGG4euZLqvu/ox2akfnrYrOQB+oROpczSkKYi6jehb/G2gR2GsJ2oJMMlLY8YGf9UGc2uwyOyesCsg/IzG4R9HptYqb46ljXfbFmTzKZsuIZqTOjomNvjHhrfvvEZf7LpSRs03wyKotw/tVbuYmsQ+u+hwCeCrBZdnXzoa9+6mI3mEyzyrp/twfqNfIenSaZX2/vF9UnmiW4BQ63ddrwnS4m1yd0U/MPyVn0Yf0w+gk1sjLrS5vJNEg8EpSmnRAvuUdrjRrhnUwZGCQlVFAkuIm+X/5AuFd8yM+w7flvLw2hKfTcVM8z7LkS96o96vsWIGQyBcXsLuH2AAGrPG6gGSCmmj7VPxYKk1K/nsq9IsR7glFT6ZYrvshLbl5TIrHA8wf9PKE7jdoIpTCucQCU1qkoTqEVGNOMigFrAyi2bBRjlirUixR3oeRu0t967QtQJncOdmyVoXkeMheZKbD0SiLiU69KfGq7RS4CV4rgDwhpO7vCmlmAJqQUpelXVFdr52Gou6BPQIoMMCOdtOAt0D8cmOcS9ItNdVUeOvmeeTmDWtFklNm/C7Wdokw/MBJsbxG/+6JJSqZwjhQGauMZcnOQYVgFhI+n+4G6pt4donU/cHUqqLGolOYVhsRfCH0D8bx+bM/F2J6FTxOZ+FIXhAkJrA1iMdPrTbICNEI8PAqYJqHohDart5e+Zz/Z4ehFUHxXEuLZwy/xKP464UmXTvmsONyl526OJ5WRgQT76CzDQkghQJu03pHxdkYuOQ+Bx5rOpHG5EDrjukm5bUYUntJEIusf5SaciDsl8g/KUWY0JkDwjoygCAv7zVMe8Rziq+3BcRS2YL1nKZ0LgQF16joDa7qnqRS1+Rl1IgnKS+t1cA9ZspQILmcI0yryHjia2jA9ZQPhRUYMlyb/iZ7wNHIFnN4osJo5Mqhy10JH27IVsJ5AimVqFbLEzds+6XZuPFkzCdIgWHHmIh79YOmFf1115cV6ohdNHRv7BcRtfFoMDAVI6kXfvg4Qq1ynig4aRd1yP842WE0gqQGKif5g/eb3LY/L1ODH9mqzXteISOcLpoLuWrD7QJbTQ0slPNuVwHDbmhdVWOoJGMsgIPr3aVlSFP3QoeTz2TdHgZxbLf22PzeGZRrO/Y9Nzj+yn4C0t562lECrNeSuD6xxDhtKF+MDlHAAKB5+vmHXJRMFVTEqEnBM0j/MKEp5NFHEPCwt+MBDUNabcNquwc39dLie53Pfc6CP96GooeeY1Dol/eDp4roLGypdLwgR64Cbe/K0m2mESG+mCwQbdZuIG9Og/E7akyMjQR6JYKVZdoNdjoDEtJDLxxggN7UPnU7bTdTH7VhpFIhgrRrf1+8HM77NDoD5ia/45lpV3wB3rSJd3zqxuGCBXEbeX2COF2NB0qyeUbaODeGHYut4w+8bKq9eabPKRXtg7ZcjoD+rJNaRmq4upU0d16slE717TSo40S6qJHzFd5eNffGYo0dIMNbQHw4CoaUo62sF4SAsn0aaUwy2tORDXTnTWBi7BQa4Zn6odlyJnVKdzjfwaTT78JxSEbFXTvCxcO5bhota4wjmP5p8Z27+c25zus4oE0LNO59JnrbfC0kfUhEKSktxzbtrN93WH7peGt2/d64dK405dipTH6i5DAZj03/YkFIC6sIKfRUSJK4j1fUheyAVcL8I3WwDef0QXy1RIy69T+mqXvsD3dMR50g+2gM+0YZYT6be5vZ6B+bgllbhxxmCEp3qqtLAC9qC/izNtNbs+C/w2X5PNnaB3J2YALnM4ri7y02E0/S826EXjGaYeFK8lgf0nEhSVLMX2tfoUit9fHiTV7mqLEOCXHY4KX1t8M63b9GwWh3iizsY/Hx8jHKJhohlPwjhSeyxJ2BFfDnf5UHFWNLS356m+xdV9uBLxJ+B0IAB3TqkxopTmK4RD4wT3EMSuY3/bjFSxxGgRvhIxHLe1nA5fvClGN/XBPN53Qn24Wz1hTHJnoIWt4ogI5D0Xj4vqS67u6uMTO6vnX2D+Sa1jYEBoqStfHrkSU2oHMF/j/WfqFN3kA3ksDDvLQCO4L9lFZclX3ZDGUvzAQLvjyPLE2qH5pV13ipdI8700jVGRGGtILVqNTz2dRI4N84GgN3dUooxqD91QENxMoFOQEroehSIhmoUBLctt4USa7VlS+t5W/KjRhOiea3cMNFBHP21TqLokk4YNoa2RqgZYNzyMcTQv2Hypq7WElXBhuNqVMXPliFTSCBiE9oG9B3YIld+BDiykZ92u83Q2CSTxopH6RxvIYoS1vWc3thVA4TN0NEFCpQUDEgzwiIJxQ2t54Q0LW/Gd7lErh3d9DauFAoYGZfJy//xo/p0z7b5BZr6fhq2EvJwwBWNjJWF+b5CJ029mYsz32nDtmLb5KI3DGkkPqzQt2XW/G1yIiRkomXXJQVf4jsVPgK/nMPyN9QAkZwzCQ/bZv6EVfBlGQXSLUU5MT/zDzILXnDyNQlXaW8VYN4ARRD/1YhoTsEMWOFUMVcQBR+NKpOb8qf664f+YSCsM5tAJcb2mX+PprEQmUprJ/lk0A9noVUYNNLq9H9HdkDqMO0EEHOjsOFy2zMvGHLlAk0l60oIVBl5RV8TWJU9K15U3TMofAl/qlxcb33YpcDTZcs6OxNu+1rpSQqQ8g+Sq8LU6Psjffd6BeCNOxFk7YTSuzODPauX16N4rhbRoyXznUITMNWgUUTx1yRsvgAjQPoaNoHNHqXizQtYkMTmHxYyYDl+5411FKvPE6LJrnXPbePqOcdT8OnYdHJmJCNww5VDU1Ypf5i4YfXXaWjJaX7YdZUw2apG9U5KSX+64pIzHd2uXevGnofxDd8dEAFiUxGowBdI2tbHZFHrntvzuJNjmOoQha5MkkZNp3cSFlPUN/ly7Me34durOW/VL9rj6ZBV3YLtdUpopbGYS3VnVDJKqbnrQmN3Ycznb2T2NtnkiayBMiLx4ehPCO00flWivnugk1NwfxlzO1SVfNAn//PVCQg3Fgu7YlpMwZzh3DpPh5qWIL+7WG7QLZuNYdqXu1Mct7trLuLQJHpPGUCva/VOH6J+d7rRQa47/sJgJt1AdCLVxy5iOsYcffCoQEHq/f+yW2w465s8TxP76lvU7gPYPzzOQzVayX+OwAqVWbbKv528TBFOOs0NYVv0Pn0BCK5SI8xf7u6aI4hmFzd0e20+LayOKNIHjS3bDGdtAn//iWUsz85zhAd8nFElicSklSJpYHliwvb1h+PqhKmXJVVCtcduZ8om8PBPJ4FYZqIONK/9nnjiy6ku7EQT5VmAySUZjBPRFOYU1y3/z+/WhZu2NVhPSrKn7ZdToZm0W6lBMIHAtobbVEKmetOdgtXpLwLIWlrGBh11L6j89gNvzLos1UwKPrKesJsOoleOK4U0nXavFX4hFTf4p5Ed8x50io86glTmLhSOh8uT7ddsS8M16rN985Rw62Ig54q2MnFf4gXYLhnTWJlemJTXfYLDNaMGJ7izDbBi1Frk5PxwY9JTJ9oFsBoGwCfvLKhujENfKxJTBBF6bG3SthZk8K9D3glOLjNNo6q+J1p3xooLvzoKi2Wi0YOtCwxwKlGjQw5N2MIK+wj/mGuHCyfGNVqM6b6SQ0Eygp40eE4KT08Oe17HSJIhH9DV8LySSGkVAAbyP5DhU03BnJojy6DesOWC0ahVjN9aUneqLKAizwAJvck3znJj2XBJKYAZwSfsxoht7op9qUnORmWH2BS5pG+WNdnjhD6ehYuLVbv7AqGHz3Z72AaysDNKRKeKsHerBpArtU8+TcuLMlkWLA9KOKnUELscGMInbNpvV3Grc98XFzKA20yZ/d5CXAAXiU6cLmFlnzv7Khjg5TK5aSRZRFF+OPp5F2ZhBYQLetpIj6qaBOrwX3zh/hhKONeUDWfXB9RQawTmn4s1souTpxTT+ZrAAhStYXnASRF70mZa42Nd9ab/ZJG9SexpVqmAiNuQ03NkydahJX3WuDp4BdFWS4/zYgGXPLtzcPcuQ3cr9X2glHwmNVZi7L3xo+89QlR8nzQjFFpeZdDWLMrl+KgyFPxD0t8CNa78fuy222C7iTc+rPt4dHDtdO3RJupfm98Zdq2+nlzMq+oDdFCQ63V8iGbgpb2jbi0OcZMQrzcrgACL0uBDviUyMLvrK+Lk9LpP2FDuqal9lSkd4XJVFpuoPzeNaRleTF3QpROO7djVp6I0qw5vyo4LUt86PSlJAlKuueebKYVZkYzMvL0pQ6S0OX3n6JgqKzJ3Sw/XMtsY2o8cllyLbwziEjLDbCdODiZRBO4FA/H6+QFXg2eXyq39NSI1AKXkFq2y6PdOsbtOOe/40VMU1IgrEFicvV2sw0h+E17jO+1+IZOPBvtE/E5SjVrjyrVu4hPJQ2qmJEXRTL9VuXFxlflm6dt87B97Ztr9Hf4doqoNTLUfN0ZZ969+Yz2Xh8Pv/DKRgrThXl3M32+Ef5OGy5cWoPKMgqlMtSvk4ly0S1Qje9f+jmHeJi4ekaoxV4NtPDF8s3gFa18vT/vS+VeipvihVPHbPvwDyNzMfO1ivs40JurI8RblIvNd3oRXfVeufIQks7U3zcsLU4b54u0l2nVrCuJDMtnUJle+TgF3ptK87YyA2MGMo4dX6wysZCZe/IJDJItJA1YAh8CL0pPVvkUOELl1dVLvhtGtynHmdHolUn+WmI8/j3geNOfObJvI6wuBHrKIgwxhzCcxt29oyPf9Z1b3ps9ba++yMQEl2xlO6NNlRTMT2dTJXD9eJ9p5vMgOfslEqmwwlrqvwkHjAi4BIlKt1ZGmc720CP7vB0bJCI4MKTpxclCRQPQ/pWN4aUlVN0xV1byfgSwU4aYLFFZM/biBiyr2ZazZtfYT7DPvy2Lpjic9IleqHjUAKb1/LLBarSOCRgJHuhdPs5Ro/+ywANGj/veEXjJ+ukv894IfwPJ5mSsKfdk9Cgqe+ScKELXnJ58xftpMH+GrW91PfOt3O25JWt8c9+U+XDFZZQkJqpkoJOT//IR0bd9vXrVY2hKzbRTXKCmgegTQnjQCtA5gpaUN7REwoTEa14f079cMlD8RHNDx3tMRxN1k5A7msKIHQ1zpWP4ieliYkQbnKKhr4NYHCLclgWbPXHYpqT7ITC8Zbjq1hbilHdiblEhphEhsKYMsDJDALi8vKP73nVFfPjBBCjz9DKMGlM8xY5dcPEJ6wuc0ypmXq9AM3i88wDZnBWH8qSGYGd5zd5SdsPt8sbRqtAJRj0CZLo5P1WioBjj9EHFzslAdXcNyxmbB/4jxcZhLd8QtTciJUNgiCv6m2oAeLAnGsE9Qkakuhd6FQjs71wLhWKpF9RjGLE3CifsK0FNY1DrPgF+iwwheOQoIFK+s1i+sBvigT2aBFQDVjJ2Wo/6mqKlIs3tTLFH1kws8U7W1ScoGZ71pPxj0VIei8UTpBPc8EAZ7e3yROC25bz+G6QPbJ3PftjSZiB/MG4loeQ/y9pB/xQ/OIT6EqJj+a8hdhUr9b0teydHu9H67CZ1+aV2/O0K2xssSyre0lk7w6Ojcs03CunMaCtr7sp28TeyPGZEmQceQvjBcaT+Diz514MJy6lFkLtKg/kIbqghxCjxhvOagcyVsHBHqHhSMzbrt9JzNr6aHaWCve1V36T+FiyhUAvShOorg1foR6tBVNwTGHCTrzmXRpDSoo6DS/QqoojeTFgu2Gi/cIzjuCNantnyhPR3nxQEap4pyM2xHLmj0w6NM/0kC+6dnFJna7HeGvCBsgWtUdaGWQ8Wdr0Po5buloQ0OsaFK7HQYH4jX4a7eGF/fC7zepx6bRULcKzUG/DN/bHfVI5nBYt+oXF/+2EFS8FFDSyEX3QjK/MlTEyPIVA2FpMGwDgsJZISKkZ2xyBdcdNoAjKzYpBr6Cqdrov3w6lxHyEpciIW+3SfhOQzJIscyi8rGul08xsZRwZeRCgp5fo+qBooFcQvmn+4Z+RwANMD9/3ct8QuiXm4Vu13N7gToeea0w9m3z9AyBAja4tf9WeUS3ZdqjTAm4ClIhlKSluI/z3SKs2ELOl1FENLXo7FhscHxsl4GHQ3oOVQ5dEvPgCE+YFdbzwBYlzGTcSZTAsOq47gYEElI33UO9Y/2aOBuwo8dyRoVyTD14HoNhzQlnm3fVh9XmIhXts+h/CVCqrob3vau+QV4s6O0VO5oy7EmlyeMZApYKVGqqsdkJt7uAIzwDXVd6rpGUNnhJvhUGxTkgiWd/qyFhqe5ERQiJeK1VfUaIvdqsIlF4opAvwgQGOmK4vFVZCMZG+HZzOXqrjujlfqNIk0njAhyGMMqGdzDsNkLoH5bnmvioU/KGSlKVJDAsuKNnarXWVJ8FYPgVoidEhe0uKrgQVqhH0+GwKWixXfuIVQROeKZdtkhITdcbhpBTDXDNPkZ8Qn3S7k8OBLbR4MZReNAGy+xIGyfvGhmjYnxMDeCWU0JnEW0CtC+qulZz5HBfUkJo+jK09KPw4wwexRORW65aPYKkjl/OtCxRuqbl+AnQxRerqiz6lTJI5W2dxjPEbWM20S+44nJmMJz4C8RCI+fJ6vfSPU4+HSjilEwgrG27yUf1EAv+iOdid6GsCbTxfvck24IUJWn+f/2VKPGUt1Qegh5iElbHG6rE/057ZnECRxmx5W5ENWVGQVP+AhJjBytKs2Mr1q5sJo1iLPVgbQjAgLIgB/Obd6WrfEGmuXgodHX5gD7EL02YryPs0L0vBAgtOdmKViKhA7XmbwrS1jA/lxwJD5f2QKR2ZkqZSaa3yWBRQSJkouBl1bCr1cQq30djT9KE4pRnUV3Gbl2Vmm/ZSSxs//1E2jV2TGMF39qKDt77JlngoRq+NTU/XuYWeznuBvkMg7CuMY4t/ygvLcglWA7fhLt9/+GUSYtHSNWwhJb0NefE3fy3MAjJKQWuvoHuxk8fgm5qpYt5gLyJkHizhfX3jbUn1nDKunEIFU3+HADcyxPZG/A487IjBO7dy928LIiqvuJ1mWtk5OuHkNQagL57tUjC1gEbOBgoJH1LdOkbd3vknUCstBDWqbmRQbG68lmosH4PudRmUzFDcuC1C/Y0nrrxyd2U0bjwlLoRVFPZlkiAnQOhE59WByL3mem7rIPJap8vJWvIF0e8LAzMZhwwbg/N8pZGOG2IonMLe7drermp1XuIJXpQgZ6CAPMTXd63NP4yC2iKrb4f418ELEvDJpdugUffiXXEu0Ce5ZE68B2O7DSUdA9k+FrLW1DixeOKnlDVIvAdulreR937zZ4pDqC7j/PGbnvOY1psHAX3ujUVeT8nj/AzCm7E1O+d0ANL0er8AFYcZ1ib6aV7WlM94MbIl5imMzficyRqpn5lKN+L/alJYPi+ogsRnV9fQGT3r5ik+WyWZvXfRhG0mmUFnW0UGzoGGAtQTOOHVZvbQUHggKfUkVOGwVpNyESdRiF6D1+C8H+MqqNHzCi/r1uH0mOFaCKA5kGccPo3g+C/PbtKzUVddM5h3QLhveO0B2nul0cAZ/NZWC6nnQCwxhCo13nY0Fn5YhuJdsJVJrm3AtCkfnO5zsl9t4PcDzFblnJ7KzH4tB/V2eKqgZAckhySAYJN7320ybQ3PQlQ2UG25DLV4SzlrEIkC0qDrjEqWXpywuD/qoxG6y0S+iJ1zwDDOCFE7p6K+80f/r9z1Cb6zWRuLbirVanMDOVanDldGe27znemFqXsROC39C2ooxl9KEaAYUGBlSW9H5B8OhFxxOpL5yDTYP35yrf2rgDxEXAXJoEM/5IZlLq9I3Ow/jyK1OkGcqB1NEwAPhV3HWOxVq37IMtIgAirhEaSYkEvW0mbEqMENsKlCVkM8hH/mJ42I1Bnw+GnAxjxRK7LstHarSlJ82+eQCpHZCVnrkFImHLm03jd5XICsPYPWFm3y+W5rI/ZFZvwtZxr60RmxWK+PR70/+Lm2tmOOKGycx1tTUV2Kbd3x3VRctSaN40voHQnpjLe+xt0mgbbCmd2WJKn8k2ChI6/zLJPNTcOnkGd36+AC3we9mPAsiF+adby7pjDUFUXrn9ge9W0g5Z4qAOcKWLd283TNeMZCX33vvckXqg9SLitsP7ZfAD+LVzYY20f3SWq5ngBNGqjHU3Oa8eiuOkBGmrNYeeEL0Ui0qbCFBE+folzD+zbR+yB2W7z9UsPWQhd8/RfXFrhX6CemT0KBiHMqtqdBIN5tCq6lW4PLGMYxAQ/I9+dK9VD3KZ9+RxLuR6kedsSVVt/+vM/ZFkd71guhwu8V5ztqEreZYqw7NZXZvlWbIEy9dIRKAIIekaXLzWFE8V0hOMBkuYJkXvG+UVWLKB2QLg23Qf9E3I0uYHKfbOIYSaTl/2sG8FW1yfoRqEimyfMlfZZ147xtWKfyVi3uiwg="/>
  <p:tag name="MEKKOXMLTAGS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vqjhYDOOghWv+9NTAfhNqQJhDlRtxOZuvwST0S+I9IrKxej3ubi9gkOllzFtawN7Col2HdXyXzIajWoP6RQU9t1UIhWJS+KKOirTkJEQkC5hlqjoeHfi+ikNkKjeECYFzjNd8vZat2UeCKQiTGNk6H0dc+lTyZd0/xPa8vDbc3l1UZnMsxhfR9Ia8kU05ROx43BU5oBqF+7JL+WhXZI85pIOSzdTs+WvwF+ZAcTsnqbC+MKGjIVjPGKa8uySiBatQKHXzWXnCCrh/9gH3I8u6EseK+IQ6Mf3nCqSAqGKnU+XYmf2BeVzrNKoBWNb6cdLkzvy44RzhVa+bZB5GNucyJenRiQicqtgRybKSt0A5NgmCoLH5jzNkgCNCLHLGaqqC07LRndEo4N+W1vfXG0bHCVvwtEZ0F9YDVA9gscaR4tEgSafUO5rm9YdXWyaSRjKcEOy5mTC7tVGIuSA+KxNg/Vz7Ip/dudoUHmRNPI5iewgXAc4pTFLkAMZD4hg3KLMcZGM+ZaFsIa84IR2OLzu+0TR12YYQ4/SN5uK1WuboHU1MR1APTuM1sxLg7sNX75/3tUmnrmvzaNphfbu9zgf2uuwicEtPpENt0NY8+geThqjtBLMoi7AxyKJQklanNFo6hUzUFGBIwKrh989M9gj/JKZtPlTOY1y3hjienGZ8pRJQLv8d7prkP8BIO2KbrZM6Po5lQcnOTzm+euIUBcb/Q59IjSTb5m9z1v+3D8CcON1vtkilA5nWEpbgE/0/WldW4C0hPQIuZW6cqoCpnwnua19Dzp6RoKe5k1Y9nmdHqplhh/lo8xJNsBrZtR8PFYBX48QrBo9q0943NYXAWB0Su9nCnOmUlCJv5RqdylsjQ290qIhd9MoC8apMMI98yTyJmFQ3zk2AvGKKAh0a/jLrvBhac1Q3C4kWlUw5OUwwGZsdx5tPUDta9OwkyT2ZijgaqCQNydiNV2PjYrxIn0En4RxoZxP1GwxkdLJCwveluC4PJL4hIY2tww277Jvq501tVjKJ8LtmLRo+nEQ3Vs8iyOVOgRYR/25etzJmg02Kb/0QkfEHKqcdIT0beGtWPVTkPVY2qJC0V1xo58lYTgikuF44tcmzTrCtvC02+IqsJtQh5yx1R8srIVwfJU2kTCk/mosTJBACMKX9x78ed00dfXChowq8k9AKqmoo85aVceEk8rOI/sl/J2sbelpKa67fRmyZBdKJkGCWXutrcTjsoZcWig0CBmzCeWrtiI8rLlWo8dXC5bmcJNBdjiG6d65eP/tqMMa/5DyDGSEuiayAMAB76tf5KhOb9nSRVcp/AZj+LZRweWBXQKmConwbAsflVHAPbLyPaMW1NLdPe2c/tc9f7m+k637u8M1Hlguktbkib1kBBsbjXBEnN3KZk9XrKEE3CxLe3ISqSmxFoR6fubqlHIe9C19JM4ZY6JBU1va35SGWttfiuD88Q5meMSGgVXKk+b9743lEA0tKQjNK1VsjUVor+20LPFwUNAmd2Z5tXZdC+gLtv2OG/XW0qFCKyDE/4L6hrpG16c3KTV6CTO98d8vMKomNt54y8T795WE08K7/0ixQvNdPTc31KPAEmZ9SWYpKPu1DutkU/RiWIE9GTwkUnFeFo1np7KkWrPlCR9ZKn0pNHdElFTH4hlzgspycOsl/3Y6+UhCG14N8577pNBthouqZxhuNvzwxAehfZUAEBeNWRCZXzFGxjL3jEH1n03TbVkqIYnIQOYPN8DyZF98Ik3cxS4ikYCcjN73I0rZ6WvCCGOyiMGKuGfcSGQVva3Fi3prSJhxv4rhtkmslhHO0jED6XAEC3TkYssbJ7nqfzDyxuzTl/hglYUSifBhEO40uzICrS7b+ZqnMX1g9OyUEa+s3tNWGYEq/gp0/qM4tXz/dw5iLAi/DvhdJ7bE6UrDU+dYb8gwWiO2IlWe4Bj3S96OOVcXsZUhJl7cPKmq91oKjr0pmEE7OJqZmXVMZ24iFCY0Nyx5hECeIZoMQ6KATrz9PDjp/VFeaYVtdru7HRGnmNClAyrYi0YqvKumES5ZMprcbsA78ZUG762NjZ58utPc3ZAPhmYWddQLnNnxB29ieF4i/haGSlBI7Lsi3B6Xg1IbsoLjNx2doJf4Azn5u6M+HM3cxsyrd4JrLftHQjmpkKi2Vkgj5YQ6VcoxzqYd174HtF9ndJtIv82NRDII+8c3QGvHXyzlJL/keNZPqB7d1YyvxUhHnXNlJjd7ZBbgvg+YRCjR7xR5xyCRKe/+qGQEa9jBdjQqnt0G4YEmLVPi4rHyPNirP09s8Bb8IUYikn4+bRUcAKU1qD5Pv2WDSvcaYQTetNBEJdxn3t0S1hAaVtlIjk0uOBrWtf0a7xXswSODz7L/QgR4QeRuPVB6C/phSKcgPEujg/jUlb7i+8h9zZCxoB/BB18bcV88YsyFyt6N6ghxjdmMChP5PN+tyq3a6cY2ccerFP61ngvtQ7UXlIFJO3cBr0A4/FBjAOWngn8XOROLg0hCraXniNhF6Qw1zA70hYlWDsUZdhyNwSR7/vXB9KArTTqSGiRrr4d3O4riANqBM1JhJWOECZLfUG6NKaQskLFcLhszEWXBv92xuV5oKwsNWUMnK735O4eF2+KJsEXLSakHgY+jV/LgyvSVy5Bwp9z+6Hd9M9qPNvCD/v4R06OyrDZ7fqe64PzS6vX8RaOGxeDWDVqa6UKuidmJ53sfsraqJPrO8DrRX+N61H0ZT05cHsPquDmpf7EdvF8iS4vqvDz+6wDMER5VQ5uDG5yUFIGSrgd+9O/6laYa/cHUn7Rgen5SWnEmTF5rFpOVae8Zd+DNyR2MqyZyxi0haexGkTXxtN8zogmnXUygxkzI3/kuwEvK5cCTEuvEZ6XqDE0BJj8d43UsgqlYmA6H3N4AUv+H5nKeeGExxLSc/EAkWOVhTEXg5/b6BFoidohxksunLU/QpxfL+hk4TvPfJTwdGCuCW86yhyK5zQKN5rz6mqO1LapbzcmHmRBaXFKIaLs6CnDR6RksCDzFucgfryBch3L6uftxxwbVp4yKCgl1aSnclH0SsadL4+Bdmq1BYPkuhOAzaeFCJi3vs6Wq4uOGOMMfQMn8TyJo0MqZ09wPu1IRsATrog8LtNS81snhsxf2gFRbVkN+ZlK6jk7Slxk8VdUFM/GmyrEU+DiskuNnD1VmyWLmmgZ5kL3hcDWGxIFlqKyr72jVX2IAkYAYLl2Z0l8lxsfhAM2QLO52QuwbVK82Al5yGuO8OUT0M5pRylQCzrHZhj8VMXIMjGP8cF7w1pL0yTpQBY0McKhtMv3G+s460SdOQUjZ2rMIB9f+6I8h4RGAurIHY6jhunisgzygnMqPsYdcDRntqwnKQDpHquSn+3nIoALjntPiWw9jZYNhejxMjkcpczopEMtA4dXHYNlDmVCm24jr+SabpU6MeVNyokfFOajF3WP6KijPTMHAVqh8SkRfPE4AzIrdjodDT87SBZHw9BjEAvPvsuFjfqo1vKQPf7rB1uaMyAlbzyrHFsQ3jCBrD0qxGM7yqor7Y5zYtRt/v4DDZK29qSRo9IhHhMGSZ53nJDOC4W5DBEGCycerx27F/gPNjwSE9UcPRWK9jP655uHrTjpo/8Q0zgZtcMHZENMaNCYFjSIJSIE7EG3J0dBSWnd1NgtDNcSnDKX/2uPhwHmDJQXNQP5Q2E5inlyI1sgtd3PahrpAfi0Tfvu0Span61578ZjmHRYfnW/sSJg8KHAnct1O+HwkFZXqyAymjMNgCPMyRFzNGVIGCaHpQiY8Ng38r0XBdK3VCruHTHaqLfgjsuFNJB1qCuPVYdSxxNpvB3AJw/wF9hMgc7O2WRenmp4Yig1kitJ95AxC3tYpKI5KUpvzXI3/Xk0o9OxiiCBNF3qr653JjEuP98RKaQ35ER+/zxdn61LSPfha38I05AML18OGjGrgYSpyZZTjV5XM1qdQOIKWeNvq4i1o/CF4HNy2NmXwLKaKAtXiqTOu0pwA3dha3MPKtVxLrTMRq3a1gWJFgx3syAbhx36k8VhOIBYR5EU/wgzcX6OisU5BN7Mlc7XvahpadW6Mw41G54HeNr06bdSAaCp/S/p2rIn88XBeI4jOwbQAkrrdg06OXMIP7+zWZpybtBQaAbKNiXv9cWY6ctFxz/ZR6JWl8+IyvCGcTeDQWC7NLbUB9sTaUoKnx9uyNbZnMrFpnDE8FsEOuWDxpj0lHK4iKWftO8qmJi1sIUjHpKt7CYqe7981rST8DapPKLzmV56B8nd92mNHVK9wvMPclDTiGaL0rGJl/yJRWmOBPgdtfBSMYF4ZTz3UbbL+rESla7Jhg2F0S6zQLl4fKm5UsobX4ymnMjxKNYjuOBKl4YsjBDrRwfdgIOYaY9/8ZQMJlDDjnvsquD1q5LCjOD1knNNCh1+vOjyVG80GEA10zaT8fQwqws6xiVeTrcycO9DWdNOIW/qG3zc3Wm4XS//LzeTvncv6zT32GoTRYo1D9aMnPRoY6qN7VOIDoStlXjJVTtoZaquih9recixJP+fS0n7JA3l2ApwZbsy/swaFaTy6aTXxlULGRBk4AdK9Rqatw3Bro+FoJnNn74f45lkMYWeuj1IMI/lXgqohqXx2cENBnXjzRvU2FzwufEhawlVXb22Z4ur5wFTtE19Ge1UfizHNn/7iNi5IEK9kzddPZxS/rSM7aJyr57PuF9pOQkCKKYsE+A/wePpDlMSdA8ypILrIQfG3aX61Oa4XFESRvq6LmTf4DptqRbUpaniGWPQXoksibYjodjVqTZiP2svQOuE15OeWUb8duWqClM8vrNuxFq37P99pLk0Ihcwkyo3EUL/1IdLXVjYnLYiQNxN77mipVu3tHB3mpg2UW6iAxr7g6w+92p5xvVQ+PfG4ypqglKrqFxRm+VqMA5o3llpuDHQlZKkSsTZuw3PwP+7Sfo8dr60BpORzH2elMhesNc3Ggcbf+H85ERcA1Rn1bdckOzfILpYtmTW611X/PotSJCEABvY1P1zLNBV5MV8PmX4mtQEZNFVhYJc1cJUIaU2L1FYNqkbJ8wBlFQBCIkewBq5+PM7pXP2xMQFfDcnoNT59GYh839AED6v2WYGIo3gRX6RUmcj8h0gLQHgIjFqm9DIzf5Sj4/Hqu/Fe8+u/9402wJ6b93ML7Y6sPCFnH6F+Uj0YTe4tU+iYcoII810uDVlqWipqK3L/tInMCl57FN2uh5sqFTlm5Z24xQTH9NVqL9RGBR5LXT8Ymn2ZPnbswZANU8Qce76bHFCJ6LgFJqTFj13+AFf86VFtHudSePu++Xi+RnYH12aj6FU50Y2sDLWc5akIQ6D1oIkmhv8t9DXZ9rkbddJM3aWVyPjF+bzsC8IlM3zapT7WQCLT4XJchuKAbCRuMN4jKx7fe6BWLXb9qSAshxhkvYQ5fIqKa5pxBTXjRBXELWVZIIRxYEmk227fFH3hv5wUrvYDSVzv36ZCcSOElBmsjaLhDufiCe/vjg4CVXISArI8z+huLaVBaVr1C0qrL8IeWN+f0sN4zINh5KloPWW6+X0miu/wpomcGGNnR6CkjJxCOY86HV+6Y0TlBf6Ddmvh54x8Ke6l8JGdTcYyTAtc+bI7AIPy9+T6lR3TiLLEpcHB/UEDemaEcfl+K/5Kp0oJRgTx0zSQmg3HmCVSrtaxSy4mVFbBow7lYGDMu4j8MS/AIXcFDF0ZxSX7RTOx0FDJpCciW6+Hd0/2cZoPA9IRi3ph18hQknJhOD6zALr/ZZzHXgvpo9qt/aBkdrGFTjyEOsLS17o5npWjZzfDrxBjhScJGHX9McfbKwwcamdSDFkoLGiTqFWoRJ28FRFmk0rpjQlx7dKU5eJ0kpulX19xo2nbmo0AoV0xy/dT8RbZUGXinBfwepVk/irI5CiZshJMpus/1wyqk8sxYzDqbK+xQ72To3DXqfPErDC0hP1sEdwTaPFxNN7GUKspC2mgf6ATLlW7nqPFVI0AJxYws1DWIojhCjYNPc8JZ+PX9jxM/2HA7og7tc0xv83gMHVAXojuNok7CRRt39YF6k78OaReHIlR7oYCsg+jVgFgdMcWItb0SuoY3qe2vuW7IiQPx0lIdWhO/jTbgGGbABJs1LDgEVFvtCdQk6gI5I5CP10h9accHBUz5IWBipA5o/c5f58FCN5YaP4UY0guEl4G/d1US2IZvgG1ATFHkp15y5xYQ6IhvquBDgzZhXmQFFlqR+RLxAaYAGFLonWwM1gR+TiQV9I/z/Bq3L0ti1d1Youcfh7L2TDOJKeAXq5uNQ68IU0P6qXvkG2R7mGs0OZ0m7AqikebVQM8qCczEIJEAC8eIX7+1g6qtAmErLRcSft8j7PLA3aZU7xGiUW0rhFt92NzzhGLeHh7BAlxPIJ7YNfRRDl/wDP4m1E4GKias2LiQAGhfUphVtBe9PYa3LIUf/WZERGD0lOppYNzmBWtgvgZ/fC2FSX7OCDQC4xiRYDrvh33HM+K3s2SYIKqIFLsCplA7e/MG4sGBSvN+R1sDtYZgO5t9VR4YR43Pgig8TWyf45wIT3sbcEsGbBqKCPLFx722BBJuLe4K8QTqVlC29n4GiPoDh9jg8ujVDK6iTHLtnNyYTkfJkDCJQA0HXqiGZYKpUfmqsI8xz1qDpnMKpKDfOXqzzLZa5Bl4ielQ457q5P3r9gxyVkn6d1eONCBoCZu+ZCxY+9uRJY8JdsjvqVKCnj38oolwqCebpDqD6KbUytJGADRegMKkFdJYH5jzDglkaYYMpFU8DlgquBfbOqESDkrNuGf8R6DTBo+rmkNmDVY1we2+rgynRAnAblybAJxw4kxLaF4/pjE1mPDV37XRI+Gs6U3fjinheZSEa4i+8CInRvxpxIbyso+ldBPJTyY9Je+0flFPB2rRNAxINQyUZ7jgcvvddjC2FxkVVUHo5/YL2L5dDo4W6MKoRpeuTLfTZlImIs3RILB8UktQE6Fb1d8iQ7Axdq/0/rg68yamZ6lximmiUz+pNcnri09tLZ5Z4h+lDSPU6dE1eXqv63ZGPHVJQyD1tUl+K+PzKm+VasCW9OaFAXdqly18d70NK8fsSDDZfbgXOF5+2BIALWxU2DHpXXMrMGe4yZTo9QxS5SYcznFvuG2DbkKVEPFIpIrRSi2f9yIJEkUQ6RwdHI9u+F47pjmaXt6rvD+4wMdFBs46otDKw+7d+Y/KJREFRdhx0dsljKxZOhq6JdhKPsWhWH0KtgW0NXWWOFU44DkO/efUxgrB9vhysG61lF2t1fR+CmKglhhbZJ9KiHjUc9Qe7PZMMCV0mYYgd8BrcH2O5o+i/9npZCHucZdzDElOMvm1jMaDPtx5R8E0qxId8CYut1lq27i49mwMNPWkzUQnJEgTuL3Xg8rN47mYEiwpYecaq4U0ApE4dVkXWVqIUzSUX9EVx7UCosVZ+piR5bPIRDOldWacyzP6GxMF4QKibl7CbjKmOKMtVCM43Ly2+Z6l2BSPaHYe6TU8bA3wTTJc8jd7xGlOn+H3EeV5/CSCC/zaa9w4a+l9H+YYB/o8Z2fEKkSKd2PBHsqI0TAqULc8gZaSDwaIA9RG8KzllR+2Pd8BmPrgRIjObZRR7DQzTKvQfOGrdHRPN0ttSEkoqNljPNCpGtC02ganh8Ek56Ew90iuaO5EnAjH5GNUnwCa5kEs7HU6L0D11+54cia83dHAn0lKNhvSbAK7caFN87iPiZ2L9oW1e1K3aJEQc6u1149NfB4nvdS9u8GRvSwPvk4Jms6eJmgxezXpmcyVkwf3utdKAMG9gg3mcVumbeUkyZ8x5Ku9aVpYsgqDnCHP57WUKM3nMs+qAITnar+gkltSROMj2sG4jcUaVULUevWJC9jqDUUjMjeAEknCKYAh321KyOgX2InnVdJRJXqIutr3YR7SxtrnmV5be95YfSScPEf7zh5vQPmOZPStJsq+NEeG1oSmHQ5iNvgy4TSNIjEJh+GRvFnvVI5OPRJNoiRblt7OTeSolrhNiCr8/Ro4J5HYU/Y2CxhzpaWTzRtGddZx+b8OPfWUwjaYV+9Ru5Kv81H+JbOooZqIKCZ/fT+yIZ/sDC5y9n1zhwz6F4lMNFVcDwt89imSuxBfVLe0uZVc80LZ1Uw+OswPh1hpqQqohv/1T9jZ9Be5uPnka7K+ZYefDQPF/7PzTilKQYL/ZtHQlw3BEQoTEvutP1Nqo/L0OxHb8YhiAcXklFJvqiqwpVzmtTEZd0eS97OnzT+9bMVgFKefdnBjB7mYf1YQmKNhIXDFVb7f/0rFFBUSNnDhf8AsDQrV0TGlGksAqMKFTFqhN58h1hrlDfDxolvrR0Q0fR8JHxMEhDkbpL6htgpFCx6sF/00tmQ12UsvagCcQKg1HH1Ickxmx7jUy06+QvoJFwM18T1mnGjE9FCTTv/MqAJJmFTGE1hYjjVIvaXb1u3j93zbUXZuCvah/vycUL/gG7FWXiCNTIvT5brvVYqIt6u4o494TDnkuZLsym33G8Gx5LLJV1rBnmOzr+JaZEFifm+q+TsWrriYOM8p7Tu+uBUumCOJ56TW52yl384FQafcMw3ZGctGI48Vhk7JeKiACXfYfJVtC4u4o7eEJbCi5WKO1HIImP4nvz6BuqBdxjxBb8B/cSdxuDxsXDyWvcc2GmgeDDOl4YwgYMacM/1Nl0ntaAhVIXG0Xc0+SPaJJfoltbvLD1yFAZnZtCAcfffyjygzJKJvYqw/qC723koOUmtI5Oyi6keoxZ8VhOs5VEUK8+Wwm8WdUowz2GINAl+E3NvEC3iZ1va+TelAEQYrX514MWv5mnlt4rnqVnvBEKAa0OoXV5C8i7eZP5gj/yTMzaO4yMkmWhTLFtz5X4ligfS8UOT4nNCVfdQCtYwrui3CjrvdLbKbXL5tIOIm/oxsDPHZCj4AVcvn6F2GGzg3vlvlt3x1eeZxL65NWeLCtIH5pnm0u3wiwgfSNimqJX8UJglPRcVhZTERdC6pcsVqQRNhtsAy43qYkbO0WgA9ZYltJuvNWEpGv1cWMrln1GD5yX3GjUwxAKg2t+2iB4Yx0OqP6F2em1D2Ptj8fhrsUYYT5G7WLSgtWh+X3CRjOEfpXrU7tNy03DkcaARaalit5VtNFPW2wiN3JZh8quuVSl9o1G3HYTfajQxL0HHIXnsy54V99IQ+Lw9sDa5xYy7UQaoK6LraNUsgNKnvjCSq7i8FuLEKckYELy0b9gQH2A/fTtTFYGO61xxLxGziUbyxYv7CwnaUBQRphB4TaKyV1kSyPQoRPBhl5d2UDD15CFeL2KCkXMMwQPZ6kr8Lh9fYxOUZVyZFqeh+J4iD8hDz0fnbRks/SubKk/SdUK3wZwiiKhE5I8LaXYgvu/H8bZDzR7YfshelSS5dsbkmxAsF8IqvSCKEzQZpe5uRvQXk++y9wdihJpH0zcfrp1vIj087KDJpjymD496FXfYuQCt0mpDEc+uMQS1/bpqofdDOXsjpSHpmLCG/IrLu0GqlaTUI6wziIhdeBrZfiutC8PhVN1n7kTQbWYZ+4bf77Q6H3DgvchtUKCUz0RCfLX3fce2v7EIOrUmX/A3C6O1UO0oUoM3ZSQS2VfgaZ3NPhQfyyWz/Ckl6UfZknejYIP7vNp12vz6dJYKm7o7tNlS6+7rE79Uh//4rQxIK5+ZieI8nJQyff4rUICF9yVbhcWLTERuJmK2eg+w2b/zJcHatM1A8KQgwzuNPrqI9B3WuigwSnCfrNrsoNfCznm0yyR0/X9h2/sPeufrs1ZUfUs9WeIvWomUqI89cUtTVdbvEO8/xzvUrIl3q4FqVv8ltKnvmEo1cZh7oTsEPoE3xDqo+7tJlm3bN9Pxt70F85e5RbqNf+IOQbihd93sR+IoAIsTNVYEIzPkEZLgXKruFT//0xiWsU98JBE021KEeBWqD2+ce6F+fLugHAkGdpSUkfj1RcCGVUu+pXBRaF47A08eaflMD0HSgpxIhmoJ8YsJ6EZjxYyroaV68pM0NJav8atEOwM462dFuKGuOpGe7cmOa3t1iYeiBDHfAo3IPcwlQ8LYdh/alrha57N5X75pcShQj05gfPbv0Km7fNsGGt/xiDtZfx+XaGdyFrNSD20hB0SdnU5Xli6eOzYT5yyfLsOU8tHZbt4x1m1v1pAIkfcj3mwZUzptJJusV2h5xoAgAgQFEwQ9U8/O0uO2hitYtr4PVL/GRxedI8VAvmB7dmXCzN1VQnZohEiaeB5GgOlU5WkC1aaaj9hAMvqM9RP6wvBj3MIcx91jTSWhMKvxTnblpTQWm21/7sNmKNQydO0DAIDfzG8heliv26bbnsSKyEL3J4tQ7AXwhDREBE50ATVNjm4mS++E45H0dGB9dGZZ+V8L82HEPLEoV5IEmLWBdW0TEtcfP1Ftabsy0lN69vI0zyP3si7d0aCl5Wtwta2LWQTOcVB7/iKexPwbETYiXPvceXmF6F8oLaINN7zKP/0aPfSWly3149iVNO0FPorFhFGTwZC8ERUYXxx/Vi6bdrW6647iOkwIz0SFUcuyw1OEZ+Yuooylczwslw19Sv5wFpcx+I2CAnmmvq+h6F6sWkyLw9aff9XCR98PFZK+2OdLZZ+ycZkh0XB052ICERRaQ/Wl7bB7e1VUyHtAYS24gLBjhvVnHLHfcnl5vpb2rSuCunH4X7PZc8nZa1ssjDR6Rp6RffU6NGzieuk2PTeZjWywCIeQmFGr7Ni887Vt+tmBkRewKS6UhiJa8h22dXusrqvahkKdfTiSiRcyXTz1auaifpjxHpGCr85wCSNAH18bU8js3J7wcCqU4KjeKiy/7jBGbdTqSiKFDvAs3nGqQoFJ42q3D6tcIiGlMVi2pNisBS4R2OQrd7mIDEqSLqtJRo9s8i7UYaWmElmcPL51ggdCjJd9JcdT6kyMamsFg12dL5NQPhV08xrDo6VgPQbwjJbH6DX8gP5B/17LgDu8tZbHGCUB/YIUiYJUirqkTHoPMDyUYwPr7hE5njUS+wWKTH6e/T4EqjgNyiNUw7iOKqoly8qq3ypvJzSphICgR1TQIz0p/OqEKo8TBwOWujs/cX0o8C/ghnu/D+uj0AAvElvHzzHieClGxJ+Ess9BEABBK+FMA5eTuLyQhdHqLDh6IfPV4d8NNUjsq3kSP42BmJv5VrhH0AkD5APUQg6V96HloaVTfNpOJd7mSzAu3ElRK5MpKTokvt6Vm9r9vxrquw6/AyBBQCTGVGZqwPr4DMXLsFfUzMpRFDLrWlRUS33afCWD10MlcKbKA7Cx5rMgbvVZjf8CtqFYmHCd4FFIOsKmHHHQefbiGTT0KTtUXBZVs+E2rzL/Hhoi2Xafcurl+wBJhIkqcXcFHVHR0/hnGpCgco/xkbs6oKHUl3Ad7pxVJ8USfbX7TIiQzIWMSLkPEQyaIXXWN0MfBJrM66b9IDs4YKHwdydRjxTP6hFvtDaRR7o10IjysgEGFVSoBkOy/TEMNbbDCfSUojVHYzMpyYbB7HY+pVnOfQB4CgjIsxU0zVuEl/tBW4KAi3lSq8GDEdQkagdW5z78QPuQt9i4G5veSTHrIWulMjqzMtqC+AgtC+VzyXbekqw0/AAZK4tsHBdi30RSjzk7jj4EXeqbL4NYHovVw35eDG3WCaQxSvNCiV5LOqU2D0kBD+n7Ctx4fzE+7cDNO7FFw0b8HgI2+ok4TbHwyxNE5JAwgUvF7X2yEBh/gJKCrZ+sWXjrw/E5H0DN0uQx9kQzotqzqPoVRoTQcozfZ42eiBz4VwfMfjthwk141aXPWiaOu0I8CJ7W+2H02ASwXV9rHaDIm+iHpOpzgrMA7n8P7pw0AaINHPlBA/4HMKxg0cbVVBRAqpCziwwci+OufiBGv7Vd6sHtk2ZORk7HjEBRsaQQCvYuQ5lpE6sDeIt0pNPCUKiMYUKpm3EwIkE0LBV5LIY81CR28kLlKYDaIaHo54lOMO5cOysQEIzfwzeNv3h2NfWU7c0fRnVCg6jQIrJiayWyzcgPAONy7PPgB8/WbsGRhhEFi2WeYF88Ue9c/EN3Uw9yGTGKnhGAsdS+Ln7gyAPl/9XtlAtFXoBcy/erHLrUQ06bULnEJOUJ+EUkqK6D3iHC6tw6ioQ6pIg3wR7IcXvnlN1DoonZ6RnTKvx4lgMa4hwfZSotPmTtB/l3VHIcG6Eh6PPHe8UeVqJase71NODyqjubFohrY0p5Lx8rLBrNITFuKkRPqF9FeVtdpcvfxsETpHS8LC6eB5aTaRVF3dvVVvW6dqgJQy5PTCi2AgbTXVhtNdPAyiPjMJm6p5yBn5aPXhnvCltlEJWWxXAs6q9bxdOYgTL0Stj3uMLBtcOXtW1Ulm5nQSOtTo5y04a8CtoFJcr0nuvUw1itPAXs94kdCz+8HFdo1y51dOdgz6RSDupUoWGZH81LV7BkxcVId3iS8Apx642vtL9sdyJCSeSHCWUJFAGO70fn1kn1rbRhx2QeYfs0DRvzGN6jn82MPD2TC5yRiwN7roDkf3V4fdst10h/Jrz4o73XDeksjbfwTWkTzBDYvn9HQbZTmwA8IDhKJ3xz1wz7r0QUUpR+nR+DQ4pcQlQsVX+P/wBg6mq9Os2q8idcM4ZL+wd4rz8mK4gBsdNUQlCOpplBewBFuWHdjQFdTzz10KelaEPYu0p3ecTdc7EcrhGhCptU9ArQ0N2ooYhi9WGtVlMBTBC/sKEli1qFlpV5qrQZOKhZL7xWgh0DoOWIMdk2/P8e3JnKYWOK7Q81Eq17Nm7b8mL5Y3t7QKOfpp/JXFO/7LYLm0HxIuJ7UtCYPhTafSX4nVMgkJkLKVCEFI8KJHhCanlXyXxljtzNg9YnToidjQzWWCBAShZhg/ZwpMv61J9lGgdU0GzosTy2PcqpbFgxYGuGswyIOMJIxlMCULan3SrktrLyGuOp/0hL+M3RdTgO2RIdCxjaqlz8V/2l6nhq5E806pf56uWdhAdKQBUrE9VEpvb/Lu+i9D1OfrauTx3XP18/eyY//7TovV+ej2Vb+OFYKgU8m1vXgs3S1CdcndB2ohNABpo8DqIIfsu36gl6uvBulcZ6Lz0G2oAiiDQ8HALh5nF4m+sroT+tTD5HaYLRCfJ06xFTEdI71dZdoc/wbkDxhVsPZ+7IXuoZVu3bUBBBgAq+nAgbLetF8GnxHWJk1+lsa2jTWQc+u0wrTfXJUtOJFIPNGEY+A4QTB+wOlWBq5cIlNku8pqrxJrV6FfcQggYt9LdADFceBLeO0E7gyfWbo0ef649xWvLgbDXAMKY5CE1D0RSIetRyf15bzmUt4IEUQgrBF8vperxLVZgQ718ASfkJfdncch95yDRvJ+isbs+7A+RDA6GN2XxslSJq5kNS36oz84SI+QIZe8yYaMR6l0NOgy2acBOMH6EbCmpfaVJPSPeKdo+v4uPDf0xiGldjP3Ov9CDDyZoFbNu1RejcksTnoLuqQAxlk9BCx1o6VAZIl7RWie1lubAJGff4PXryAKtuykV2L/wiKlPI8J2razzc6S971LPzG2S6ROWHhBnIeWHiaij2e6qAnL/CqfrTbmLw0FkKLCXvR3uni89eK6iGUrPt780bM2K3WEcbpt//DuOz8dStb5LGLaWw+27VfXBMkYiYDrQuEa8+J4pHxSvUJWSvgsAkOFxlMNwXYtkcji1elhACjSB7HDSZKno0hggCIT9zuUfn4hlVFXtuUnJeS2F8x48pL6/L4y+PCdtmuYoSLi9vTXMFzdD9Zmpwhi4/S97M6Y2Am0cLNKP0EqzSPO9vvIcLj7eQjeAekkljwCLNQi4STE4QWs6sG/Ex20VBzZfCSsg7F2opv0MYqbXTc5oFxHIRAixRhz2hDH9qfAvLqvaxkt2XwdHEpD+3rVaW/1GM+rzHhlDRQ8t++Zw89KecxPncmkHRP9ribGjLe1qo4wYThOdWb+f2dbiRu+3uZ3RzofDffEAqFuM/1NoNBC4HJ0bigHQbjvFbb0+nG2nWBZOlduaaBj+VVuDkVPftqdxhdtu0BYvYHqJJuuzh4OMPEfbK8/OnSQHYTBP9sjhp8cx9rT0kJM0ztLMxr48k2Vgvm5I+p/U7oTV1vc+SXOhMf4yCg1cDCrb8AZFDe6cC281cTR6/xH5AP6cEmqoWFPe32RLyiAXNbYD3z9mB+YJUYl/n6g7fO3sacA4NJFlFWImlNRi635cv2lLSfLxDu9SLFs7aki4xdKGCqNq5JvUO89UlHaeLNgnqXpz61Ds4o/nfZUkdw+UrBccaQ/05unf3O2m7+pjSjxlG9k66vGKihPAekHqSRoyB46Cdqet/rj4TOleHZL6L59uX47A1gCu2V9JU7thBHz8uTkGUxKqnbrUwCT3tqAMBENT2lofGVJkT6RM1+ODV2H0jsmfRW3VQYCJ15qCkclelXTZJrrNz5iHsQVzFu6sfbgorSA+XgFbbqKm11MoJCgk/ECl1iHACt5QvLZgIFSfpf3NG04Gei7lAJNG9FL6ZJR9XNxHK5L0CyZFXkg0IZ10lk2NYfcV9KO4Plq1ePXhX4rMMk0aqNnalRKDJOZKtOc6ldG1bq0lw7+2vfHTYvi2l2hRzEQfnxVBYbqppqKzEE44t7OMVHWFoqmJv7MlupwkMhGKWmxMgp8I9C9zOrkKSsRvTlQTEq1ebav/gywm7KlG3v5swAgyz5x5kQYCPX1mZa5Z8svaMZeshCWV+8+eGk9CjLFrfQlE+ac+hkDYxa0IhjTPcnolZC/zKMMQyImnMPzT50Cy3+/GcqfBIq6HiQ3c1jsyUzEWaxTRrgAm7n6cUfT5BrbN/V9q6AkiF8nUBK1CDKav/NG0CL/cJqmq6If0A2nT8ZLObYTl1QYL7YMJVGR6Xh0w0vkXXNnPAohjkJljwx/24AdIC90jc9uMZk56Hh5x+oC6letEuDStAp3KsIqCwuxpB/yzUvXj8BkS8PA91HXNZiwZgBDTCP7o9XEvLLPkk5oQnwtHywaySu1yDc626di64iN26Hy2dm2tTWwIF7bzVtiQO6kOi3s7HEaTwm6Xq933RBrwE+thwDFjttWdqtIPMNm2B/6JIODyTVoCedi78VQlND7eLDeC6stP5Qcjg2kLNP0iHrF3VA/YWoZxJZ/gdICRtjRYYNQDmXKyk50rAhPv+uR1VgV96/5XRqes4khwZnWOr4VvxoB428kwLrV5nxAMQA1pnjIwJMfYPdNO+0NAcS/9hqiXk4JsiK0MvSuC/j2lM71lyddQMC/bKq7F+LbPF0GuXLssTqXJg9g3uC7nIDCuGIwq3hrAMoSRL8H9CeOLpuyA8Qlj8XzPd9sjbY3fkwNSuOVtjcOfPviLnnpKopYW5Nf0VvntYP9dCn7HYRlpHjbLBLmBNOCryuTxiNLdCC84E+Iaoon+BB3SyoNlkPbTYKOJQxSLIn4qKfQgypzLGAMdInkt2Qr60ZJ1aS09RSCjlhSlP/moyIfGqv+ZjXqxmpghxeMDBN1G7NLh3TortZqayjg+bNU07rGruPlkwdBpMo+BXb3HnWDjsaDvZJx+5OttHoeAi99/2UjK2qRRFMaD4ys+13HYjN4uFQSZsV4af4PecuWoQCfruUEZi9mGVy1IQN4T71+KtsUIPjC+jqZcm7K4frT6t7CX0dfn2fBhAXMA9kEkIhXOKBFqjRM4cB2nLC1wiAdFnuRE3tyU0wjuklbEVfIia2xvdrGdsZmNniEa13DMSuE82OQNWRwxtdeOrR0i7IUVOSUr1p5ukSu/p6ERGu71zGTSC6JjZw3m8ZAsOC2AqNtnwTP8bIk9vxPyv1UdcY8yY8C5BmPV3OcdLe5AcA7T2mr+YUjzDOXecYvEzbHmUC8cpLzrnPwGydk5A9UIjYf0ZatH1t1Q6ipgdO92Ygi/rEBuhCx/MLbvbFO/iIWSCOE9RMZCsk390U+4+HhQhMd3NCxIbbk4WO+Iv6dqLtwJnV91nmJech3OR/gRSzJqvze4UFIZIDSQYk+6TpVBkR3hq6UFB9jzQtpjWKQEtI7qDSKG7zhwscpOPTTFeuMfVe6YH7y8n5UBslDQdxX1hXhBUC0w+HDdF9YD+VZ0TPNkTIZRW8T5EmoUlrhyS7Z8VP6ADK45ySkjT3ESwL6xRZxs8bRf74k52gDyZFD5TsgvdVL80/A65Hq0mQFaEIGGTza4H4ZA1i0xH00Zr8oMDNjz+k/x+qGzRLtLvHSGB0tgPoaSGE9MX9OzS4gwHDHqV4wEQDYD17PwoD2dRh4jk9bi3G5gq69bB33a/vHz9GCUIsfqsEzlm/1wI3zEHUss/FAL3YnBjDCnnpGK29hHHXq7jACgF4nwdXWgWoHBnk9iBeXNF0LK0n9mObSlKelSMNxMDBvR0Ljmvl8fGyAOfIulWhWB1RuUQ9IGLzc+mFdwYrLo7RbDX6x3NQQkoLPcnwyPqmKWG5XSTZWkQz9bErktmDeZbQDs3Ws6UsKDdUJ0VAYkop3OtryoIWUB/ZS2y9iLz2vZbXXRjH72OqCZV1ij6/+Amb39TspEritC+m46S2HzPn9ICwN/M1V7z9qanf7Fa8J7LrFw2tEzfLBpae5MznKdZ3LXpsFlmSpTNOyKFQAn6ncjShPtvAdCI2WxoG6SKZz+vzKFkiD8j+pSzFvWQoFMwf8OQDPZB9HlV8oQKti43NR7NZVbwHMusNuN1TQ62L3mI6pv9pIXEgpf1ShjuYbV9qiRLAVgurcCpjbkHbxNXWS01Bo9ScSr9/VT7+VlMXtuVegf6d4mg/tkWX2gB/pUF1urkmCNRqSFJOqHjWE9J1wptdN6Jh56i7qqey4/EqvSI6rNEp8vZ5k0bvneuBqwKQ6AcjsnjbN3g2v+hWNCAgPFqn1kgFfW6YwN+66ATJ6ukcHPkGQQfR075Gz474WLehwu0K3ab2WqSH09IvV9QSYhiuZihrnu7PoAwwgxoLNecUyNfuwmeENfUpx/p1aVG++jxrpIRCRRzBuUStBZ6316YH+MjKPYQAJKcd9TUgrY1wjl7SGyMbh9R1ao2rnFbbddFeYdJdhG+dbJq6/too7xNEBdv1hq90iHjB+1gIY1n3V9CAMCOCt3gZYuClbYznU9nIxaU/EBXaX5ce8xJC9Ds4MRT/AY2yrQeCSxGlOAIGYMHTswNMO6YDOsbs3QOFYBiwCSym3DAVil2tqXayGsyPiKjFj91TMhMLtagiT6PME78qysk1l863E0CMXt/3NFB834R1zd6Wgw/kPUHNzhnAZOLePLWL9R/A2YHjSmdDzTnTukMmJBVba8v2YkRTxe9OItMzvnTBDq8JOeg6CUuqxT5ViP7qjAXJB5epBmh7VqIlWpysTH5zPFZyMOwJ7XgF0IXkAooA3rRl8YWDKnYV6RNTaTJMXkIDD8eVLK60cH6NN4wKPsEe7wdlsY9JlVMiF7bOB/4DpHS6WwmmbdIeYOY3PpCg1M1uSi8C32gCEQIeMKcf2ZTYp+dFsD8g6Y6TpuMAZ7J2680GLjhycwj2yWEqXXO2eL++ITWhpKT5ghel+IeC5MvTGnEOtPVLiCkdq8COJPx9lzGh20qDwRn7CiFMsiViv1azoUgkXBJAz65RniVeYpQgzNOT88VI09WyBp9lyW7/mcHvXLJkHNioDWUPO4BpuDAEcoBL83DpGLyjcip3LauQ62/rE+r4kX9+wCHrnv6i5mMkFzE3n7X0gOOOJMV12bKd8/UImuCTTp+yRPOdD1dIkclcrLHUcSgTVFbLD86gwn6mpr/A6utWHc7H42Blq3uNPmHy5EuM3no8nvmYPdTertjPa/ipODRHf5mPezErXOMN5xPDM2Cwtp6nubA6iEOzoHd/x6ah1FqCSbecYqtVvmiXzgToPH7Ibm9xZfY3nQEGmlSdrxok/rkB7jHYMN9g6zTGDtIJynfrm8unIrBQKyR1v7hguhQqbBoFDzVgPbkWKD+B6KWCnzY+S+aXpeysOlRsmpPb3m5td4LkAUjI+qTw0U2cID/tlXJqc6AuCQPjIKFTVyy8/UGAo60ZmUjPPhPn9QE6oIoFTePVl8nyAP/3ZlveenR8SHzRkr1M8+YMIogxsdgDRUIhtKNGQTNWHsJEXItafryqpjnRWi+nCZyIN3i55o6pJdFJTjS+EPeiYBP36zhD7u0KvV1Ca2YPuieI1et4xh+hJzdVYfE6O7plbJzDczMHYV+yBavAwQiQu/OjlKsdoRrIZYrNrRRy+xvtiojcaAsIuQ5+mLYgLpMXePNCunUCUvuBXmVR1sroZhiTfTVMEyU0RMtJmkvzUMKiUBSwCCn8ziqvTOwxLVWDGbv8sZfGeNbUYVw9MwDIXAEuTtWIdZt/g2EcPKNLIxT/re52flSQ5ja/FBoRG5F6UnRzzRdsvd0fF2Z3xltIIFUQ6sPFS/FxE0W5YSAcvbAsoSAdt9u+c9Yv6gwvtbHtUiRu7yNIhH6YHRoy+kxicYQf34i6k+1j1iFft3fRGDVwqVKvTM6RQIa5rse951cD04qv23sQMwmPtf0IQncRXYB1kBvrem+T0EvTa+bxnFV+H6eAd+SqftflBTsYZkHwbeGFOAd3UbKeOAamuh1yLlvlgdtk0ev95kqBf05x6kfeKgcuU4MwTwh7AvYgKB10hY+f0tRnjdoFsJz6h/06xTVE9Lwkn0mq9SD5OywDTkeTa7TwM1SEa8o7/WZXLMHqi9XZ3t0aP+n5SGGIW4kwSo4NcemetXBdqzKFA2eUKQIuvUkvJAgtPnRjGcAmXF7I72qEoV+1mdgCSd8kUARQ/ejkDFzbLpwWckNqgHzvHjc4nZ2w1Jlh+UvWfIdmOwJvFPv1WLt9Kq+2s0LbPSeCMNB5f+2B2Lz3g1Bp9Mlt3YK8t+boEMyucbXxYW6ECFvCzJR/wSILeYKm0x7ShynQk535qOUlYhkatl0DJRyrFUxQ/zi8P3yHzn/6bfk+KJrIvYf7Uo40is+WYjyt0dN9irf+0wSDWcdX2abFXUefZhtPc9b9mb4y0LDllAMwY++3qxfAfMIPxu3ZeRsVjcCJADv6vxorCxeVQL9sReeyO86QP+p83zAaBZf9l6R+ZVTxVlv9FClY/bT/ciKBVPPVObBwka46parf9RG6DRGbYm51DLb4X3WxymCX4EkgJgDTSHiIZuvTChym1M+jcgYp6DamB/2SgQD9GzQD35Kprwmzg7mJZino2lwg4tpE+6x2yjgMRrcmtDmavp+LG2MDjmv83Mmyiep2jljYDPDXEG2Eqq9nUHA+Vh/ezx73dT0OyUkCGoxGPgV0Y15o7k39mX5s+QSPdm6Z5DwzvIlGhgj23Ck0fseTan7XAHMY3ENzFUT62WVUQ71z1TffvYfOR5GpJP1bqjsziXt/PXPtj7Tf/X8MTAd6tvKG0/tE2cE8Dhxn68miCW3v1NrwYHA9URGnkZHDvQ7toWiMFHXSmEdpELORH8X7sWVQsUEFPira5hjEz2RTt5IC74O+lykXa7tR/VDrjSxVdAwV/tJm7B1dtpMDR1y/E2xOKxPFWxsr1gOkhPWVFQA2o6th8dkfGWBtXFic+JdfC+KvEjbotSSsFm8yxHb8Pt+Ll13xvwa3qaDCQLCGzV8hxZi8wNIXWnOfPDAf3Px0LS9b5YVW9B5VfeictqE0DEfxeB/fsdDxZppEFpD5cwcWuSwjyq+b++o9JfhA3puPVekQKHDSyufFmL+tk6CKZcdt+g/wzDVn86LSGb73AXhXoGOuZxVMOhEkjVJMRZvmH72k9zMh2e5+qpknoDBG4H6uV/CvhccjuxxQJDRDVQE4HY7suwj7ZBIL7SvUN5qabJHokhuHE4b8euq/yQoIHXzMaOt5kvyGh4oW63mT+Bv6RmpZUJBwk2L27qnAsgQgGJdYvg4kR1DvN5vUGuvuJkLQUYZTXSmpq+EoieQWuJXlCbpT8WIZ5UBKw4moW7E3kZlJ/qaYKHz0nRyBzY/vLCqLELmuuxQV7bmcxCQKlwBs/SAwCKhs9jZH9W6TwbOrDa1Xk7pfx26/Ln9nFGNr/Zf9Nnra0+daNPFIb/zrElOosDD9xZAmioBBCmkjNzlV6FMJOaAGe3VXH01VfKEznsvo0YcIII5iWdLYX0J9/odVa4BDJZlrVRcmZ4GW+IsLtLezbavNJSMh8hLjjm9RnyrYHZtrKCMaxUvN0Ku1mXnW5LFLLOaWs9Ia4JFy91IFr6HOIC2LpdLynyHaxhwwT5rlBEjvjlYzDRcsT+RXgB3t4IRYBQ2fuy+tiPIi810Jkuw2ipZY8evsmehvb43eZbefiZc9Feq5gY6ECIiSp/xmmhkhage61+izBF4guIYqiJOtrvKTSI1zLKGHqsx6kwJ3UFaLuBzEaoESoB1aphwMf9dlIKC4lWXLtRwDI98ZNP8lxcXGWy+GbevijQb7o3hxFrDC57su8xI5tiE9zfdJXVhUMo/Iarj5p3P1FaENjEGCRhakz/OGkOGMFcimhg54iaEEaFBhnZRtwdCCzKQPCCFpma21NwX9Q1d28a6QALdtYezf371lCuRPoHT7ptmBRafPQe61WQRv5kNmVcRMnFJ80qpS09R1irQrg0dn4kpLxIdQYrjn/VF9xR936vwmZOP3ioNYsYevlph3SVzFhF5zzzqoeCoPP0gKLiUXRHZG9BfKi95lcPBT/vqdXPdRRMhScVTvzhxqECWHqyL1N/y+jwDOXzRCKzynW6mgC4R2qLdtAGgng4zXngkm2ZQZkH9isjK/H3btEjNrXHrdvD7mGB/qtR22dh4F93ljT8LQn+Jj1C3uej9DjRasGYnV7PnKaUGTyVrty5Fl0WfLa+DcPPVNqrBrWjgQuYH1R1vV7nD5sYVh2b6IHXNnj4P3jp/RtjkNBsBHKTBlyX3pvLCaC3scmqo6vx00LJ8QOhDeRgXxKBGslM/Qvgh7wx/r0S+hy5kVU8voTCH2ATg3vt+wsJWfelJrIxs5Nwv4/bzFV2np97ZfV2OtguGQU3h44QUw2gyQj7nSymM0T4T4aik7mBtp4IaAIvkDSBi/TzBD/m5S1P2VxOR5r1ozX7y7Hwmt7vtE9t3H0rR5b0qEkHDxSxT/7RFz3oCZZpXJsCgqYwH8xPPqx/1eAyC7pKdpltM1KAYV2FARAR/K8LYkYQU3FURjIt2hqW2ALp71Oi0C8OJn2lmgfjSVszmszDnQl9BPthnb7eIlgXcWEIVsTKN0YmUCnVqjsDjoHmv86u/2x/LxZVacAOVrLr8mPTo8Qgq+fFvJBexqk39t3IYUPPJNV0RCUX+vPjjoOsgISRUymgwYC/mnNKjlSeCnfwrhHrlHuNTYh6MxATKY8P7yosUfjLP6edsp5MgAPJ9Nnai/D5gp6Z4mlQIIgSw1J7oxn+aFVEikzhlFJTdymr6JSIpektZclBsAd7quxH5xibwyHWbiBQ84YuOo2D9pK2REXQng7Y+2Cx1Z9vgw6E1Wb8UsJhiRjxMvqMKQj6hK8GgPLpEAj90pO9p1rgmlyPG5ceB6sxxC3zCewxorHR+9IlyXi8a+fycN4Nvf4XW8GL5lxrRAststoUreCUe2c2fpAAUaRX3sR0Cg8WXp1Azl27cqC46FBYZ/vefZKVk7sDgDvlILkeIPkgYJMW7TTh9cLXQ6nEgUms09iw70unzKw4oQTBCIJRGGY/94xtemnwyeCZ1B7p3VsdimT0m/irbrtdJuzWED/Klha0h9BgqFPb07yHrBjkcq9QemwvWj2KiCLFKSHpCfPnmnfPlFVv1A+/C3CnIFNb7OnkxbmTsIqjnabxrkL/SWNFfaOXUve63MU5C3hXvkwfmGjJD9ZvKEIasSgdjP0N6Xa0a4pyNQFvLW8Vvl7s5Juk2mL55yzDf3KUDFvO5C5kd+WP4sJjDOQMbBjVVIKNZZH1sjeIRTVmGMCWAD3bm+izu/m0hUDNgD32mDNFMVwSZoT7bPs4FqpQn1fwhECf6vfqGaUMx9FysOISAStE2aYPcHYcDX0EHgil9ploobulHCRxn8g7Cbr//l3um2Wncfs4E9XRziaBFZlgwmHm6UxRof5SO9r7bka/irRz2hS1F9UcyXEfeBQOhoVJEk5WGiQmQr/ggHmVFqHnv9HvKkPmCGYRNdJjRtdZa+mgUEM7f7QnwKMA6DltNKFn7SIS3ZnGEWGnSmcQDOSjv2igX0VnvfTJWWcmiylhoYyTbYWBN/QFxuL+Eo4UqHAsWFjmXGG8emYeZa6AQk1SGgZKXjnZmH7uBXvptXWz8fYTO2ZTpBEJchkX7x98/3qm2jlu/JRU59RUCEz3km6uXaVXc/hc5261mxmQAnpf61qNgsPq47fs/GwAEs/XDNnJq7jS4a2JEXcj/kh8BNvnivUyerRlOLIJiP/cfpX60d9Qb2zKpN8fADuWrsbGpwQhfRFN+D9OWeoBbXirIgicb1IiM7cEBDFb6I7IWxcDH84y1RWFwjwkJ3ya/OcbIYmEyGtfSziu5dI1ReQeSR4DSAAswMbXdtvCpK3KTXTsRr7J5d6kHxUc7rlabH9EHeVj0idiVmzM/tF+t6Vrfe8+miYRkAUsErDkVCAsAYeLTOO08tuPYrui1FLBWAJDJWXlPR1K8Wpi6BiUrqHcQTyn/u0iEKLQc1aYEn5mxP7botSFrhkqZkJh8CA7uGBu9SH44ZYv/grq1CZUavI7YTLgLE4ZxzJcKPvzjk8dG1yct8UjwB7d1/wCFYI+1youEgs6FTdCTT9K2Qnv4rhHZiHes8UXX4duINM6lE0mtP5sg9icK5u5tpyXV7iGSR9SwwZ4zCfYjlrVsOcKhNpnME6al/VmbHb2xiy25boJCtIbjtVZq8nQroR74QK1ZsuoS+9KYZpvUWF73B8w8s+FQvRlEqz0A6zfMqzGeIFw/iKbCDLVwUIIvjlTgP1+QEGDPNmz2j2ttNF4yyfX+4IiihDRtz1EFSXuEDa0OnxaZhrUS+fbIyxeEpCsw97VlsewA01ZTgFcHmx0PTfKN+7qWhGHndCEP6gY18JU+eVkZGZhMqJGYAWzsMsPkwgIXiMawiihn/OXjAU1tAzAC9hVuphytkL1fp4Tav4vAJbB2YQ2tAJzmziKBi5hS8T06M7ZvL+eyw/fcjS8/6C5qODmL/wbdRX9MPI0QsNZF1wPQ6Hyc7dVWfIWnIlOaZMMcuwc8gnZeSs0JsYUcGyElSigfTt1C7RApTH7xWAINnMgI3MtZTEYFROTdWfpKn/7nyfy3iIViORRfaWfTbe+omFag6nhtWTaF6g3RyANRNTec//Yc1iCQq/lP134InHC93e2Re6n4UJGMHeU++QcxQ71DnVQuPPQFEuIZOqqIZYb+lQ7DlszHVCG40Yq0IpSIUenWaTZvIiv04HcEYv13Y6/p+Doqa+cWE/BtZ/m9PHOPKcoZpjf6ziFaZWkFX5CluyijTZUb1FGilaBxZOXZApW55UqHe/Frh1FzNnqIzMK1BNhN4SRBydhfHRQV3JF98xGUqf7rSD0oJdOUh2VVNwnLBjuCzBflt2sMJLp3M3LNDPxp2IWV2Pk0zl+8JuhZtRzsKLLowGIgVWSntJaqmeNOqZdnp6uHB6X/KEm4nKnPro5dbgitpSaf38i8InlSjTduScHPilSMvqkSgLTB8vCUI6ytlYxpPBWetJJM9HWLh9OLalN8bJLrxAG4Ts9V7KfAtTyD+LNtBVxyC/WEXUlOEgub1q7X9j7SWqdfOzbSWOPOVaNWqHHnZMls4J6i6unyzRY9HKFSBo+ef0r8P+SiYiqsYDbVcATbZWhEh8qFjvaUngNjhqGu7/WR6sn8P+9/eby8+N2CQaheRCjZyqhnQe022zqxFFJ8FijDxsCXUsYYGJzaHnjYW24a0XO8osjmTRuFaAy3Uci8iRvEMvyBuSuWRBmePL0l8lNWC9vSl5mBgN/mbIg+3wz/jY+QrbDy5m+xTCbyoepd+r0YBcW1xblTYSovtvSg08bKMrPr2Fo/yDMR1iXTnhS2b0WufdQtBLoPLsCHJ6K5MTy9mT19iWHLGpD/godxKGq+5uJbSnbxq0zjW0Ai1DZgH86HXUWe75RFm4PcZXyAvAZUGI36wPI+dmKkfeUJmCLu2hlRHQ8b7aZ4JqOxBugXFOvmQ50SyzpGx1xO4Y8nUO38vrkaq3tV12OyRykShZ5mw1zcS2KIfAEe72T9CLH0XdkfrqJeAY1w44ZvuFE+Glx7Me/zskOuRGYv3TUVAbGo/HzJUpqewd5beMiZMpMbyd2rhsNN2B9jIX10cMDady450CZgBPwtGw4dKY58Te6YnG8FihVWd72uwy46pfJNstjtwec2vm2TeuotPsbFzHujAXoHy8Vpm/pBb2QKsD8zRVOOuiPNxcx43fiqlr5/4L4Svkj5Oy6QyEPJtwKtlk0SxnTdCgQX6chsJ3xP6/0ZqLqDDfvfB4vNIcvoRHmU+/caX7P73WYhjyeUSK9olqyUYK29W/ljxgKdXEZGo6q6S9CGRA48s8W6fNqLxed38z6sbZNOG9di7PRBobLWcJRHgjd8s7VdowK/dBM5Z/dk2ccqqXmvQOtHpRJplWmwVEObbOiozwnyN+b+JKkaKu9ETLhk+fUl6i38EuJMBGunCdwgYbKqPubVBQyEVW5/02rh0j4RIOcb0VtwhToFIRJAtk1MSw8XMj5PzqwWC00OOhts4NVF09Fk5hYvxzEJRCCRiR8QJw7UQGXJSLILmBhGqeP0OHZHNlDm4x9KIlHW9GXElS99giBux87wO38gRr7z3+MP0ys8wmWXXPyWEBbYjSf7zdcDPhlULGonC/R6WwkeqSv67ZiHGUW18WK5b6wwk7dQnKuDUQ0v/99O36p3ZiU7XoJRXnljn2XVR2wWQ89FiTH/xt563AvJ5/sXmZaKbRam2XcKmt42TU8eP1ou5qx4Sxb6bMozwqno/2EmcDW2RcA1rvUwo/UNzCWwAAVt0j5PLyiwYmCyfs5ZSwwHi4Zr9eIqkiBgQ/BAiz1bmMNhih4g1AZaj7C1d0P1hGV5HaEjujN71f3gzx5irmbusvQb1gpwBpaP6nYcmrR1QCD4XpvYrsRtN5L/gh8P+XH+WnWmb7DzFTHjrMuwju2aLpvyeIbNDRXoUh6uLfxMgJIAW6N3H6FqhDIu6A5RTL1QfMua5aUmuF493lRq2L5XjpzY5RF8Qm27umhDdffxZRWElNvy0XpN+NQevl+RIYLl6qEPOxdBlfnRaEv1M/UOYzxgcuaYn+g78zPldUaZoaUvG8TieghbGdlK0w4jr2b2YZYqC74MNSvbgL9Twyqmr6VUeWrg8nFien3QbpJDJGOGp/pismeLGRIYdFkRvvxIDuQsCSlTUS+0MyZO2BMw1hwkFeHc6399uFB80gmcsnEB2H4Us0ewBSPxctLYJW1n6Bkd79TwOtLhNGTFfvoIoHhZFrLMgmblfOxIlhThWGZH76RxMLK93Q2QCgjAN7hcJN4xyUM0wINZtrp+86ZjEEjCS0Kv8GqmNv6b0LKQs3vSFmqcRNQof9i6QSNSfV/PGAUllsr0mMoqEql+3J+fFlVgBSmBHZLwgnOif7qZy4j48Gu7Zg678NGdAbzZ993SNOl8m6NiEOHaldVs+LpWxKYdGJmSWu0WC34/WvWBS36gtAlnpnth8DdPYYzgyLLE5cKSdnvClf9AigsgVlnzoi430ek41qXqM0/tD20EFPI9I4r9C+DRUmfxQaZrL3rwu0NHnY9/8xfk2OWJRGhuUwIkQSNZyuy/YW9Zn5Q6HPuXJa2j6s/5Qyp4pVKw7yesxe6MHiQGy0X4ODLbbrt66ybMNGWvyJKKGJZbjYIY8H+bJc+by6oxduAhsw/yDWrpfkbi8bd9Ku79RM/cGDtc+xM9cBECCSgqj/D8YLdYkXcjFryLh/aDjtCMmwpdoAuPqBw82RyfBK9UJJrkP/U2sAnkbjxaMi12coUuT3bvooSqLfEXYpKf6ZbqJR0vHil0egBvWQ4kn4MTZ7uuNoNJSSKUXLKFtbuCdsEXZy/DlkAXbQ7Ym5dOScxWpL/8yoyFRqNRFtePgzE3KJvqQhNNB38lRfMptXsieiML9sEMDyFEn+aF5VJq+egkelCl7QOjHRBIQyBm6N0L/nczM26if3Z9Oq6AJHfroBNsG6ed7MLg2dAk/BkLBjBD0bsKvh2refqtqsjGnUQqpnWGmQBaSnFc9H9rIWqiqa6rg9yqrZNem+eRczciTe9Qkp66fzasZbLAUetvwcwa4SgZQsy0BrZGG0qAoCsIEwn3VJvM/4gmfpx+779JzXhYTfbZlyxxTEGjQuAkgeJ7dtlLDa4J4LDFFtHyxXnUm4cPRCJRd7XJf/pgeBWXfxYaJ1GABXnwharPRDeLuWECr2Vw0Nm09Sa0DwjDWrbWovqDtNVckqdo25b5oUgSPTN7oqMAZ5dYitC1ZlvFi0/449Rph9TJ8u3lQg7JqpgvTWw1OuUYqoeH0vt/0L7CiXrl3vp2zG2QmtAGzoGzXqouMwnGr4p5DMrEpJKI1FydI5Sv8byViUAdGvrDKxqwuOPdjxuigdK/3CDR7klGoT7E2sqaROZ1O9+8BjJ5xHs31GvZ7FO36tpwiuuGxpeAy1IQeqBEcNjhTuf0LwLQGwoC7g+PQrIweCXZ2+6MrmGDKs+QiSV+xO+x/bbmi4SR6CobwmsMr3X+udFpBzAgBixneLOn8CyMxj8wSRygx6cDOzBvAFLvhgYuaMIwWALqww+8dn32lwmEnfjICwhak2r65kXs3WO5kvFNwom0/kIk+cU0DzNqn0SysDuRUbooii+I8YsBoR3A8RPBB/PFBYrn6uBajBlpWh4cEBy7XILhdzplNRPdk0M5UTJ6frTUxcZsYuFlxjmLiO+AibvdxAixnLmwgeXS4Wg22elaaqnqV619c4vwvY5GIc+Q4DifRq8QPMu6lLvGxqPWro9nz5kFW8cMc2PQS8h3W1E8t96mM3Ok1ySpZ4v6ql0XL62GGtvtmhH60Smn144Y9R63NlsX2IVL85weTmYEcBmGHhY9YY7aOGnjxROHL7sUKJz84gSqhlkLIB+MTfOXRrY/5tXX6ARMcK4X+3L8UrtE3uCTZwH7cXXaAE75ue0PoiPYulmjSb0rJX4jjyHOfxAjQ1/hogApIYvSlZliqXLfxwVyrBnm5OGtwyFDdYcggAoJYxNpJgialdj9Xn8rS8gq2VoAaln8KoCu9K6qOCpM8E1mwd3D+DM4TVAbWjGU66S9aXh7dvV6RSh1s8GMyfp6t4CTac5hOXQcHsoP8RmPMfZWcjF5l0jjMNX9WMDxozXHpGyCnMkuhGJdZ16BjyxEQx6FU7f+J48/6MgDDy2FoN9IE6y0ZVQktvveB+x27033G39vvR1/zRkB4Qvu5iw4DS3K64ya4SXbLSXwQy+aeyfVSZ/TicXv7uqq1Ng2EEH/S3yD79fvi17iEIK2EQJxM50GV4BSiFIQHtFoMIaZDno0cp4CIU0nc1jlViq3gAKoT9b4Tgxxba/RNWJDBRoOiAtvI+F6mxEifJHt36RrHAG9yAK4B8GIB6yyqJNYXo3+KqndbXUNgUhpi4b6pnk78shDNbi3Y7IF5OnLplogYYDfJ85a6rNO2HHuFyyQNmkZLR5RmEPOEoBFXZNcg0HxekP+cSITJjIdNMzxMOmV+XTZwOWAAuV0bHwNmSvFQi8e0ZRA8vkBSQrXa2tDuh6Ma2pZGbAGu7YYNsTz4aNeyVnJX/2wJruPNIYIAy6kV7t9yXimwXpkBFYRvxV0xi49aq0Oic1oXLpZldGj031FyMWU7xMAWQo/4NRZP3YM3MyBrS0eMehrBK8BFCNWCndreYOUTnsQL9UkSJKNPQnLlRJMs7efUi56yzcZjDfSsQVv9UijdS4oJ4lLKxiT5IMzKaypZCXlSmV+mvLvrJV2rwwgY2cxEVdJDBVb/ZG73FfrUw+hjeuutglr2/2vXLsnVQdnZzuNIHNkScBJGRv0DgA3mAQ/6wab56PyZUEE78b1ZGmY9uCoOhw7TevU55sa5ir6iDPp4jU9weVIzIEep7wwOUE8qTstmZyGqplzO4GR+Yoo0MVNiyxnnQaFv7u3tPOXGRtxNXY9kcuXMGlCnmjhRNllzbgWZyDNfA9pw78EPdZzpfNqt9eHF6JgnatkqEeYMJitwdKaGlHSjDhBw8DEkazsMGhuAU5lAQl9qpQ6qvz9cSNnlts4gjTCsgPb/YfN+TwIAoWxAy3TIRPdHUlduuzzt1pqTuLHjS4bPMiGq0SS4nBbiVW6ZUlew3OHXKt0YIy9XlRCyIQMYBY9M7yC059GjrWFpL1zqCq9i+ZPFRbncuNXEJgp9yxw309PVw1qeMa66YMZPSzmNz4Z3e9r5guHSDl4J8VSjeMKRIHnQmAFd+fI0QMw1eQ/h0/2xZimjaj+098Aur+eVj3UUb80n9dlqYzJytEqbE2wM2YyW6iYwX8KgIHyXa1lQo4MV6La+KjR38c0A8GxwiXISpKXQnyMCVWiYZyOp/9BL/C9j4f9kdEiHAqrfbR6chOGakmx805KiQKwkmMIzY9GDq7s+FdoonBSdqGNnNxinI6pzPCmGMo88OVyKFTszXKKHw2njNeSOnS0gcxaBJulo5hpmlA/d5yp/fBiBy8l/0wM2HW+bi/FDkd6mBsxEZOBoRYmzsQZZqx25bfnZEZwG1bHS/Vg3Tyl8zEX8udxhU9c523QZydNkwE06XD6pPUP0PCU1wMwXvVEdFNkAOExoskknokw3JB6Y946R2RGVKSoy8UXdIyDcSsxefzTZzD/9zg+rIei+pUZmXXqLgKICi1EN+jM0ILsZcQkrHUbS7suvm0FOEtMcTi80vRLe2RtBYgTVGPgPCG53cp0XYoaIB/BYyyb0ba5SDlh5s/e0bwBqnToKr0crv8FNsJuHONlLiyKykrL7swkqYizvlYYMC3CblE6k15BCDlQ1Sq65O7YmPpZ+4dTmKfY4piW0RETYDjAHSVxM3NehGHhcZikkY/bML4YWiqwmbjKCUItRuTjwfxbzJhVzm22AcNY9nbRL/3xkB1u8NmCKBHL/wVyEdoznsTcZKNE9mxB2X6U7HY3Lr+NP2x1vjQFx3p0Yr9iQtlcxhGzkUmCLWKWzBaKRZOConf/wGTbCxS36mex4DJu7yUerfql7Hn1NfPfV5B5fpk4NF8xnafpEO0RkOorwnjFbaCdkFSV40rVszE3etMxyWBAVLqTUjRdP/g/re2DH7R33d1R463MbUnGGLMrMgCWB4v7HbrFXI0f3QupL3wB52QbtCESU3P1EC46HzccEMKl/xPxLm4KXxeUcIVImxh1OqdMzl7Bgtgi91TDHqurPRiKqpHNusOUTGQR0tELxKoLWpry+dSIKqABwlehCpDPy6r72MubadxdtqhP9/NWnPEYBc/e6UDRSr7FbEeZUyLgkAACWcc9huKxTtJEXt0b81ztwUFy+B4GiN+bn+Z4VpGYwva+c+jivAnRNdnondmVuUeKRb58IBgIXkbQPjXzPCllj5GHlJj++paKVwfjdt/JPdlej4a90fQoh8J/+Fgo0qX2JI4VnaXKjWJWudrkf8SWYsTWXl/TJFKeUUDAxXft8lvL6gsq8KdUmfAZavvBXp9s93FvbtVpl1VA2TQL5AKVJ63PWdwShTC+moP54Hw2jboH8sR7lrq8lD/523NbXk9CCShIDmLE2qNYBWHcgHV2sp+wA1dSoSqmZm43o7b70XTPN0fv+2WHCCj2VTIawEgvXTlDaAE0ooknm3uY+VGsXtrJ+rPqLcwa2GaC0Z9hScXIlFJye9b5oGo2K868GcfPjrZrp9muT+RAbSNfGatozrLd30kjA99te7RUy4DcdUrIXFAd84CqgHI0OBDTHYBHZjSF40h+GcXsHg+9DS+ty0VUJ4yrkiR2z8mw4zVL4K9OqEhPsPXaPEl1DiZ+/2dg8ikjc1joNJf86WDxG4wc9VRPP5HPvdqVBRlezCsNUZX46uDrziDJY25vPnkLFl7PnvgqQ5QAJPxbqghjtEmlWcAVkB9hax04TADKvoPpLOBhVkkXN/ghaobqeXMYBxEVotExAb7IR7IvkNzHlh2Y3Dvhmfo5NxMsmuxOtQgP0PC1BWxV17/2MqqS6WtvLRNT1OEKgvuagH65pmLnyH+4Rps2f1AUauYaBllr74lkp9M37NlYK7exeu7219Bcw35SI2l/4HGTKXiNP/WlLC3Ps8E0mqK2gkTosCUK3KqpPqz0XbyHh/haf54jT66ZcLsBYEBalz6xvgPv+z8ORM652eZEIxtotHiKMQLVJodRTMWPseoWhbScRbRKfQ0ubXBRh24ZIalqeUBuQX01HVkZV2+SNhfw1dZI0GZ13zABDUgd3+MWbnBZq+SiklRC/XgcviRUqLU2k0qkkZktfQwKS6/21SZw+9oRbLc6zoULNQhDo9E2wqY07CaPicVZsWN68B+P4tgGCy4AD5O0zGu+SKM4gFCW4dmm6MYqP3bnaGlPiYYy9jtCmodzSxoWoGRrTipM9jC0R0D9p3eomqY3ODV3WMVhzoB5ZHQEU51AB0kizWu4T3Wt7OT1mSq5LrUxb0xqHrkBlXAM7OOoqL5Drow/23RY18xupCHH0zpLMHVWkkPZ3LpciHlLfhJvDSSIf7RXHMxZvZXUKKK3P2cSDcWdxZF4eim3ID8tKXeamTLC1psTTRTS95dx4R3GC//1iCa/Ibvod66zXkXivRQ34fMEuSNGu+Sn6iHpYffsn7CAM04BEX/UToSuriifU/kQtgniMrcsaCPWQuhEFVYfgX1+cKY4RL3R2xcHD0Vej+2ZZY/DYqr+MMkKR5x5CII38goQsCSqCfzkv7waXnyRlZSU5Sg4QyqXg6FLK/UM3K+NBNBFNuF/Y07shs0L7peUjXLKjTk6jTuSViCmt2hKGKhoEznDNOyk0mvx+TRmaQf/rGW7ogINDQVqmLii9ZHIL5zl8mRF9smtg9+4i7UJHcndLmjI3Ozp85yYKN7Bj00D2M1tuDkXkRgFqWffwehskAoiF8MeA9+JNIrfgomTQUharYo//4swvaEvGg0lSgd8raOrSnMNP2CCQ1xE1WWVUZtCS6fI5hm9uA017BkGkcJ8/hJoYSYr1hTqkMISjbl+h5935r7xSpHPQyxEhHR+7e4A+kwvb0uMg6uluI0rSUJJlb3X2kxqCvSpxfbEkMXbtevJRWK5otLaeiYHIWgvqePWWkNFkLyKuMpvWM0FWCOcvoazAC3HgfjvuhSze5oDS0xaWVrtMLbisz/1xtu4gwW33hgCc152nBjkhNVRgS9blcDk/ahVY0Ge1ABTenUuHWxTs0Uz/FCNfWHuHmaft/6sbEmJJWVc80egz8Tu3LeUEej9Ipn/zaqX7o5BKGsnp/Ng9mv4Dxtn+U3q97MA2ty9L6Ny6F82ce1fNFknbYNFB1BM6taTnjj6PJA4+LtunhkNdnnmLRpi/kjalXCXt5uysz7Xl/yb7VRPF6dXgwBWXMiWWxBfBAacj29VQ7MJgBROk+SdIz0TihRH6P/G19xhiNDv5MPogmKLnZ0PL/Aw2O/dy+cxQT26ai5YGGitvlxXQkYjnVhW2C19YQPMW2kiWobf1LqOCjFCSdKI+1oO+vCe+YYcnZK7XldHGasjB4ksZRqnbPU25h2GNaxMGh7pixLuolUvm5lnUaVxUHO08N4r/9Hhmc5mhlG3oVJAfLeR/hU8n/2oa/DhnZgVZwFFOAgWepuDit57H3AWsydCPZmeBtsoWpxLX5StBx+5leUnnZIvwpVtpCusT013xkFIXv1oi9aNj5kNLAhMwdirYTJrcM4oOmhvigtVVsFFyOWlukgr/Rmdykz+adaTwuYaOLnaEJfhF9aWm4uSgnieH01q8qPY25vaVmx+JleK8vTqGZpdtR+zITWfzGeh79UFn6qWV0WpW4bitgxd6ATlUKkzdCbPnlLkwnqWRDgr55reH5k23nl9CKuK6tvBCDDC/Mc+uDML6Of3msMpGBwqyb4V4YO2+eO18mtBB8A1JO2+eSDLjwUmaWXZAZgQBMYZi3fm1TCNrqViH9uLi7/jv4nicGsl2XQdCLPnYeEM8FvQxg/Mi9lxMFZ5yQnZlLxz+tQ6nOWOwPL535KVozeZMk0Q/SktuXGDfn09is2yGDCjWq4opFxiojqDqPsKF/BfbmsdoFs9p/AcQtmcgBLUWks1w9xDHygDAO9WlVSgKjYOrMTWoUlZSdhvm8JdGwe14db4f4WIwNfqcReFso4WvC74HsKUud5x+/HFLcwLCb8zx/z4kjJYlKMAFE6TCWOU+gEMhtXdjbFmN9GRMsL4nWjZBzpSkP0AkSdXFqigWgKSL/HBF3Z7GuJx1/GWDMlGbDkiQNDjyx1vN88s1lI5chsXATCYI9B2+ihj6ZtisPieaIAvnqtaODZYLIA1F8S9yeqpKb09mMBFyuPeovvzEi27qu00oEOrW27UtJgQUWLij9yskuQZ6+s2OWVHjIMrBhY1Xn+cADmtfR4tA5CPz/9qb6B4f4Z+rYVPeCDsAu0mhFeZaVAbDEUBqycgqxxH+5NdlhHVz0NBjr8XCmqKoJ1upYumjvr5llOyOnp3V4fy6COxKG3hKkanblFl32Kr2/x/03l7moz9BM/z35/CLg97JLklvq1L3RT2xXc0kOI3rkoExK0rmcr+V/8Wy0qd/yaJayN7avOEupiSEeJFOzk1CmjSk3tM3qIN8FReErDGLNnwdqlfDoUkNJ0Izl4TjwPWySJEyCicFmnII/pMa8vhV4yeJgpjUWY53sB0q/amrgfpKJRgC3o9rFQpo6JTlHCjCVUESKaoW/QQZTHx3V4FOVTtaVeF8Z4Z7s8zIghw7Sce1Rp1L950VGCtRO9UHTKOtvxZE91Dzzxl+ykRKDohOQjoMu+SjQvcSYv6ekeBMdi8YS5XNjwfuoMDspMd23KE83ZEFrKROd4TNIoEcec4xw6lAN+jTM1jiPg3sE2E4cIFnjT+ae84x5wBz5SbyDpoS+Ql96dqAGUcrcXmrT43fEdIp6cwbMmbI6+aExKDQRKB5uJmvheIhMad4+m7alU9I2rbI454MBskJ9G7eIeVmvw4dTg4oUNaZ8r2VxfIRqyjZZnNy76nakicbh/xgOCy9xYPlc1KLbk55jajH1cTCtChug4UKZlOPeYgXqQiWdcosvt4wUULzx2T8udyHXLhQcnjgdjGkr8oAyRmWCdwAARMDZGmEcUTJoy2oRhZPcuSEHo8LWTLkHXyzW1E3lYj+SrBD1NAHr4RIsSyZI3lCW5uBFYooLlD9ARqa1hILgt7UEJfZBQVwx8fXuTFc+paipQNdOBW8rBX0UOHyi1st8CCRmm7rPP6KkpEeMEZLngr0n3DDqvxJBPVOVrHUM/xkm6LewnKP5LlZBZu+POSY8mh2//sS4xPAhHSshi7fuTsHHkBoFFl//BY1v6OG5cub2xgbG0xMnERNHLfHIEIyPmN2YD58311NTxmCaGL0o3YbDKnfQw4ujHmh4kg3ZMfG3rzhLNL46TIXJu1Yo334rFw8C2kSksrHmMGA4b0VB6ITpszN3DqbbhjPNI09DV2d8jsSi8WytmMTiQ8RSXHemy+ctHK2LOBowEM4febUMZdYMOixkSrhed1bkv3JgmdFeBXuXJogLlRtUBUbUq7RAEw51o7qk0Skvom8kzLJD+d7efy9Or4TbQEeGUtoqYADxFxGn775rpOR/jotnA7G6FtkfBPbPlLGyqgknBTW4LVjqRlBJKn+iOljrW26EUbOnauwDV2UuTaoOXSl5lUwg/R47KeWxpNjKzHfrLNTagiv2criOA9hBYEHFl1yxb8i91EyZvnbMnSY3WCFd6sikeGNQjvmwLIFF01FToHcjQdVLP0qeEQSDMu5vw5xvp3r8Se572K5cr1e99y4TmW1uQdsu/KmTiadNelPeIVM3SeA0FBoYkRL/y/HC5iTRglB6xtDSBfnGWQSyFM+V5qEvhshMLh3m0GFyuVkZ8PM0E1UUpVXTzoeTu0/SEFemgjFxR41il+5yXPwoSCC9pnRb/d6SfP+Cw9l4zVqQCbaXN8hBLUeeZ/wE3VXwGXjr1VwnlPiqWtg+dZV0BkAYl5PukKFxNiXMimTFEG7lKhQmF3k/cPjudMLZ2+/7sVe1KLKy7qteAWyA1NcSGdxLUk+ayzDImgMTCsjQbPggl7BZ+QZTJZB0JRF+qFGKwwa5w2KPlyN0Xn4lmyY4w581q2usdrL2/ZdxhQsnulyQLpE91K5z7+0pyUsZnDGXvQNA9IOs61cZHQWk02rmvVkJyGIhFvGTfQ/QtmBIQqqdlSl5DocDynANB++r0wewYZ2RS6eQRFLWuhEa4006/kZIn1G09AomO34DeiJkfmfWwV59tEko2lmVQbvc0taWIpI6kcbtZM6amS+IBaghF+ASumkgsqhVqUd9PxKIN60Shuu/D7/w+egEPz4ZCAmRSplK4tqyIqcSmzoGj4itATg6/ZXiceM2x1OCMcyewbaGkPTvEANIF86c3ITBbYfrKWyMkJlFXBOyIx70PR4kxLoTYzPar7JLpkTy5FAKq6WC7IW9D7DSx1SluNwTNC2g+L8Yda4lwFopxx7KnRheaMRY8EkRHISgnXsX/DVnss60y1opYzrJrzCCjXLalH9dru1FDSv5PiQLoUo7OOLIZUPXypTP9UsAYQXgBU7Oskmo7cdtjGkzNhexpxAfkbqmi8TTapVuTGw3p4CLoiTZNyBFHiB+O2UKbvPL9woEF6amrdaklKujGG2gdENG0JnWmehD15TJAKr3zZdbtLqj1DJd+31pAobvuz4P2UT0mZPNfBUI6MGcFilPltOLD9UUeAvudHInLjlSAPOA4wtWGyIKD/vBoXok0DdiIq5V1QT8S17uIxLwyM8992hBJRdVK7kCvBmpeeiXM55iV142Zf1aX8/ITIDqgSn4NzNggDax5bTJ63BoCXx9wCm5OC3c+CxSfT7khFNcrlRW8Po0ixJkUEj2bd6Ej4RcVLs3yQIYdXP4yDWE6amDguAXSUoAqddvR/+1UjEYM7RtasQuiy/YtErrwEK4TPZGqLDqnvGV76rmnBhn7TgJmCU7Zg42Lp0reU9iLibFiKtEXoUkKQ39RrHcpZB/194yHNeF7S0OvwW/FWqDFXgpE3TauNfKHsqNq4eMzbPhArYijquytATJHsSPgXvLR55ehdMnZU+PE4vnAUrAJTqM6fBprelpgFOcCSbKrmonTm2Ef4dTJx6SAq7jPoY+ridRxsZdLgrZKrhE4u/E3OSNSl/5t0aNa95p21nMj9+hSzIRg02uSBE1kKTYv3BHzEWBo5VAkxrjg7GNWnqwhQMWdH0zefdZ6L8nIpbd9Mu8srctzAHXb+CgIu7MrdPVjy8H9pzV4aCD5sTbzGPcXONDYG2Cj9HqgLmF4JUB45paVJRKN+BWj2PiYIbXMlv7Ff8GDBTBEAsHyu8gZbfM/clo3BZzhiU45GotVIwbnOFgUMBYZqONbjKzuq00f3JaQDlTsQTRjwOyW5H00294TrknXXVZaINpLyXkkWEd1m2WtkyYFSpCsndHdWbZraG+SeoBvzljluYKy+0p4qBvsSlcfWKXAReiq0FJXJg1AK9BWWuAbRLtZR7Eq8miwfQZfg3tVFgAkG+En+/4oe1VDAUpmGb8WRxbTwjWtRuESaBVh7oLAiXxr3vZx/RQbyea16swAkhWwgMg/u6+lfKBmAewyO9R8VDEsg4UMF3eN5K2GsuImFTDZIj41xOT9WGgLhuzB+dlM61grt111TZ+QGoJhi5utcKuyqHBbqmaXXskFLriEi8fVwypR1nfiPRyoecwsIjYvV4hSYptssaDiVHBfY8BC14ZKF226J/7NMiiSpW7ZP8LKnd0d47IZz4HaDkghVzXW3sqWVUKtxt54EDiwk37qaVIQg9X407L1tBIN4QIWkEje0yAdaduC0x5pmdlqOrTEv8aavxN0o6/hpWjaZhBGn3W/vjANcDOgQmYEgwTEcLoL1wmN+hAURzi8A1FDSzdczUnQ3fa1MoJdx087sVTopwD6bfhA73beic31/K6pMjTmeDb57hUrXMaz4gjvkvK1ycfnQalZfPesNNkVRjG+xnkbQW8lZIF0QoevlIz96jzK34OWaheIEvvdbDYTJh/wuxNUBDGYhmG6s+htXsMX2ZYw9ota4afafo12s64f7ygxDLQXTtadjeQSv/XZXx4gPUfdlml/WzAFVTYCa1aaqbeGg7p6w+4jYNniuT5G88qtQ3269wgQ1uj0idL3cnZCVzD4MPPjJE+qG56fi9zvhQ4FXlU9NrRvHQ82mCwjDR/sdK2PTPTV0mf5VOYd800ogzxsxys1e+QUIBftW5aopoj8PLDVJPIi8VFiraVvPuOQSc7uO3nooCE/fi1uNI7Z7eRVpxSa5sC2q8IUhw5+ulLo0fPrvY5IlNIXGIjwRoxsuODeOpZAA/5Id+i2BhtIrqqtqSXFeewCsJq2OWjLLGCUKroATx0hjziWYxIR0xy7f1ducaR9T34itFkarz9MqD5Oq7PvfnO7fHszI93Vjpf/jqo1TPsKLzIMMPG8wk4p09fcmvJKf+Es5eZlDzDpXVWyp/x0ZWRuOPeN6F/Jl969/NpJrTR1DUDhb22NaLJVR58dX6NNtSjJeGXUXjf2OAvAolCLIHL+I4OBTkLyhZgztxlzppfdEhkYIxDiu4JT4t0T73DEobHJriFKvaEwViIXvSR40Rc/Wjishvi6srdtboKSIvMn/l6oT9oYLoOovbH/bHpcUXGE9gmcJcDMkgp704EdL8xPhas6n3zl2+/oWo1whjhl0wJKv6xA7jpLOV/AQQ39QLMHwXifenK07dkkKMTzKP/eUUE5Y3c8dFtXukxw/bbwSbiHwgjm/YZ7fzbfU7r6t7EmEEqEgdr7/XvMaecFNy5YUBJ/V3TJkA9FQH/xSu90LDJnIzltB/7gM301kEM1DY+G/Lv/rrfspQtWR7P/jA7vpD/TrWgOwT+72clVkYk5LwzY8bPA/yTiUmAx3oWtaNgLsL5+VXxIqWvjNXIscovtg6R3jBJCv+rw5TzIUobBopDg6v+k0tb45mY+eKMARWeCaDo0wYyQjL12OH4Pbvgsfq0d741/vk38KTpgeifSzSDKQz0Gdyy5KLNq7CVFo9poV340D82/9XoljhbdcoQ8OBhdJ+D18wFG9hDwIjIr14clvYHRAIwKn4YJ6rEGdS7ao/17SyRsJAHIMcrDaY/AYOoYAZX3S0M7THhqQSoUepbGEqUq0GAjM+5fz7KbYa9zCMm6P1qpwNxXUpB1zwffzp1Fwla3qLbWYhT/zetFeEtVXbsPoReuoH9fStIL8X9GW2ZLDowimomBh9D02czY6rb026wES0PL/+htiDkwD9qDZfQ9nOQ4r/ZmUcDlKWCXG96xnhCExEE2BwWvsUMqp7D+3Hy6nBFSi2CeD51mQMd5wyEffaovqnTPoAnRcob4mvAk/8uV+QNvvuI5LzdW1tJRHaNDGRYNmeAJ8VvPCbt5b8UNavY66mrnGfGr2dFYgeJ09tMSj9/WwFA2yjOADBG8DZa9p4/5w86ynEBb8SSD0O0FyY2jxTpGa89aauX3utl0VVl9CAD67biZkiVMYWOjUYjoFNYzDvllJPsP8+UANZtWbzlWO69pvSlnxJbOJEBzIGEhxBaBoKvN+w54jwjUfcvRC+k4MOUT6cftRpF5atZflYe+HFE5cdUc87PZZUqMKVK7pJtACCRhLLSkCHqE2vD0g5ZTLw7VfCkXJ3MSvc2/7tp/7x/tZtiGWT0q2MgDKPK/a0uGxiSx5ZJsQFqYs3ag8X9VnB4M5yjcR8AlBVlgEAPBWnFcGpBWcjjMp/VmVhRjDiw54rpwPGroVw6WX3bTJEQc4GD/D8SyWRy+xmqI22sBQfldUNhscaKqGKjFn+6ujpqAN0JBvkuSXmdBIkG68foWreKpWXoTMu9Do6vasew8ran7HoKB+rzsG/uEg6KOYxPjUgQDw6QTlskLw1r1JfZDP7aLGflC4K6XznaElHiKUKEr5K/8reEGySCoH7+RUpyxDvmglPo/K4C2Aa/8zD4dtFCog5w40qC0pxW35uw1QYbJINRsudmkwgpGxsXR+akaO02loMl0sE3do7E16SFKv6Ccw6BoGlOn+LaPtAca7pzmU61VG00S93jGip4gcUaslKlpGaUlLjDNI6+tZFo52vdw7F9/zOvq4ZpBGGVSYp/WDM1B6r0bpt+NgLRlurIPf0Xmn2XZcrJyQRU1Wq4LKh66fbnZbFyIfz2aJA2csYCfbRaTZn5aBSg5W5Xr0z2hcASQrto7Kjpm/9AXWgwupQa6xPxFv4uKIHttaxnbGsjK2tfOONZ1fUzhSnKL7PI8zJfYXIrK6Gb/AoE+TgyVAWaYJVhiWJhEyzj0c9Q6zwDp5ZL+ltHgcSGz7FTMo5ASWMK82CSCZIua8o+n8TLBhBXdA8F15xHZO9ViDQjdSKjbbCcWCi4H8AHsJF562urXeSbC1NfSeWrdK/fIEsGZ1L+d2bvn7M5S8sANyp6XE4n2tT/l+kQX4xmPLhECoR51VwZfQ2SXf7KVqDq5a393gxc6O5FUFwzV2psYWcGb00QDAnEC7j/NHhduFgTF/3slyGapA4ZhM9cOTcn4rxc5BbWAS9+QASfEA8g1GL9sSeXPq714r8sKZkJs4sCRZ/PhiizMZPSEiN/qhPf71kM90zkfjxjN/JIfU+T/cB2zIAeG8zj1KHV+OTVkqYjs3boguHV4pdeYlct3RFAHKGzX+I6x12L261ANkSiSwKoOS+qNQLBo5sOTwYGvdKyfp57rs440S9JyFDTgqCLGxjpm4aWCyVwRNlyYYqrD0sy9+JmiJ+kEtT7qJXSj/OH8LigQqD4pPqBunglyXr0LAnm8NSzGX3onbk/yrJcWw1aaNgCA6qmsRs6qos//RO0VW/XF4vLPDq5e9exHr4rCqsMdj9xsyRRipW/VAodqNRyHb8MzDbEQoNWNGBuEFITUhL7dKI3Hdq7RNKTYRtIYTvjslXJ9OjbZrWKFUvjr3wqlXILrPwLFFo3ezDsZZWNsrZucM2rfksGdI8LNs4Fh3QaAPUhfMk1h3o3IrlWn/roOpbbX60ap16WhY9BArUOiz81KLNBa1teRNVZfEcJY2Ab4xTT9eRkr5DWlY6vAfJIs3QRRQ7+cjQcYYxaX877hXdGFhVGZnbfZvVnx6npQrwX0GcmbbXXAnasz60lDzQbHdqPbEoIKZRqW66kNWfEPuBLCEWHWEslaEISQhwALfMG3ySGSAYYX+8XhvU79+wZ+zn/gs8RFJ0freizb8wsjWVGmnJsF3oPoXuPWJ5348wxyOq2XUQUDeTHFROEhKHBLUZdxYefQDh4977ssGpoEDJY9xIRt23XWed5ytERR5FCPRfiz7Mdmg4b1q2AXavjc8OB3ggn7n5cGPO6IHcJJhIZ2GfNYy0rW8YyHRoV2TM2z4hRYjxFF3VrF3hLrz+n813bCf8j0HfzTqobnfqn1abmDVF5zEHo70FSVJzqMHVkT+K6+E/83yvlp7+UQ2IgBKxif6WsMJCsN+osmoUwuSOv8GAZVCKsxfsrdmhpRbb+Ip04TUqJphAWn35ga63k0TJKe4a0td1dqzzP5GuduAL46nqz3QIRjbhB7bB62CbfXmesol6g/Lel0CLvZAJUj59n45lfjqrgxzsSGFRU8oR14UWwXze2jCmjcy80xi/8nIrZ37jZwHwKh9dpf9hHuj9JOgVjpbVhciIHSTd9s56OWoMqxP7j3YQlQFIGh6IBSTwvvVluPCXMp6u5rBaPsk4eZR8UiFrLM2GpBtwSlxNsx6ga9mkZCGm9usdMvk6hACkQyPU8BKCSv4my9RsDThJqklurOmPkap+lDrHVraDQdg4gyuzXo9p3sGuzPIv6X3VP9wKFsI4XKHjXo6ugSgBe9hkHJqaAxHGnFJ+Zuq1orrQfbGx51ZRS6nCzSkIIporuC3sPKMZx3IEt9P5zSCeed8WWl/xjnxP7+3WzyjNGWS/uKKK7JcP3GC//+NEiLYgJGfrvS0cZUQ5ThP/BuWz3/AJUnwp0h3GFCq3YotjpOEBYSpOCx/AJan48mBNKG3bbhMoj6SD2hUrin9+ic/8/+IaZMQxk/dvN7gRnlbfOTMvP8mm1+lBdwY09wz0DSyh1S+he6uTAHJ0AG9XysdK3Ad74ZE+61e60AAKdUoMv8J58e5P1A42ulUIKzRAQeGkgO64O/xSGTnpDdruUX7wiv5vL/gLnTnLMc/2yAlN3iRE1Jp5fpdWJCOUmjq1F6bWGMXNWQTs6LUKrB0633mlB/GI5YI8gAr0bJ949VSyxdww9CdzbRw4R0W2T/LFnl/VUlbeQ5Ro6Gx8krhTEE1XQbUW9gfqfWm4sScUNjLwBytL2RVDnVx6MldQGa/7ILwjGDWBjAQd5eqj3H/Kd1wZ+bPCD86iH2Y6ZSZsbdL6d9ZV1vBsIhyfGP1G8GOYz0m/+G/IMro+J95rV6s/wVBw4IYSu9A1fkP/I8xEzddD7eTBhVNNoDzBXoZ9mVhAoT5LLdZTSSzU+hckV9iOZhFtm/MQExJiCUMOHI+D6H6VXkNHKDXtGHxjA5zpW1jTd+yBh20RiyLeC07Ch3h/DoeQ9pcW83iwWxXiBVK9o7jRka8Q9/oHAyxleXQg3y4X+GT00K5HjbJTm7ZNvhsBdKIprl8yMjbEjNeRr9G4n36sfGc5gQxX4yQUXPs+jZ1+BLqIe20tyai8vRIcr6oYhJ6FgymB84AWaXCMS1gXiBdhMUZOs7LDvGYeEWFtzPwgKEFG/ltlbCzCd5DNFl98yQe+xY6jQcGEsZFGe5auwpRr19B+VpDGzfXWgcNSMjiMPzROxvfz09ItfUkSRR85VkSP+WngA+mn6X8tvK1a4B4XCP2mursKgyqoiP5NUf/Vp+fI9ma3AjFf5o8JIF/UGDk270NOOMk8FPnp4g1OXPx924stPDW8bNEuc5ah3mdyLR32wn7w6glCbpZlEKx3nSo1Ax4GrPfhCWfw9KADw4GpmV6SlKKiaTrguIlYxqXPCpZqVfd6G61JE9Z2hp5uUs1dlGSKGP6L9j6Z9perpKM1XqCGd8PtGKW2zA4GcHOSOGsIO/2LQAel3joE47pkVllNdUu/7Nj/6v2VcdjmOy52OeUUjyx9NpWk5f29B8wLhnzacVfRV6ID54unS+vwNvrgy/hhth0UXrN3wH3vrJwr7ojmCqUB+PG0ZjP3w9mX0guR67DN13lRAxw+tofVJWkRTwiqmT/BFw+K+KUQ7FYKwNBaudzjjM6jG/yltRKcYABlXtEl2d5dtC7qfZNsdy7s+Lmp5MKCe9xSroVsQRrjl7h/5aHdULRE/8qWUz1p2ZE2pMUaODERtHFjsBBcOLbj3a3nVFnO5tKXSqYhXuJJsMQlVbW8DZdbqRa3UgYVz1vXK4YCuaORLGr39mvd5iDGj/aLh9UKhSJdycqwC/TlVGTVQmcZFqR15np60bn/H4ofweASV968p1GE/+uzp/nN0efpPGn0R5Xe/gQ9lJH4lm2f1drFliJHOksZycEqskuAKpsYkbLG/dNPeiuwmdDmRykO8tyO23XpT/Rtvle7rrVfj/osStBliYiG83B1hLwH6P1qwELT4MZVCt2HyHNroOS+lfhOu9luWc3E846S0KW2hNEGTNuPhnOUJI5Ivgs7g+XB+M+BEBsPs+X57MhN6wxBBZprP0thrX8MEBobX4NiGVJ7gid7m0/dzbnZcPcNt1CuM+KQfYD2VgjFboBLNKWTdsbBRfq4yYJohF+57NCPO+z025Ia2BeFz3E7WR11gUiIswrBhEVV+W8Sdazp6ETXQVzRd4eq5I/wM0c+CUJqaBJ9j1VrW2kHhr07ZutTNZhkPTXa+blvEU+23wXWi/ZRHYXP0661bsmn/LP26etugYO4s9v5Jc7I5PWEismkdTUMb0otLndNYBY1Ybn0H08PZK++SGh2h9+fLvMjttGMijZOF6ucp6TYgOsni4nagqA+g9S0iFJsCJaAPa62T4078ddg7GIzCwwxFrv3D5397h3V+qcfZD6QZolS0fWEkfSKCKtT/h3FLCFDSXTFTQ0gTBC9qu1O9o0musAt5X9eqBDX3ROjmRzZ01TZgLyhajgWXyokYLE8oIze/padyqKy3f4AdEVamhfxTzU7hIu2fdkGbGD8+q/zII+LIkoRJ/aUZNSvdefhZBmEYb/EO95uPH7XZp3T3NO0jWN4EYSOocHi0JJXUKj2qb0+ax99Fpsr6+UuhRTToVpl7drjI75zppp+jhleiNFWDnPcYWw5nRgyQv6YROyv6c1HJRxiPEAF3ay9X4WjMTYzUP4N7w6NyN1rq8pexCrF/tnheiaDsN7K9tV/NM+g0B6aipfFE1INxXBSLMNRVCVvxmLFVSW701ExJZ2hsxDCz/2mXByxVEMUKQgxVKmbjGViDoCv2Dl2Oxeor8YAaUKWA4pkG4Ie1hT9Gm35aKL1E15lfl0BR451vaGIffD0/recdNgv1gGMIwHVojMlLBKNhnkN2NPB/z2niccsPqkSd85/33mA4vOyi1D8zdhbGIXuo4+bVRJG14+lK5fkadY+V2dwfwCzU0ygen/JvBu+oWagiNp6d19mJo+vSp4Arbazdqo6FMMaGlbUsaoscmUYNa9sL6ZreABQI1jBx4QrgsETk9QoB4OhPUp9tBpSO7bhiTjdUWPNGSQ6z7NBoYFr5Ifvcwzblq0OecELS539QXHW2aQieHqHk5DgfSS5PCOq5q82f9RUVOHYxCuydQkPpTYkhYlAPdFyNJnPAawSewRYnXY/x+h2E1MF2xJKhH12cDCJPY8316cKelItR/IybtPf1PX+WnfVSUjRkBM6sb/gtT8KGTvBOKzg6d1/j/4WE63XuEMcoItPPstYmOEintuDrrUD6alJM7tp0xedT43wRIYgiztRqRLHpmm9QvdrWycT82ElRtQNuBzplrUYxEHW4jvYs1ZYkSN+h1NUznuV0OsvuDwx3owXxjd77fbt9wLTHghsjBmWZMXhV2AbDJArKrlITygqk+4dav7natyyGWjx0sguw1ejuuuC3QjCNOeE7q8BbXBMZBBCS4Adw8JK3IpYHhQ0ZVd9OmmUoIHF70VLqZkMESnMkpD3yQOx9uMedax5Mx24g0HSGKcVtumfYBXcMXi4R+FYVytk3fFwFtmksj17a1hzztS8azOM0jt7kGYm+dVyucfkZlZ7k8Enk1btnQsA4DRXeOCgc/b1PFju2qNVfNRpdo7232+pLGRfVxQf4Lk+grAzRVBLckWeHABlaQ7ppnInvK434RSYYWkjxHz5olW2n7lfUa6anZhlTBmxG8ta7Q2qAXx2daNIT4S+vVN7rFTw6rcv4SGMJ2KlnFQG/sathi0VwKpldgmPGDwAA1lBe+9yOWWeTiLZachCyHX+k7mOGHBVZD4Xg0GJxCkOcpUmJjhJ595GUUAm1fmPkTQP/8PIfvrbr2vUPr8E4mYEUUvOHRv/C/ZX1aimriQ0KRPTrvS6OgMtOwm1Fi5XwTpfF+ujgPRtOgbprjQVD3Ab3JCM7pFAb9/NwYcGo+U/F14xt/zELhXTBlkoB/mxhR0Hnx4BaUBVFsD2x/L9VNnqqymTzjCk3Blpx5vxcYMUecODZIGzHE4M58ZjHHPY4uJFMGdBsSO+wdQQ0m/+kG73ECqHqYHVfyBw1yO8fP+k2kZ/wPNnoY3XXBoMy86bKGJ6qQJIktgxyXDfV2UKF8OCKJq0B7aFnR/g7SYWBWr8bNkVZFC7zWcv5Dfs89sNVeFtB8Sl6u0CzfBld79ivy3AmJCjQznE5F1zTTQ4++UZnOffmZJNI1Q6xFmPJGN4NeULLAFxPaGLt4sF8ce1QNmOrP6VmqbEKn0gvzDBOvqVy0s6pNuByH7/AkTdHm2idkcpchLm08U7a/oYCJOkBk1VJw8UTP7lbllvxiSKsryNXxrTgLA2jj0n8J54amjqSBoNv9ZJlxAxOZKvAl/2wHWNzl8nlmX1iPRcO05/9uqYC83PtsPhw30NjpttRWNa044rza5E7NMZPcRSkv6AS9AUazhQhfhpvABBL91gb1ab8E9M6WHhbC/vJnPMGKHltyHZh5xuq8AaWb7JVB0EKq3fRUQET1a4AKaAFiFDQDLjPnxzU43yNGwv7Bq9H6UCryUTOfu0uqhpzkd/wkicRQq78LxhnRdcMAqBcEQaIyTvHiiX9TfwM/BH6ceTs4GuBRf+VMBzTF9uZm6wgj+48BiPp3OuAoY4OOpeTEN/x3ccNk3Vf2zMYbVEbh+FryH39OPmG4urdjIQZ4D+TaRU5aPi/6+TGfbH7Srbj5iV2GdfksYl/h4vjhLJsfvK6HShj2pLLVP8JHhfOSqWKEUhz0S09TcsMk3559LoMt2SRdei2/sQ3Yn8JdYM34OXfaYeExdyXMbG9PgXC05BQtCJGbidem7+M7xfmlRVUmfClzwEBpuHiTg4ogEkme0QAzuRLrHlEjOr9OoTEsfMUhUUpEIwIRsIm6JLf3wdz92Z7lGu0rI+nIlDcsQT+b6M271dgtHIrhzW57GnRV3coSIAdSWiXJDJGvDXwpB/P7bEX6Q/85wRnYNkVnbr8O69/IZRmOL3r03gtYQmghwJMCmJJIf0wuLQput7BpY9Y08cmJEQARupDccPh+0eHFdg9hpvHiM/tME5EAdnZQiZ/GErQVQ6nyri7e5k8YnFkZdG+3Hx6AXTIO6mrEYLAJ0BNYa+rbqhElLrpeSStxJnX6e4yZmIEA0DS6TOeBVlQplHTk2tq5bxoUodp0pCYlsuV/t9WT7HVbQp3AMwxu0qpLhWP83K4uE60tKPkEawu87zxzQfOlTyTR88NSH8/ekvhF2TtUrhl12LnXaPzrhAFT9HVhnI2GrGVVbTkuEOhMKQbhrPO7D8bPPqzgPssSqDTtD7SrBFZX2cGe/fkbBnKf6vhSkRGfNn7RgXUgNwMOsiE/MeXMYYlNKxtS0qwidwt5dhI2oToW28wWjyTv+4MbrrMnoWBVmiYGqS8Js1W7cjEz63ZkJsbSC/DHP63ENY6cuJMnz0K4gKjOINfBgoNZ+BwNse+Wbe7VQhPBSBeZgxMP5GuIKyHqRgTGiBXSiKojKN2m2vg7mqufgb7mC/AEzivdmTWySC4U1Q09b8PmRZGdHDph2avWVP2zMyP8yMA31mtS73amvHaKhNw39EOX6s4hxvAeS96bGSpdjLuEWOg8CzK5qsUkx5ADOWNQMVq6Vbusdc3wfMi0bLoVISdWKETBL6ydnbkG0IjctVnt8gfcFTNU9plv+xjzBUCrp0LQBQIHMExe0ygvA9zEXGUYFsH5Wg4EQJrouxav9uRuADHVMIdUt1uBgw1Fxqu2GTQYyGvw2cX98eI06OJfVgYQXhfR8HSUkgWGMOAldaKRv/9s+WDsgrDzmG+gw7sjNFfGA0p26JEdv9wwTJOX2s5T52k/5ptaOHfxi5mmKHJRvP9kw/dV+gDmqmtmzUByvoraD/lWfpH9E3bHfQOs9ohRzEAWgmwijwFjoXdj9ZblSBwaeTq03aMg3HJA/MRt6oDOYHq9K6MVVmlDYroI7c9G1SxU2OlZzub7OIzgCGl9L736NJsaIs0/rzlZJGfRAYvneq1kvq4sXF/fBcxidkefippOH3aLx2TGg2sIlWRIvV1ril+h/8JEWCTvJyssxLmJjJJt6kxdTI1n2Ycs5UBECEuirJ3wsOGYwd+yl9hJn4MRedMLJuuPYgQjqyPUVvMhWPK/9wF9etKKP6hFl4+Be2IqLIRWRQY38BtqVwERlChB7UIx4Hobx5dNgSwuAdrSdwKPOyrbd54x8mDXdhUCRFs76XFpzW4zwIzPl976vQMbV9AQgdsYTLF9ja3qaujnh2/8Vvkyn3QcYPp1Qjr0h5fMutG/oKLquxOIFsGSIA6+rYq8cUnDCpn++V5fqklDEkm4UShHUIgeu3D6xmPD7wQmi8Z+sgO2Hg4udc0CjVAkNhCHLCmDIrcR/msNGRRqcDQnAOn4rhyNKIiqp00KUD41njOXxZ/cK33PLsJRPy0o2ZHrmW6W1Bqa4C/sa//oGNi6VfbIJe7yDWnN6Snzruab9LGBapVoy1IJuejU40wMRhsGHa5FkSgDql77BuGZ8aVtucuJf2YQlhT8IDufVKQRQMd7o4K2bcQoXZWz1nrFVrSQJMxqqRYZ/k0AKDb4W1tIyWyyKiSK6O2+bIR8dFUZG1ZpIKHYDDoEGjafvzHaNEIhUONWDpKPhd8IG1IYtDibWvFGtMXy4Ds6MSOaMcqgdEPrvHuxp+/lO3WxVdJjU9r3fNwtTncsWJ8YPk0yojlgpTiBE5+FuH0KhjSsgiBjJtbXYS86a1JqyC6P8shoRjEQFTRbqzGnpHsjbRMkWXrmicvCzuNJibRlSjdO7+KljeaNNjvTHJ1kF6U/AfEXzAaL0G+tasHKBqYrVXWuo/vOLeVmC+kAgrFFmfSPYECS0wSVAm4eKPr7dqeg7RjfzVnNcX8cnaos//KjkkrBIaK4erckw+baVERhqaFAGQThzCQ36TCINnsLi5lDR7G5Ij11APX8F8m0HIotjvSyZgUejb1EpeDkdmrnDJ/f5gTdbwALG3MIJFniF29HrKf4Vhsn5/aiADKiOaJqoTTAgpFI0Qyutx6GfbpwmU8/GEDYnGEynm+Y2rKbRHjfFyX8k1TVdy4Sr2HdwIW21u+Jl5FW///zYiQgQiDn9z35JjgLmzvXjDPA5AynhxWl+q3PE6LPyfL1m6aMsjhO2wqSaJo80JWhYj3G6Mf1r98ib8d6yF+XS9bLp0ivBwWgG5fswrD38AFbrEReB+SLVecXO+51DCuaG2P3KoTqXG2BDk8BK4Efglmx0rM3+GsaF6AaV3eu2ejXQGzHA9PpdhrNjnfA/NxEptmB1rrNDkgrsJ91J5L+OXY5Uoe6saihvaEJvSGtRvshGQH3AuGZlHLqzz+VHXVrS3aEHSn/+EFD3o+3O1Gk6BMtY0CmwX6tzI4in+AbUnpqZvJpIthpjD3IfAguGpeI3YnMcucPG1ZYVMcdF+aq4PFJQGH/XBn2GXO5OjjboVhRsbbYKr542+okij9/F9z7YjGjvkCDwkwP74INYECmJfGe6P/YBZExTf3EzWU1VKoQM7JWm0xyPLDpggJoH0xVioItz5jKZLpA2izA7ejvAbPyAWM1ChE2qWL4C4Bo3RYWFtQctPX0wfJfxDs7u1xcmvYtJP2L6IBP/ABAyHvWzqStUcFsXz/x/BHCs42i4C3pmXoSlCh6n9LWBfSbQKPJWL8NSasb1pH3MFYMiJxNjn1RONxeYZGS4rNWpZExql7y6kJtssHV0sTMQt/caNM6smkq8TM0UvqUuBdsIbSl7QTMjMbdcqxrkVrBwDI9Xon5XQJtLeqP7xscnsjPTCmHEiam3cKuISuM6krz83BB8a8up3/t5J1nUNWY8EdAtNL80GMVUi1MGEmIahVgdSjOS4WCcjSbhXwE++HIPSDH2F+9TkJB/vgOeIViNhovuwp7MAA2nvOvWK6vzbmLABhXV7VsqML+FDQSgXwwnM08+b+9Iip6hO6MMoC9thF2K/ERr3ECL2TCYtVoW0IRp/9YL3+uoH9d3gZKlSt/E366pyOS6IwebV2tp46vhaWdrS2EbaHNCKMrIPE3BmRltE8YenHTVU7/MF/tonfuzFrEel07ly7xdlPwBH0cPtqfbwWEUcuBi1uG1UhbRGaLCOge2AxitQHi/zqZWiou10oN7vgEur5fKuiCTACaazeiN72FmXxYsSl0mfzrgnfke2XVQeDxp/4H86UjyKUWJVFT4LkemxEJiS3ZPqdKb17jj64DGcYGQfbfqOchSH+YOKrkoUl54yMAwn5f6dhuC2jAQ4noATlJdm6et8vaU57kxIYzP21HL0U9bua+5J7Fj5FUW6Zumj5C8cO59nvi8gnSGqFsgpt/7i5SLYVq5lUtNUz5fHSjExxYE0iu7V6hFa4vjUw1MxzRnx3ubBZZ/Z4p+yldkmk0qFrhcLB/FrWEWjW0q+8dX6wgKMcKXiJ8KA7JzqkfzTEywJhkqAJnbmruSDSerrWQXRQ071NCyaXmuBCynx6IQi+jsTTHXqPICkT1LzD7CrTTxb01hH9FFk/QFtF/3gT1jrjujtW8PehuE/qQDaawQ1ntGsjVhNYXiJZgrmvhnwtWTjQRkJHfNHtnpq/054EXAJO905CfWyI+XEQI7UDdmwg5f/2Tla3L7pgq0bkf5TINSE1tCg5zmkCSfUcceF7sh452oEwaIpJZriz+yRWC2a8dUpNNW3u6sNXOy4HSjqMQYzz6PTcvbcQ75+yhQ2NOHfcWxBM6uStc20An/cIG8YuAyowusi5SaqBluZuB+OMkSOUe95N5s5H0JFl1BmmJmoffiK1xB1rAvk7VuhHoqHRJJEpXz22+dUyJaAg1P8Sq/ixzEBCBkekk2h7oKVBWuy+lfRRyCqgVJWa3OiitbDqkqbn9V/AEzlvTqhTXM3VqKPPohqCbA+RWYcG7zmoxuOe7SyxBmVoznscsB4UZI9wiIXrOoUsphy9/Yf82gnY/TvKcE5KJ4boW1qL6zSi5K1mSp+ATBli/qe/o/XsYjNM0eGCBDAvLjFazJYC3bds4iHuEMp7SRdlcirdncr51kvJ5jx1P2U/wIaps/vV37+n7gZxpxXjvbUI5lRf7B0pvqKxQ+CV3fzXyyh15Au6nsQRURozql93zMRw/DsiDHMtGW8Gv+6jIr/cRF/GKWXHN/rsUyBRUp/vXQ8a6VT2nxtnAQw+U22P+iiCAKXDrU7CNbB8DsFIlMi8jPEFPbQP//UC3iIz2X6EjvjLHdddivFN1wMWOO2CpLEy31GqhXkkI2dZirXhJBMqoLLJUJP1a7+9Fpo8+m3OzLQ/xzE3l709QoDZKiWkMhYlzjtCarW3UrRaFF049RXFGSj2vRBCftF5rWDeqYTcTVgWNsm8/bA3NS3orhAzj+Pprk0WLrckZ9dGN74RUSyTDFPjo7NbfyZm3xl3PRC0QI9NJAYwcMz6xroN6DzFRc6MLwsRiaJi0tgthCPFhwDls328Z0AGB1C9TzItK4Wl1zcE1HAGy05eyJKuXI4RiGfVVLazXOMXSi9Myaa92Xo1maG393zY528jqbsO1BOvgGSo7r0ejocLBkPyphuGVwkHr1s/VLYpQ/jKiSOHcJzZ8Gq/BrE/hKt5AjHs9pU/jcxvdLm6HA6fBQpX6cWSzufPDMv7X8S6svqwFbGyLxSEAmslwkJtEwE06gMeicZZDc2cyLHfzi/L4Gm5nrR+3HoV43mTHxq2fJZD1S/yL6V4iv2UtG2A4zEw2E0W1xBPOsb6KsuSCOgMuWBAJREXrs1G6jwAbMRyTAdwDdBx/18CvlWA/LDovQY3llouyoR97KhAQKlLmF2S/1rBedbChGoEQt3spcxdqk/mQFV0q96MDD/tTsk0gWbxO9NdTzMfvr6a6vzknnouAV4M6Deqo3TAfcrJZNU1t+DMdiaa85laAt3njxvHdeQSdI8Jt6GOfLPlwqd1SqIZM0GdioAauYDzLrE4jRpoGID6b5ZgJoHDJN7uz1QyQLGPUpyQnWOjJjq7addBAO6QAjR9aJRdYfP8E8vSdzFpbmgH8n/tYnULvMi0I3G2bYc2w2vS6ZI2U/2DCyLtPETn9xUFHtc8w0d2YMthziNwjkkVBLR+sn/qGi1IDsZkTxA9uoePq8AQRetG54axq8hAf9xfEjaQ1FMD1pX7dpKKmfi8SW/x9r8wfz8f4qER2uJ9Q6NDH+2WB/WXnVC9xbmio7c6GYAzfABXS2v8mThtylqupFka0BZbkqIvF7Lq2LeCzaKDLTJdO0GYpa2y4ktkelQxMrivQSX1aJrs+Xxq2mCGAeN3o4ly8xku7WK2/vIeXBXyIuzM0aDnIeZod1l4SJSOO87LCx5kufi76ZhxvpynF7Bjd65F8k928W0sZ4g18wJdVZKCojDBg47l++/PbdV1wCma9WEkmrihZUaaRqGEOMj9Px930vHdCuxnqv+N9OpjcsEFo9d+nosHZBOjYcQsvA4LJPriOqlnPZdsd9OMcpCNNVC3PoPdypfrf9TEngr9NZqkfy/NBOPyvFb+w/+5MeLQoJLCd49q77xjUMAatZs8i/IrAV1A/ntafH+UUz2pEM6CGyleKjA6XGJHnkkqtdKQ06z5lSH5FFYJnnwcmXi8/6O98A9CkIH1L0jH7OvuISs50rrwPPKHaJ6n6o33ZYt97YOctBTbEUd7lMr+0H6qGg1YiQJwewxTCPUcmH3nAv040w/AW6FUA/PD5qrd/NZkYnvIlmqM49a1iT46E6+PLlKiOGVaIUUW30QTNcYVrTrIcQnvsrfPlS/SrXQMPRw3Pt5mXw5sQ14Q7gqE+6oa0HwAjMaUfe1oKUsPO9k6OqHHfXYqQMCLgQRkGh3IuZ23i+C1htJ8FnJvb9aKNmTlIGuocWHvL351KcVMfTbjLixRQpQnP7O6tpBlUH21dzxXgAdBdQtEhkgg0d6QmFpsPeJF178OrmlnVL6ApnmrfjyvvD9gJzPVFX1bsz0yXpWKsSq+xm6h6RrcOZP/mVuJ/WTJWg4UsV+zc9U8ki7ZTvLQ76PkRXMHPH7922f9R7ag6rwg5ai2pOqQ/HRhjDb6Ki7m681oD+uZbyDIXFbiFjySBQtcuCbKxX3L6+fPCaPvLlyC3QbH7D5IDC9LIx0LUnlET/Idfq8HkvT8E4Sx/BgFns65TxV5Jof0QoAhekuWZPub8BWps3lqc5+TZG+3PKx/a6RbxGNvKiBG6QTDr4xoBZVbvBhW6HI5VFmQ3KoY7sz9WSyGLy2jikSk3p7f6b1qQ+LqBU9e11nyRb6RNy+Q8UvVowp+VCw6GDKiG7zo8jgEjTH8J+rEQOHPu0nzjcu/K/DHfmgMfAyoyfg7X9YHxLHC8wXB4YhZNipi9U+AO5wHfDMao4kI+YxcJXkx+z77cNWJIBeWHJg6W7/ev8CwFvfA1dnFFMy5gdpVnA51BIWjZ8YpuiTtETxCAzicr2qKCrlEgopbjAIaX6X3xF7WYqVGEriY3Sx9qYR47RQolCyf49GgZHfs/SCpf4U3EKus7Mjv6It8Pt8+KX5fAg8z6qR90P6GFluk1qNy1BzkwHZpYnlLPJR73JXB2Wit3Jl7Bx78d4oJIfN/tedQvFMzluXRFpqOJlcuHFKcb2zi78WJ22vKcbC5CaFPdp4iVcMWzKLOeGw46zrXzGDlYytumygh6kjEg5RaElyib+CqCvqFUQ2gZl+joUDQPemvstuSwulxWljbXJ+gHNnwDaJWNGrQiaIU0HKZCK7d8HmQmFazJMXcNa7eK+xHUMYR4SFOuRvuoxjnDMngH9SZNbFWnmRROiWHZVsSNGDIpjZQcqqH4NLCXHpbOu5MJVMv1iMyfme0JTpFQ4HzvEHRITJp/UTX1e6+c1V9leZCFv5f0NE9Cuy9vR9Zg+kxm6Fn7E423eqs6YYpIh5PTG4qgCpW/fRYSsEZA9oRe5K37JOwtwyQ7yUrBBkDGdC523BQjZhWC+FxEESvfj54ctNxbHKhyRwmJu/XWno+uaGeWaiXZesEDcN8aZb/aa/ahWZZZts6uBEIH/5B55hFLT6IabtZoM42zLkqYaqjFEd7c/9nMCQ5P1jwWUyhey6bG/+0Gb5ZeSrZdh40MXNL8XsiIATaWlFzo4ot+YoRDfIrdFjLkkIGKZq4/z4og+qVZ7QOFd1V0xgpih9bdpCMD/2k94DFjMoxTLeNVD5niIawQTKPYIpWZEKOt7gqnL+Ce0dr5NiIkTdPdc5Wxwp+UsyBpfzkjKWNIlCo4iAFjXCL6aiB7jPvj4ydiymHCitfndVwLzJ5Iyw+Lkz3ykyssz+joc0Sem4Q4PbcZc/uuPT7ByQ40tJ57jr0dlJM1fhAFFDmIljhA9oKJAmy4giApqXcgVL9MxR46BQGqLsPvuQOEzyca+mPvvr/w8gaCkcpm6KN1oX1uBmDfX48KBSO0bHIMLFchXitUuK+md3d/4P2jk69J7WS3bKdlZwJuXt91h+DHQSM8c+L+WdNYDOZG5+zM/vn6JdhOUDIWg4/E8/AlGsebFPn/820oX5Fc18i5lCo1nbHxagK7WV0pBF/hwIKFO2mpx+PZYbGuTqflAbL4TrbbSLw1QUINbwDBdbsN3EBMi3j2k+F3OggGWZX/xQDPvLZrIgW45hBN6QO2mzrjGvkSFrps/yeDjj6w6CMl7RJa10ifIYY1pCtFfm16oCVAYu8GTvhK/rSe4dNQH6WLNU8E3CHKVzE7DXdSjpHTGIdvFPHis3Zd9JrZYhuP8DdQufd4Dmc60maEj+RTKDmRPLaeiToRM70AvdgWcyj3Oeb4hltPwlBHNXqmkS0MtxaSmZABaw+0aGBzyxC+0X3LRncaKnlfvImrd6BxhMsU6ZQJ1nX9jerbVRweLI5LUV78nOu96mrQGGwdtlq4ZOCjdEdIRX9JBFyP7ODfwgjW9Ha/SlDxuMO96fWRkDWxS2XL2PiXe26nRd1VJMqiNFLHS7we9xO39KC3nly5aYfwm0SKqjB7DC7WZ4K4E7bK/qMyKjwUzdp7OqrWwVwEGFJjHH/OP6gEX7nGq1CB1tbpLY4sKyPR+vd5W57GIhWc4mCXATOcgQYE7h5yx2DkcL0A1ncrbkx2b9H5XHJVuGWvp2gk37latad54uNJfKeW46hm0GQHkmqs3Fg2pGiLeQ2M/RZFZ8BPmCisbmu+CIrYj0mmlZ7p9sS2yyZd1E/HvsKn42BpFRTfeRKbohkLxeaw5LzPTf7tAmfgzB3qYXfUvQL24op1+EoEX7OOtqOlutQM/9g9icgJvOJepOmjX+MnL5RvntiEE82gxCEYS7WrD6WByyU8d7phQ0IZUZABDldaLA7eLqpXT33y3tHFK+SPivL140V/n8Otrg8X6ZRdciifdV3yY8dviPQmBwtveRynm6CnPOh9oMWyjDcM2hiQ6tymL8+NMMhtjCo1sUZGkf2FBtyqmGYTH+NNE14PIbUtdVb43wlnfDTsA3K5VX1r5SHn5tgz1VB2nFGiEATzq2Hug9rqYvuOA4nm13GbHeldU6lkBzJubVFvVhz7nVR8IU/GX9xDZMjEjrPjHXXOWia6Vkk+HWGZCEqrqvE5WDtAVlPqUisxLlTr6q4cvVL4bDR5bZer4lncNSqAv6aJ6FnfwIjwWvsV0kLDXHFsU0WLRF0VgbeBlEatHywl5j0i1pG+ZFxFSwc6bE3EtpXnCnrc3qBIyM5Q3V+NgeraufQIiFPE3Otcxm1ozTXRzS+IDf8M2FOT0S09sKngdx68kNhb1bxNcLy2QA/xPuQFYcXsAJK9eSIKEesV0n4w9CywC1Qcmh/5HkyPmO8eQLqnGgztNEvVwVN7J+fxGQbxV1Ce3xD4lgJV4zJWy/wh04v97V7mT668Xqw6QhWFcXNPujoI6r+cnurIhpi1UuLcESrSw1IjQo0WjUkRx+ISsiLJZmfQTE5KUDaFGUIcKUSl20d+nIsi7ZZ3uakPN8VFMYUNj+qiOhLvWqCUQCwE/L8B0atKWX+LvQuoy3ZeDeZKWw1LsWYeWmrda3vvhxFh48+3KXG9FPor9q5CiwHbIK07D6pgUb8HxFBc66h1z2fw8FGYGOSuSONeUZJYxUJNwPbhKrpXmMB5oFmCjf9B0nz6H8x2Kf+DNwFWHNejolSUCw2WE5ITqJMOnMVYp//Mow4ydBF8eKAwGihr9+SdBgR0UFdIQ8yB9tXlDj195oU1LTzq+H+mLB/vCPQBY+DztuOOAEqI9Xn0D4PLDn2Rwx27Mn0aPfkoB35L5kCTkC4PfCtFNBc8+trOeOlHqHfVLP889ptWkpuAHMV+ijPJ4BpgsvM7vp00TUnimgY9BbwfwIJyFP09aPURuEPwNHdwlg2iqqjr3rStulDHsZ3ymWBe5MfC/+0AnIrFmgNoG6ezPvY3C0h8wmEhZUxet+yhwny9D9MZgyLBMA1MgmmcDQJvHgJ2bI5EIUXOL+sE1VGg1qYp7o4XiqloRc1zML+hhmlUOHa/ZGD/f1QwLwQZmlkQSvF69NTDOjwp0pxpszyNm6EnTtZvcBZHbUOZ6Mbw3rEmzZSrt4OWJOdFe2JfN5MvaTWKb8uEVxs/jCVjCKGjSTc+RO5HDDwxCYJ6J6IltrAzSNmiTAb7v26i3+SNkdu1pGheQLalaijcTADLSomt+swNLPtwNjLnmJFQ6MdyL/AoFfe87FHgJYLDkvVN2dPh2oin68kgLzp9rC83vQAInSw3KW8Y4j1TZKh0v/81Sk2lE9RsLfBEROZI+ehxy+fUpJ1DgURhGfioWZK+8xk1Jayow9vi5E+tkWe8QH4XOBq5hsKKvOqlj1jN1+FuM6i8pVQVw0EoUxv/wgiAoWT7/WWJjQxAHjxgNCo9BVbsOuNYNgcrdMHIg9V+bZFEQSXeyqNL9u4n8ydLPAjtHpVhdpRuJLgFOYyIhJR2P4U/jYBp0IGkmeR+iIA/CjZKmiZDTOG7YASu5MNaYfBTcfYIaRVg+ERANIXyrTK2zrSTduK1szS4yWsESbj8bWA3Pd7d85egmH0WllDLK9Afh/R39s0ip9RZFuN6uFnfY0Uyn16EN1slsfDbgONfMFYvMvQkBUzoUNt3vS9W5Xr7TqQJ4T7sqya9YBdL67odllYwNXidvYG1zRyFWIeOtWfQWWmaQQqD4UpAHPUHdF8n4rC0sUNoARw3vdIUNNvq7VVDDRL46MrzW8S1t0OKmUEdc2xDMV8CKmr8WCq1fromSM6dbxnSthvjxg5cw30tUGtOm/3jpe3UevvycZYn96cus6pOjmorOWHWHIAPAkdYK8xGJymkJck2PKWLEgUefQMz03XKwgdSZUM2VPSpTNpAq0UpKE0F+R0S7zN9LccyIZBC++8aDNTlst611QnuqsiCQ95lWzpg0pAxZaQvCoZ8cGXSI1LxGaPCHrqd399mJmgomp2lqXZ/rDZCeDlQegKx/i4axqGPYqCQ29x4h621LYtiakttiK/untlr2j9PzDNd8X/u+V76+KrwbpfpYKJugj+2oJSZehQ6KUazoaATqHBy5KIgymN+zqTKn0EQU7yNEDMj4e4gABdDH/aUxQtBH1g4zIkneVAhD2uYVOaLa7jy+SKbxNZcO0IyVHcn1TRSRjtS/2q7VgIfTbvkEHjoLvwoBHYK9OSulnhDjLJVhCK5f9o9pjWE6JhHnmvQ4jufreFYW0yE79s93HvVYOv2ScA25dXKuvYQ1agsrcLglUFzZ1G6AL1L5mnJwuw4A7DJfVsrpRXLFXPr2Dhor0XMBICWiLRg6WnldrmtuYvC7KJuOneJMRnqtJmXtl2vtah7kxKIbytO/yvck5DN15xXSqzN9OYpGXNpvWs3PfhPg6dyu86gNVtLDT+TUilXgFWNFFdG8ec3Nfg/PkqR3phx2gNCsZwx7QB3Uj7VcOou6ALtu6u3lWu+dxTWUaPXrbUeBteGz59eH1rKqcEu9PfnZWJ+zUHzzZw97ntT7LG/mdaXDfTGQUC2Tui5wCdr5787BApkm8y9BtUvsJX0mPaddxW9N9LQEHS9ThAume0tHehfMLKVy15+3Agz/yyBz8QdWnaK3Tkfa7LugVaKbGkgTJ4kaYed9z0YHwASxK+WiY48Triosj2Xzh5+nfB8IZTOMy+dWh9QY/8gsVlcg8WvxQ81NGbPEmYpY23FHnAWpBfi/gp+f0hKDLiT1hK8+X3l8Ewzf87cmERuvEg7Xd+OsknDzAd8kItYN3pQe0NRSi+HnAj1WOmBGL5LV/qT+94BGIu5nwz1y9B2emvVSpQSsocf6DZ60DYtsVAzkOvGiBPvB8IKS4SD2yL0aTqEFXfWo4bSdcZL9CXAluOgKk5OoZ/8nryz7G6abgD18v5lDuOq0eLjTuY9uxr4P2oYqaqaHQtLs3pJUFvZ4gAI3drfDvolmMu4OgML5M6H8uLOwHwYtMEoNSm7qE+y4jUz6Yip6SgjtxDT9NhHOWqHi8nIsUGVVEUN8EuKO7+yTDXrpfk84QbGRA1DrTOi5Sioj+PnnGrIOEROih9UBXfH0XuW31nKdSJ7JB+UPU3TC3TfBPMeGuQrmix6h8lBql/L9VwHIkMciZMmbiyYomWmiwEC2t5IhaaZA0Z0EBWy7c46mrSZYakTYoTXqcmMG1udUpM90f2E882452hOMxpX1KIx3+34FxGWXyEKWR/OlVMk9nDqFGHKHXegCwTKabFzMUyIVIyAXqi8fhEdXkn6gPPNTf2Gd/yiwYdJO/kl7clypyxk4DgkiiMVNCn4l3SSOiN03O2BZkTkdrBHKkSFYqwxBZ2HAM7uuovSRW8f76e5hQTA4tYjH4AOZm6gZ0HVduCDhZX/1mstMAnliuK3gXLOa9e6W6gQWbeE4/HxHcHYtbGG+Hqt26Gso9+1+XBUEqrc6wwW9yNKzwJ1atXrwqhJJHk+V1rX9MfIvB4A9x6uFhm2pjOy6H4ljNAJb+XPQ9NhaHT0phqeSzTOieeAysdNGmc59c463B0BsYX2qRMuUuTu0qOcQiRDvvRiO81oMDjztmRRFcomn+7F43Pu8KK1p7UkMXbKr0CQjI7T64h1fcAWFKVRvrxigWEkvYmO9n3x05bm8PzwbHTtWnnithSiTQZiN09m80epOhMKwGA1VgWr2jFyPeAnXK1MmOHIivRUbTi8EvJYNo1nY4fDF/F7oFqHdcyICoF4veX8QqmXchnYSDn5yjikES2dybkp9NN33mYtXxdg+PtzIj0wODHWEEBz3xzbFdzM+9I/GAPma0vmLqF1QswScbx9MRdjlWOF7x1BLfcS8sSJyH/AGxcggWralzuOcfr+ochTTSkAFkwfAeV6cUmm4/pqSdm9q1ngQ20e+apLHpPwLj8ATUc+ioDNlgvRL6Qov4mvGv3uxKftf+Ah4KsOhmOofN0aizFPGa+wqq+DJ6R1Yx4ks8iaovc11bB4HxYsAalu9n90N3tTBNirxyVezTbQxj8gtxQFlindOY0k/idxEiRpXOH+BbJ18b69+WXbPKG2ddaNr5WuRg1t+3acKej3MVEEQvqnMKAlMpdWPTUrP2Q0JHMGzGU3LFuxOLT0e3IAXkOz1iUbx9MJ3/tXjfzG1JfuppCJHZzmeKz3yhbI9a9WHLhB1yt7/tFJSFuH1cG9ISDWVTwZnnSBx+2PW0J/LWRLdjF5coTIgPEQH7m/dxtP6UG13LrqubfDNcGyo5o3wYezFlF5f/y085HviimXlnAGOGY/2SS+PsKuPC0avLYuVJzXE2fQH4Wz1H6dZQcBSLwmD52ygDfFOOE6dCAwW/zh3vC4EoHfjUKWxNNIJcljPH1+JxGCrNJhIgL2PaQFz78XJ/xxtc2BbTJpAr3X8lyyrp40MGcaXdq1h6bgYAZNkymExYY5IPMy4aTDM5x+C1q/PqnHT9xuFWUZ4yRw7FVekqfmgrhdYOQpUfRPBmxJ9c8KKPz63qrYCZcZToNkAko30H5eppbn4T9/Ly2FPlU1V6Sft8NriPm4xK4LKyL+T26zhRaouygsyFDRzch/78s+sewyFFndpLW142/YnmmGfw2kN8gtQVOzOd/Nu11aOJVp4ds+iBpQ9nN7p/vIWS/DO0+UbsofYlnLBzWKBG/FNFPrCUwMPHwAof4+O1Ahn7MAZIwlD5cyh/PwxhvR5cvFb4486UIRnj/t2lVl2zf8FaIBYCUA8LqIo2DJtlnjprHSDWYpnCl898+DduDjlWasXSf3PIQNwTnPOFf4tTDQdPJh6C7/aRbgFQAijExl0r4hem5/jIT5BwJlQFtoNagJtihQOzu5B8LjktO/VRnxq4jtFSOFSMy1pg41ErGK/Ugl3MptrzRY0+dU0M5tIMYlrITrdBL6HoZGhXhsJMCAupk991nzY2AfwSAoiL5gbegVT+TnwaDJJ6si7AQnQ3y88OaYoCYs6H9AY2H2Yz75PSoLQFaKmia8I6TWv7sPZ96I8wM5G3B0hChKYHAfJ7xYXo7wSQtbxl5nT+glis2cZMcFQVOnyGwQCdmLdhiwV9/56ngbtJHXVk2Yqoh2cMCo5rJyxTnO/AjdZWYmGd6JxvnfrXxWDq//zmf8f4VIRFfHQspn8IJ78SgQ8E9fzlZogOn7cDumE/oqbQhwDoXTMqWENoBXzWe4eJpDCvLaIjeydghjrDJVvSRTrjQVaILFX9Pq2WAUNw2QCBHQDs+MgcvKyw5LU+JCiOGRwhGnPhgxG/ZjZ5xDgfeFjYS2jxanekJLkEu2HSyBrP0mxTDen+ImPT9aafAlutHQZrt+M/aMS5P3+gaoPyc2R2PI17iiTceOu+NwD6cLayH0okAS+EN2dEzMo/nZs0skRIrGribLnZzMYVDoYBnvMmfc4+CbpyXZtTZd6RRatLRuXLAxS/ccKG2Zw4R7JtbNODPq82MPt4KcxbYILGUTcvMSPHAs7o7Bs4rrYgmQKzklfiWEetm80PHT+fud0P7CGq/2TxBdbd8pNsw32/XsfXSXfw4FsfYwNm32VxPgqFlte21qgHzSNqMFIfKsJm1zTiYmGC/oF5VUum4QczysoxCivxJQgiAKbe4kzCUdWWEIYzUeQhoCdCo6G7Jfs/efkn7wZoW30lhnCy9aNv5AoydXiXVwAtPgmV6wOTjyKKeW6ESapOfi3wM7YitFGNPuSKBUvQXHRTdk7/qKJsZTVORK72NIp8y15BwMy1ZkLN9RfiR1Hd5O0Qblsaf3PVhdwLGAFesO2IsRZTn2r5xbw5ooL4IwAYDklRUld738Lq0g98j+PBdOtEaXdNe9liZlg1G9W4V+OozJQHtta+xqOcGN9k60agRBh7c9NdyDeJdsizg0NLMNR1ehUYXntBMqJR4+PDNwe5LLRwHiYaxNq7cgS3y/hUuTtmKUi3wXVTWPTKbPU+tlmtP1bQ/VpvFl/FEZr6qR6IQE32XawMeL3dDQt7LGcz2xUV/gewlIXLaVdhmD6cukkQqqqfWQme5zR+ECb8khvtC7YH9jxAA9lBdX+ZsfpJEfFocO2zNhQz0KdtW0O2DLsPAb53dnSNQuUWj1o24Argqc0N34wOl3IGEeJZL1FT/BayVEYsBQRuTZF0+FaTrVcGKDNP91fxmMlIuK+ErKEZshOpiaHaYcFvVw5FxDiWkpE7b/VFJq52MvNncBhfDJMdH+X4n45g/RrKQmYekUjQDd3I3E4dzyNUU24VqewQQLIj2iRBN1iVSlxEvaJEIijJmobb55DMqflLjBjo1yConAXO4gW58HzlJx7oHSndsgEFJrnkFN3lElXmLgECnwgVJaSH7NrR2k7YK0+VTGiwPwlyQ+rnYho4jAHYskjEKfVpeHB4wVQys5NbBZAAmROqnPuOFqkLGoEKdRvhcpH9V/yqFuMZ+25+M6JD8SW276QQWJWdqGfUmFcaFNEbvCBuZz1TC/JdkQ/uu/Mx5j7Bpk1ImCh1wLLLeuyTj/j210+RxM9Wr6zEgLjk4nlOwZzKWDgdaqRPvDbiZ3iZOgzRNhrIHoC/neu7vbK2BZBB7QcLO3IUya6yOSAz+QOQh6RQa5atu0MVTdNDdY+fUnt3Nwr8Q8CIBrw7azVwzDYmIhXsDHenGB+JtD9flZ3+U3ZuCqjdb+X44Bqp8aJ6FcDbwNGMbOuaL2XEGkPO99u6JkkMNLCr7mYQHG+yCNNWdjFIocKco69nzPnwVpdzZ/g6sY4MwB9VQ+Dg/wn4jEONU1IOOtH4wNax7pog+Jcg4CJBBIrHgZESbRL/15kY7nmjnHCg6EKeSYSuRJpODMhDfVc2W64BHbHF8Gs4FMzgVPck+pdhTT9nNudggBgDPfMCJ3xwvmt3JLx9pLFKZk2cHztkwnWoM4GuCjaDg0Mx8GIeImomXzmTjdUs8gVl+DO/Qindcc/APica0na8PzzDVKrn/RSwevyOgqzToiaqLSA53Us8XJ4FiJ/Sr2aF3ecVIe9WQ6s9yEpJ93bfYK4yFhxqxo5uYCwXZxbczQSmCfJ/OTu/N330sprrZKSZxjwzGnl+aqdhnMvG0Iqg4rmoIYSAKAhaeETVg+XmIfX5F0TqI/o9CtWtDJqYC2OnyC/i+ig+FD3GI5bVnXxt0iwIi7O/LEXdVLoAK1gfC65rgO5f2YR28VT9onj6bORP8kSiMuE2Q+eIm3MKUfYg4I229/GywkppCIi54kW617Jb9hcnpp5p4jiLw0M/q5XSpgr/0r6igTvoMFSaic5h3540rKmFvsNJKVr8T7JqK0XLdZ78ot7+1vRqtBnfwW5F/uhg3X6XGAe5e+HkUSZun+UjwaX52ul2JS9Y7fcAaFF0dXBwIJS0Jo24d1rm9TuMHoM5zJJsgKcW8jx97zZ5FckI5HWIP1JrkxqDDhH6IRi1OxNdERer72cCIs6tjBzTIljeDkPk66DUcXFQCAGZ6+hJJ1S5zFmelabYYm7R4zbSJm5os6yexno/HJrfHY7khchbM3Eip1aXwtIhHsFIWHHGW2kFekvPByF6Dh5oPqL2I7mCR7tsapXwbkxuTa6XXWNneZDABTnRc/GeLjw/QQ37Cb3/JoqaZSj2qfJsGj4VOGxrF3T5edk086ejklBtVMpnu7pPNErxd2k5q+1uKhTvq41s/IHe2xG9y8TF7L1nZ56rlaQlwayjq/cBMVYlGilboYDGwjMebXWeNlmhhaNWI8rZW7Fct0Mw1JMCkMpeoF/mKO9OdDenrcx6tXgu87jBYEsinzFiuI6koOm1MfG0MYrv8jyCo8qFaExirDIHPNbGP68EhUluybHvRjTGweV5wJl+2mckL+XuzDSHhRwLG3uN18N8UU5wQi5wSliGpdYpw0IenC98/gdhGHH7oemBJ+nVq4UeCOkXTYhrmQxSvXU0rFDhLQ8BSkBBp+SBG0jCxcjsXR+RUabQEQ1KDbSgSrd5/CxpFPKO4sR/TG7+dk5BXlA2OaK4gj29+ZhqjuXcgfeiAXbht0UQX9GpNQwkd7oLgwZgcgFLn6y7+nsmSUdHw0/Dt2kDAO3QxjBqTiwurv5K8rTgosXYRmHqq3wGs8/ub2Vn8OyqlyK3FfpK09qpv3CZzbeGcdksKNbesK6vGdkTYfeXbMFiM458W1HBFxJwH6MBMrBZ8a/mbjBc0N6rk44rGEmRKwJ/6pdKyWEnTV6xrsUYVAXJOI1U1Klaezu7R7wmZo+uuvikfqGPeoIu963mSsKC9LHsefyUvBVnd/DPyvY+xBzs3mHSTd0h/aE9uGQvWn9PnDiOTFnVF1R2bgHImTsv1IW1DCvX0Sehgu+wa8QJ41XZzRDTqJk5/Te2Dt6aGmUWbgnUklFRVhoOoPiaQg/xuL/pxuB6ZmVp3nz9MY0FJDSrcfhrHc4bupqX7G0b66bk2wTTCuJulZfz0lrsTzr4u7BhBG0nugs+9cts4F5kUIBsxAmrutBXf4wu4vk1z2MI+jaz05Ab9KDFuWS6rpcz58BDljoNZ6/YGwD6X7LuGodpq/hh9ALJmdRtUpToDkcLsmddFPT/oD3hlhN5cgzOw/LTur+87tlIerdbHyps4/wGKvCud8msnsYZvymKwGC9UbQZphlM8jFwh5tZsiNr7+4dToQXQiWXKTDwbLl4aP41bCQZRoVbRts3m6twmUJ00SF+3QypQe8MaOFa205cZU3OnNb0BpUChF+P552VNYPpgkOCthxY1GlduiSe7ubt8E5c7psj51YEnGeOC43WWvimKYAtgBKPmRmkTYFYVO6JTdX0qBL6beT6JWv5RLFOO35yOXVDrmb1BI1hglUYLHCHo1P/3znZqqK6I87AmqX1S5+yeXCxVNFC3MWf4thqHHJf3ZR8m2qLjbv5JK3ypIV2w8E2NzlVNvmId5dGe/mg6+QicUTLlEeUMB8x0ss4gs3xCJMaeSeBja/C03IivYFVl4Z8iiPym5iEZGhSNA9cLcLGdRpgo9XEFhEDfTDr+yPeI+wFqhEZk3IrzvZPDOEmfQFDaaKtiTNS1TTHWfWtjFs9hBafabT/RtwwmrSOlV2migzA1Bro5Wj0ZAgq2X9S7GT2tXLCoYmkmPH3xFIBQJmisw1kBkHuCODVxGf/oz/tTxaAoulrdi5GR/iMTE5re95DdgR5wp7OpU3Z4EUFKSpeYYpHoG5wdGRZmFESfuKwwFqMxnp88Crh4mzD4HJxJp20t5iqTBtPXTImwYhUpp5haZACN79chE7xYg8vnkv9nGSmbuZXCbeAsCCE2bqCh0SJcZft+Lp8NCrLA3+aIryMeQTSltFJeHggUEvBE4QAJkifZP9TC44GSP6PcAV+XaeBAhFbYoGVB+YUE9+OcftGkzl5UPzW/pXJ2mjyf66Qb1ZNyHoX97DenxEerBrbA+CPd3vLHN4MwPITADPNwNkPCOIKE3NzICFICiYB1eKWk0sqzc2HPqXUVXFz8qhQNiWs4SUTnOgp1OjEmTDbDLIzS2i3UJ2nhXg7KYWnEnEEfY0NV5VeKDvVrs3NHCWhEqkv7+bUMCfyFiuqtZz8Qh07CC3NwVlLjSCMqsmYl9Hlhfy4Vs9VbvrPumRGDxVwFAxW/qn/yKlgXWiqUkXXiLJk3VcLAybgceAy2nkUd9cdGkf7I4i3NUB+jpY0hVO6XJlFS4rgTeHf4PCo3+5rX2YDV33fdhvOnh7Fp9ZeRiRm7XkmOYzLDSZlCu743zyLo7lbmYH0nIhZMohmp6AYLG1Oqs5Lq6iTPwUAli6Rg/GAF5PLEGT5+U5wBwMvUoUU+0GRZ0D9OzUzmkG9/Udpm9NyudY7kMO1SB8N7uqz1hN3ufF274pQR1RkAbZ/RC+aQW5eumIlRjq8IVHkIpz0VIQWqVcUc8mgE+flFq5dZG9Bwkr6ABHCbmLR46tlcdpPgd9rYNlzTn3x+MCX8fEheDnKOBNqCUPz0MzAUgmCo7lsVAsB8ArbAbXmelqxsCfSV8sM2qyt1sEo0xNjbaoTLy5VIxy3JIKbswtpuRnEISUtaR2l5W0ZpcFrB1Ws701toqEMSbAuJqAd7xqrZ9FP28DvxfAla4Q2h6yLIjxgrfnWsZeDQK+ZL8nte8xgCe3+CraYYQz7E/AwIUfbAx+yIzf43U/0kYbixX8RUiGmxa7u9h+3hei5Bla2k/KB8r0efSwborV5Eacnh9DpPesVymcYkWskkuyP4ucBAjTS5mL+J0rbqjw97pXtTAZkfY7Elgy8D/JAFZZ1Nn9ONHBU7WuG2+pGojjWVZNmVvcMQRBQ0tvmnfKZAxdtU1iEEITrvZADSZz5qTg5H/Qy2yYTWjO2jGxVpofbnWxgZRVzpodcZ8bu+BkcKMS3PFtA6rQBpQqVM/kdKBt3EREcaSxe2L69pAwUQB6zAeISEfpy7i0sA7DxrHKlBPtbRLhkR/uGkDMVQMyoqlerM74/0WMZmcMhsSHyRtHVGY+5i0r3nXiD0JFdRPgx2VjhklcfPQk9jHkJlPXID80KTwoTik6A2wR1CvKlO18J0SGmOkU9RFn5BTOaFEFqY/+1Ozf/NKO9isaGoBbpTNquhvMNbCN1SqrUVwMWVOhvdXJPz+3gtFvDxPS4RnQD64IEeNdbZpsf9AKCRFiZFJ3600CWWKDE9A2TmvYVbP7tp0r01hQ1IRZgCOygwXRFWzga3qznrVwkaHdGjQcNbg0z9PTBWt1tCgdBNXn+tXUhjRiWT4p+m8Tg/lBh//hQVoC8273hBUI+9fCub3lkKh5XGfT9Y8HZhA61mFgUf8dMr3NiQvM387ZPS3K2gj+AlsE/hTEyI6G+vexCGfP176BwpmrVUs6Y2yDbG44sqGDf24wDbdk5C2ymzKLQF+zftLaOmZCrmL9FeWwQ7yxBH7+aCNn6BN2gq5Dh3EpaAra6Yq5q0ixnEDFByKfz0P1D9QueBjDJ6NRSm6PMdF5X8bxnMbHTtS1jE9/jALj/vAjK4ppNuo1ATibPhL3TjiBph5cCPVzg6vsrlXizh7wPb2s2r5DxbZ5azLBVNr25ps/3IAVfNpj0vHHuueX8HfzFYbHExtN+g94Qv5p5Aney/I35vIFBbrZK/SzdSH8aB0nOkgWh0bXV0OFn6DyRGNC8iWA1YMDh7b2R9euuB5gi06apGZbeojL4PBWNydHjW1dcAMjJi3W96X3nCQOr8huY0TGbzetLoNkGhtGjHimILb1ZjAfCO2IHf7U7RL4lAUQZOsJGFvNGo5Y39S6/GBKw1R3Fk/mhaVTs0Zx/79PTx2ENruWJcrH1CjQ39BUYMH8TLMr+pXYX5bI3zwms/y1XeOqaWMqfQCutW3c0Wst9sZ5XKGVhZGbYYmE3FPma+wehP+fTWQ+PIBK7mjaIJak534iqLl+TNaKyg5iIHgu4/Lk4ha1rjmzZURdggjhbQA6mW1vWVgAXO/K1RUU+6xGc6wwq3IgPzv331eo0DYQyeShh2Nr6DlIflKEYi5rH16BgrxdYkLmFgwVYaH0bHqxiviGV0TB3ZoE/ce/E63FJeQ4umfPC+G31P/eaETUBpZmH3WOCksl8ImbWS9gWclQyCG/iBgnU9LPd9/jEB3NUwTLxu0zRmDVcx6LKrEAJQJlH0CiVHV29i1QTSOEquUotENFhXDTRwgIihrYNiYBGvhC7vH4tGIhoSWT5igV5gcfe+7QUw0BFeNoR/VxEFXrkK7mPMLNuDV4YNjroTABbSirUHip4K6MQK0eaeA3kYQDoMdMP23SdjrCU0Y31ertbWl0Z7UkxZ1HZrNmZoAQmYWi4LFiHAjcCQOgWYH1oyh0eBDfwJ+nO0Vi+nR927tw2pKD5M7sc4DLAvkIHCDuM8S4PfPgROYMoPd96kqeyvolt+ys3sspcyEuUcOJucdvxhQdkX9narsAc4348YthYsGG56tDoo5tUUDFGNdODabGpmGS9EMg99f1EOoidkWuq/WSmRwzxaGn0FJ/3Nmi8hNzlL4xy5Rj89VTUfjWCFrsHwLezmU6UbeKoSH4VNRFcfgOroR5jmdikb9vW5kIllYY/bhcMiMf8QIhPsHsix/iIeHhmQFqS08BbaGT9sVQC8uiqL8B0w4/T/Lgx3Pn4BHYYgeawYubKaysOIFRRPWu2mFqdmXc5YAOtEi5pGuE1CtO3G+l3JfqMK+AVJNvnig+jQgvs5HBZcJ7hiAnuZas0nEWwRPv/rRn7gKTkB79pfvrWC/+uWYhr7nQxD8u3RwB/WXoAmaXAeZufAdon5SFmmLhd91Wr9TvOizNMOuJ1rgieytc2Jz715u4PDgPKwj/DBG9NqrQ7pwRbvTAntsCb5ewUjxUM1PgURB33CuaRwGhtCzTLQCW05EDa5+QYei5oBTSVmbo3QkTyixPve43nYcaewgFx8yGpvqDD5QtBcOV+3Wf3b2zXZeKsp/qznDObOa6jvJ3S5d3viGq7R+Ild5k9It5UOidKV+3xQ+fbg+QrNawEJyrezsd1WThdYfHTQV+7/0xAMCqW8MftWN8ir5YmQiqfwCfz3cRD3g6RQGAIjXNQnTEIEgI2ViXOK9HLZaX11TaYaz/fPiC+ktUfXQkr+G/17Y+2eJfVcCbvuA+RzSnnpYmD7+d+5qeBDJFx5KE1XZt6YlHhyn13CavlMiDzZqHXU0qFMUxZiSV8kXRUPPs+cHfzNFPf8B4E2xkK9kusyQzM32AQx9EJYQZkvMJrx2x5juCCw/jlciHtyuahOo33xyngiqY5iurxHUoEDBVGky+NHaSV+LdZ0sIb5oxsScSpJXIPib9vGq1eML6BnHsyMaDR++PxwxE1MsTreVlhNGTL7Dhyxzh/36DikDk4pD1Mj4ViLwPovVC5GTWL4H2XHLjRXXFxYbK22HBcDhhIBlCoERA/f4Fgu20kQNatk9jZYKVzWM1ms1Kxy7K47gRszzvQDYRc97qgJXFXwKFdzDlsvzIySnO9moOPfPyNr56UWm12KtzQPfolcPOcESscp8ObOqJfep5GcVfNrq0fq/r+bQrAlLTNm5Xg6dv0asWbigQfIpnuqrfH8r48i4zqI4hJJfVR7T1jQgdhJ9E9b1GpDqRGrTb5o8LS/kHNq/iSD4DaxDmlLgb1fEMxRkOgGAvVUxzZYWdyrA0SzAczwfFnZZw6kZQBppqEl+G6PE0pe2iuZJQrZM1z4l+WokWuTAs4bQEpDvf/Tnj0xoi7nek8eEwotK3+MALTfBzAvzsEADhrfjh2SFZIUkagHJk9L4E3VRT4nMVVuEc7U3YMNqkWa9oHsigECju81PLAIm5pJuewF7mHeIC+dmyq+GYtPtwy+C8mocE9ay5YvPR6x6XVVgwY7rVC+WssFvnCUNhtW8CZ6Fn1JCeUSLGbTu66hnqGLu6E4MahK2cmdI+TDdCD47HHOVMHh1na/7/l2EVDQ4PrmTI6BTxzHyuV6+OTZ5HvlG5BJmzBYw894sTZGvodPLVIuV187AY4gG/1l2hfAmdNC0NrObggavc4HxLc4JjHgTS5txrQmkauAs/HYd9mrOZsOobqxVh4jbjyANPdXVqp+w/1S+0cJp4hHGAd5fegOGa3nqfFFskN6WcF8QcwcJNDz4KSMiEfN/IV0PjptotqF50LL/taw3Z3fNJ3afTec8lkk/ma56cFK0i/I9Wa+IGdLR7lALpUwitbiaMTdY4KbIP2u5tF3hxFs9OQFywDi2MX3WaFgkN51BKfagMoPOIbGuNp3A9BiTl4TDok+pBn+skywHFbzTdZbtCOzA7Vzz1AORc8YyKrd/cXeGQ02QGaSPeLTtD8aceq6LnEoUK7wam49LEPdqEzDiHwiJvJkpJ8TQ+l8dryYPPTiw0e7qRTju+7gxw7qPBTiv6tTvLwVqqLcsJlXEBq1PnxIBcsCMdLXW/0S2e7Bzpvn74gZlORMWip347Mufq7EPTBHxpuQV67DmsCE1svHJDjOgCEhbYNj4Nvy4ftqAfnia4gETVCWHVZsvHLJkqd7BesocjCBNanxMRS7Qff8n0OOMcY+g2qXWKuik5+7gfkcJVcPj3SgR/503eiANheaNEDE47Xx1stcIpXbEn8GjHQ/rFRLTJ39KHk5qHXAIpEnmkNqmU/AERj1VBnLdoI6RC8gBGM3zbasRtx/PLwbFxcEJSkckKectpNGNM5ox25FEDaAqHqi2OJYD98Fr+ycnuq+eMxYV2YlPJzA9UCenweEsdRoTmwNJPT6C/A4Mph4vjkmLz9RxKEkyy3l6eWDt5Gm6n3vTWnnAuFEWuyt8xOvYtQgmjJZ+8vTc7+tEryRfvqEcjnAif0nRkiU2GWCUwcETzOu58VJU/zrPorIq18XzkvCrnnXv8kYhIOSRx5h8OWmOspDblPLGHv7XlBzVHCmywPkPgZBVZnPvf7nYCl/v032fr6deCwinvqdlpF1GXvFRV0HZDTpWlgtsK7aM/Dd27SQtce5EEtTRk3yAfzKcOHVrVcRfkbhVSspAEWUD+ojEP/DSD2s2q/AzyK/mpDWoBb16SnH4AFoNgoy6NIU5eBM4rwDuXz8H3xxslj5CWg2h6fIca/dVA2kudv5qZyuXsMahOHmCFbrSLozWSFVaE7wzTNO2MSgWGMeCcUpHEzhEWlNya2Y4JUzGPqr9zhDJjrMiPoOzjcmVwhMDhS5P6ZI3225veoUEnTgQeKFHCgFF15bu4SgwDhSfzUcOUERHRmgdZI1erDjEAQMnsWtRzBj/WMFKPuBhz2pJE5897DGXAF00OHNbKPGR9ZCuNrJMZt55LZMUbvX9CeQgTVMkOHCKdZqajuFpAju9v4OpWZzRACtkHvAUE12KqDIn8Rzz9AXPjRNOWsz/lMunQ2UB1jCawom6wAalbZFemcNcDRQ9De/9B3+30sFcNPBRCO67RpwTIg7z9K4dn7+8cuoybYgeaKiXT6JIpBGFhOdnmvfNzkmmS47lIyIXI8xTO/RxkWF7Q56m8Js/HGdc1ge9/U6EUE1iZP7L0ldfi3wpLyJ62/71Ycrudy48jA53CkdmGOHExWBdV+nPNPfoAmYigP/RbUEYRN7aCaCCbpogzAkVYX9LBbs0qoANO0ZWfX1lu5G8u7Md3otcUZbm02ZGl1du1fIRYBsOSmJPQBJynVJqVRezb4ZK/70XJJueQDyMUchdnArai0+7ZI6MWPwkHkZnoNm2eeBOUhGSsX0PmCoFMGD3M5R8UwWG29SZGcHAOa6+pVJgWdfZa0f+5X/HWeiYdoYztPLLq9+33FctvmYqv8GB4CtPJIFJqM1Uaun2kBr5no4Iwfo9PTXHzJC5CeR8lAwZkx1hSCsBsOQfAWUraNmMAaF+fLZDbPT6+3R5/Bp6DDPuFBtzs+iWvfJSCAw4AXXAjVgLHWyeVJjAqZNlvPVktRWvDs4kBkSCa3FBPKLEGpi8NO5jOKRHiVjOnH+cRWWfsGqzMmJYg+MBcGIwbgrtW0O4yBZCVBFWcWYss2T7BJNi0mSks4u0t8SqJ37JlZZ9R6T0HWYNBNxtrlGehOa6GUfdClnIV4iVGoJnSRgkZq0J3MXHDE+kdpGQy9VsHgmqWuRWvEKgtDPhndvDbZMJ1MRQ+glFpycLK0tAb/U/MMBB0jwjV9NHEu/Cy75bEuISD6hX/uspQHH6YwDbKvfq1hkiThSyJwfLVDDOyP2F7QQMomKXDRkOp+vMzi4n8vRBe4EumTd1kLC8st51WwoLlTK5yWgqv84iFA4mPlKEqnEcsXRZ8VjsLWEo96786nDUlYhP0p/C9x9c1IqoM/wtUdGkU0sxfocu5Dp/hN2Ntf6Tzd6OrIuAnTCI6r5hIY/tVh/9joBOMRYf1nqhXFxfwHOj4rNtxAxm0Db/Sff2OVOU9YpgSestXp02sHo4TSgaT726OKGYteSuF3I6Vxp5xqqXjNTjXArd44Sqf9I/HwCPRJwrUpq6u3zC9dVauJslS9Nm9FZIUmgo/AgSQy3scVVW6/v3xWw/2WUb4VyB+AiTeKiGovzQP4W91XI8dLnyQvWty29xF9GxoukKC3nG8CjjsWOhycSzgKdsDQI7m2KMZa1Wd1XkpB87Riji3tW86DD//tmuWiE4VxPUmxxU9wPfDDZPjYSYegXHC16RFB4/vpHBP0V4g3i6DN68FoZZHzcGThZKgBA02uYxb87ZCQNUSpnz3NEPAp36iIZxaMr39lwFmq+sI0M8ut0VZhTp9AOXrlSeXuV2SZHDrcbUFM/rO7ogw2271lzYDDVoEubcbbw3p3Ld1JWZa2RRl2j5uAike5/jcI//B1Y0MQzidyxvOEHXz9+Ey3Y35ugB6Q3ZTfpZiXEgejhNXIp/k/q1fBYBhtfDd9o6Qx4NZeCAzusmVw+txKuCXAB6BJp6Dn9EPhoOcdqEpbdRjQY4LeLTcVaqK+zBwqLGNq7FlnjjtO+GC+EV7Mpus4/6ccg7OpBmGdxKgpVU91hHSKfvWWqqkj8MU+VU09hclQwj7Oo5RhbWYzOzLxAVKL0D/AKO3aRloe5Uzg6ykUIy5MfEcZeZkysIt90mfoynhk4F1kIKHktw8Q22oxNM+EzMXmZmb/J39wIai4WjyJU9hDo1+++SG9UubILCjhA2Nyr5ZuNSYTi6g0iasR9xEuJjVLJlTq1dDGo75Lvu3vQyAa+nFfVyaga0nrD3CzpeOcLOgh5o7SjVOctcAbQ5FwpjmChFcgi8xtktcMgqw3n7/xsPZYKAmxBoWVYc2zUvGLVLM3B97koLgP7mt76+PHcj7DbEfMPrdyJw89tlRamzA49R2QirifEmX4E6HZpG6ipoILoN0jR1qo1ymEr3bFSExLEuAncRj02qkiQSFkGl0a6nGKuxcpU1v8wfs3xwm6pJ9/bqb8z7MsZBVsEUJOpSnpRaHdmFFqGXW3/S4Tt6pV+KKOAM2B5xKzX4FNZUoZ4jqqJkf5r+oeZyswKdsE/Nm4rXhGmzMLN/j1xEvb9P5OjaZrw9JQUCSD8EoosBKtCIn6OG8f+Ncx9EFtqaHpIuxBMXaML0AHLJcubRk8grIX63paZU94pLAUFp2ZRA4hxM7wm8rtUOH+HYnSn7fGuoBVbvI6rVSEy9fpDudcbYLcPbPUicoCpguXLOfvaHq6eNu1gQ8J5stDRcaxjhRIUeSOTtkJ+3ZDUIJAuC46GExF8ong7A4XVZ0MESB3MhjFH7D0RQK1ufTdAkUXmjh+ocmHOWxXQUZNgTc4/HLrLlvMKDNibAlVYmp9mTqcCdk2iJvAtXpyiU6utkVhVubHRZ6Y5AamEzUGZNExgeLSnhtwIIrV9uGXNCmwXeJMO3AQaJeMIk04Doz06+g78qLScTVd8pXcRUEXO/KYa8AY0ifbhRv9QapZuuVvGrGaz7aeq0KiGDi7pdnrPQxC6dtU+qZE02UhTFlBUdJD8RPmQwEYkTBOt8YDnphOlU3ho+mFY8jEgiGu+roVpQRkgf9isGgLrsmlVPFFvjBLOnqLjuSThiMRShyHxb4lJyHFNeFBYe+KuGG4Bfe0nFzAhfmad+K0yg4TP5du2+0zZsqc5E6nXxauLJMfK5hdJUeLAvlb6ZLQOOKPVMbWMcjF2UPMDSkcSQNW5/BvYO6ZwNpp6Ru/QVZduGsyJ/2LQ0kv93e60Asy83ddQlSNAWXn+u7rL3sEruGTr6p7qqrVdkBgi3Mxtmjwy250uyqDjjnwhH+QnZprqS72NIbe2S8W9+tBWvKiJZPcMIcNu544iy966ppGLOx745bRcbpmM0r+PHNMZ73P6AJfkGI8U4QvR9W7oer1L2CpLMmlhSHirLpNcwwI4+1tuHb0KxUJu5YDpZcHGFqvyPt2M5GT+B4brfkh9W3ws+Vk3Ru5ahJYp8tAERj3/C8+7jJzdm4J39DUex9P3gCcwt57Xjy0k8tIX5y0e4U4djDinUJnfskjFYV+/NJu3Wknoz8pOVERBhvZMNWk757BLJ0WRwqPJXjqJT5vEg2HdO2c6eDlVYv4LwHWrzrSq+f01B0lZO/AlFTKbmrNAkudvTGz8wW+71D21kV/kTGlfjo6ZC8glNJhawbfR9cE8O6Ia2ZPrJc56BNi/5ohSLZJKEi0bBlHdH1EL7Vg0uG24c4fb5xq9Dhni0Hy7O7troCJAIFlGHHGBzY205oEW83BDf9dsR+uYqyPADBZlEp61JyJ3yj0WnTesfHI7qdAS07IKKX2HLr2e/f7tQOjqYA87CSEJwqKQ1cpdKH15vc5bdZKE2HgiScPrN3Cxd4Qo9lU9uY32epMSHpef1RueWx9+xel8YvZvNsSoWRnBh0jJ6qqR6vuXbhjHnF7L7A3q5FtvS4IaaWE4RoFh/TFe0q1Mb9oJcoeoEc5cp6jNUm1VReX0yqws5GPq/A0/4OruElG5EqORQr+Xec38M9x18QF34FPsZmeLqDJrRcQ9OX377G8qDf4cbCcGCOmUcFFSNGQr09cTjrvYnrPWaGSgRs/+n3uLF94k7NTvxQorfhPqydBvXqnHothIcLftsFsMrGRIdrKyoV9NASr3ijpX0ZK+1ymB1moULpZPKoxUhaPDhvaV7CakqWFNltJK3eOpKY5aznoruBPhiHoipEKBjPOEeX/iQJmprroS7lOQjJWkHxWuQ4kUhoBzqjtBnG7XoV6ElYcQ16tLxgBIdKWFsf0hdychELaxydueVz5eatHZcjYk+HIE0uceqTQr6Z1kA/3wGdfPNJXqW6Le4odVZbHVenNfhmL4OQzruMpQrMYEFcFkud7Tc5FUXH34aqUzCckMdpo/RV8Bh59Q8xdO04NK/m5p2aBr6GsH4XgyN5FgauNlp3l7rY1R7D1s5ru1487TEIfGhmCSbDxaUsKKJ+j+jjWNyoI1J3W8TmRMtUBSRYesBeRy4cpzdmwhBIARAIGIIBmMgtdgt6v097wlBjudNQf4g9eTeEasK2FLAF43ZJ3Ue+U+TerGGe6AqgeXia3bV/inPsMz82Ni+HxpAy4qbpVtoy8bm1uST6N+ZQLMRXC88vdz27DHfKGSJR4Av0PLlAlG/2V4f+poIN7iiGGd6728gRJEMyq2YSQ8llc6iGTo314tiN2ZZefkVKGERKT31n0Nrx98GE0BqgGn1bDaVrbqmrXFPNfp1X1hdsoIEvz+NzwaEUGWWVzopoDZpiwbR2q144DFO/T+wfLARwNTftOEwj23NKQBOhnZA1eknh+zbhbjhHeaOOXp65itSLbRm4dPznLhkzFgKt+iKAxMtbfa9gBbIuyL3Om8d22GOQsKzLJn0qg8R7K5vcg/6oIM1HoMibPtXLdCOqSq6Mmcu66faqFpo4ckofkFDjVfLszPr4jD+wmn0qWdhpto7eSMRcYm9pQhlMQlGVIxYx6PW23YKnVLILHj6nyvx7nHVBWcvo3RDX0I+8YidinGp0lFpBfXvFfFqt0xy4Cjrcl7jfbB3rY3cFXAGS1tolNLmM1iLsQcVeiVyKRQnlY0678LoGGV5+gvQb7Q3FW+LwIv2xRqiaVtrellTBwLVm+NrVLrtPV2giWypPy13SXgemB6bhpvd/Vqrxt9dePGo6Vpn63DsametrnDCaAQkRbyBDKdMbQ4H+vdYmqzBw97tsvbDcLi98692b0CPu7jJIjnI+W9NEyoA+/IZsHudca2qV1fJtx7RlqRSoImPYLWr6tr4j2SgSTYbyyz2R48xPOGd1ELjYIZ46adgd14sK/tNxkIeZpmpFK72/omTrZnz7PXg37C0dbm96T4bl27/pY07mKj77Lx7or6He7VVNAHTY4zYWZiYAE5c+YGF++4Oh5uRqC4htKyh+oUBYQdUivoRHzZ3lvT9uRFFPnl9W2h1Psmo93HA8ADgkjM8Kt3ghBG7oSrgXjuSMAs28/VhXVleN7evMFjt7VzYjou1wvtVCLgYZI+n+RknrVKCopXWLPdD+nWlRr8NB+tqxRi8VJmxGSz+LXLDpeVUDW9u4CFsKg7jzv0J3tKdwi9zCcyVE2gRPjv9XYw7GZJdv+w3YG9TXrKOwXv0pfl2uUQpFj4tX8tzbBOdzYd4EvpGD7QqooDcqHd6VX2GExVAHxKG3SGsXwEsVREG+xXEfcBZ+Gysfeo76BqDhj7UpuOMIFT5Q4Z7xPCz4rpUZnmO5v5AbwPO0twgxjpRH5CkT7DU1oMdmMrXhYZ6rigMBNOJ9qqhK/CNr9lVs8+tttt4xpaSZOtoQfzRKrgHI5MM0nbmyqsALqhqOA+P+Zw6W5QNXP160EpMA12PGq7m6ppm2SJqhAmA7+vO0wsxCKAu7nNGtGxjlDYZLekRRdFtgLbtcx3BYAucTxt+zWjP0RaLTKqrjYourgqKvwCGsTgGpFUTwEIFOcI3U/CnL3BYhaSIIk48B+n+nfcYJwD5/CMWyVXCxdDCtCOES8OEEVtzXf7Ax6A02zkB30FgSU8BsuOJNxNwuaAjScp0ugIHUXez99zNB9g8/YxDzPGpY3Yxdi9aipQX1qSP+M1e/I247qH13pzEP8mm1ZuIgGTCwb7tnxOAnyhPTFOGFzYFOSPmjz34yUK6yHImSZD+2g/eniL2d4+AzgjhhsxmBwW4ogvUem+cr/jBGFxwDcLqpvzHt6qfKBl37NpzPP17inEAJabvsYOYMJMwQLIuseMghA/xXStzG5YZSyi0icJ9hqnQdi+KLzj+LNFFhL9UyHYRciJavzBbUYqF3baWB6ckutg8Jbn4EB4wdhJN9GjGD64jvd7UI/gTwm3xibV9gqVQ5btSD/J4SRJXDETgsU75B73D+sPfHZvdfrCdtOMge4WbwNpbDZ7GT0/p39yJdOI5bDPKfXNECZZWQ9sBhF8wgb2HvplHpAFmN9EOBlaDZmt7gEI7U96iWIwRK0mZ6d4T2DH8KO4lTnihzV+PGMXEXEOJPJBEh4dnoTq93VByQqQWarWvQ27EtKVVT4qLw9f4ngdPzgp6bYrQVc7lHpse0qcsObZ1g+SuCkucZ+ysYdZzK4XACNOicUAt+uph6bvdK8UDbd2X0kVNsOMfWcMr5Ei27ZsMVLV8iCPPuWXoggvEhmElAhM4odnuWCtFvcfiZmnW2T2FL9sT+I96DpwxOHzguesNWVP4c/K7h4MEGECVb6pmtW/rNQKmagiDln6NiiVPanRGwGweO+jOTD0SRb43qyQau2bCs2pdzxyczOAH3IG0N7qKsBMr1K/X+xGlCzqwTLGe2+MjdwXJDXzn9XJl3qTyZv/CaO6ZO8ceXY3ptbVKn2Y9kj4TgvYMmcawapeiZBRcoC9V5/4BvjoYWJjJE0akxedF5jPtCeMocNtPjxFF2CO5+Qui1F6XTSmDNtOZm+YTFUU2g6TLIssGrHIzV+eTslri1gJG9RRjXMnfV5FqjW/LB+kpVNNPXNo62T/j85UBmWCEWvTMH6deWNE4/82X6azKw1aqUJnmo78KiZ7DBrdKLYCK96PcB6uUHPPAfzZ4g+6dg3f+mFcdFBzGayE0xJKL1yCakQScT6uDR6YlRM62/2We9dRBATy5nJxQDPEiULUaROddu7IzEcm/JAAHWSl42VP7YNo6OfJs/rzv1MU7rLEVAlholHG0dqVlk/+hjmypCqNciaCK1QC6YBQAUGeLOBKqk0Y121C+z5bh5nEDVQKwyu9/9qGEE1F6xjericCMVj2wkk0hSwqddXZ6BiPzFtYqagKljvvqkmFlxE+Wq+zSq5f/oSxKlpDeodVtEHiON1UEhvn/Y0rCXToK4PIxvT2Yu9ym//EU6/B/EKhPvjcrYSxuILKAI2nPqDosPkVk3dyX+7GyhT4xufeC5KpclQp+34WK/yC2PM2yVouHD9Hsn3kpsjbiYIf4oINhR9PD73HLnhgohookbvR4COFSJrjjxl8mkmV/Lh3NNXLF/U4qHn9g2jC3XzGhgmtszHHqvQIosn5OD826nJwWfPmJAigU3FWFskO/+q1w77SZNTp/JqXA9Q1WkLBJxSu4iVb24kCgT6QCQ4XGUByEg7OXRdXzbDr4F7SDxFW7aRltfZPXjF8dvqZwoLzPtFTqjHZyCETgHi7NYYNo3B5pNKWLjvUsL/A2nvXBgoSHvmuK3PHUzVcJih0osUAlD6X1+k5qVwG/7MzcLPVPDMTQ9Mlmkg5ONojosvlJPvbwlHAOGndE9OT2S4jz3gGPD2dou2rke/oibBpZFVR4fVKnu4DUmx6ilLaUrq3voWaeR78vweizFpUeoXPOpTO7HBFTChCK2WG9eJCSj6dUcbsR6dAi1JkUlRsQ3VrsoRLJBdEtQc9zA7L6u22C+ZFa4w0nY5ZZKWBO1wW85OnJoaa2SKbawSnMCxArIqbnSHFO/VO9MeecHetV+R6BxUIyQbNgm4GOWOE6qdL24yVTIwQTyRIzpCj325MXcCtnKc262vevWM90z3/sPW4Rde2xWQN/MOlN0uIK4mEa9PfWEm+ZyPT6axzKkL4yXE67l3/cxFUeXMXv7WYhIpXK3Eo2nzW19X+IG84TUzMfc3kyrRzaBrNK9M6q50n7DV1ml6N48MlIvgd86ldJHuyoFbnpQPxBewKHQcRjyYzJt8buI7ib9XgmCy5nvDPqg6uNcu0Ij9qp4hFTPca/BikToZMe1Xp9DsDAh5DJWuWytqf6QFOALa4toBK4fhr9AGLGadOjAAFmVTH3LTe1rDfMzJz1064LGIBQYM8G0C9YVUCFhqJAaFZmiU6WL1lVdmg4IGK9Jja3lSeUxA1mXfQH1XA7460BtaNlT9luIOvkZqo70/K4JKrcclvuOVBnQbhDVuzfTRIfd8DjeFg+sbk4Q4XAnzH/OLdTcRNqXkxqXPhlTVr2fgSOZsihXtiALwRqiBtu4Np4FTJeeuNgN6D8/YsuJ7DPDmzQoYfvupuIzpuP5GLEDAqczkRCm6sulNO/2a9Z20CbWZ66GJxGNooJzhBXtdnA5hjfaSw88EtrQueqsewsYVz5soY5gl7SRUQrbB3IMniHKRLGaHT3djeE3F7ESShgo9oYDbe34ozmXP7RXkn0VXYL9C8BmDbFOcrwWeUuivk1FnMR1FfeJQh+3jU3THhQQbxrpB1uxBXdLyc/Pwlw90mFafnzWxvP4aYp0flvmAW872EZ4yzF4GLr+NRgPJ2QhAAqHushnmFdtIMrC4+oBjBayu44xiEw+2ut9JZFGo6FMWT3lOeGiS0TrHlqbixk90NxXMdyMoFdppaKKfVX0HxcSnv8lyitBhe88XEeZgIDKosE/a/KM36kJuwgmUaBsp5Lreid7NDJHM/O5qX3HDKXlzAXxeWvqNjZl2OrGrKcRc7OgdxIgDPeFhC/UZ+utfCzZnxvevYmB5hudl1PqJQWFRdxUEqwuhZoqkrYDcgyOt+K8SBI13V1HKGwaqSfuBxySyK+tyKNm5/cTiZKbByGS9c+Ryh0mBPGx2zXcUZ3bZ5WxbQ0VWBHrzBj74LevQkbYauxy6PRkIYXk+XvJusJZWENIGqLIFRTq7p5PaXBy5Of1PUiT6MRc54RCV4i/fxL7KuA9HWWCOd7a3yCjL453pBO6MBDpnVA2YYcerDhIUc8y7zX5PWY7l1NKccKdGRZGlAaPq+UiEaVH7hiruUczstpZR8kIXq3+pqZ2x/Eu12ChQ7hSVnRxsFVDmx1Nc/XBFAJaVc3jyweFqhAOPS+ShfOpDriftZc9IRfCP1hvwCrqhj/ITbjBhyNIlJGldsEulqMKFbGCVJzwpw9mI/sVndrxiCuP2tDG5m8rRMN7ZgZhFaoHPvXYsGff9AFvZOn7IsTh+tw94KiEAnruCUJy5WkLmWs4o0mImsG046NuGfh5Pe6ZIqzKOf5K1dc1OAKYVm7cKW12ent1mLhVEn/hngBaMxsbOF1zM0C1fLngzoDX2eQCcLpECRObC80inMAbFgONYBzn4g/ipVs2LMda2FTeDk0dzsJiLlLwfTBN64kJCCuMdZTZyeoimVQV+hE6PxEn4BNICb/fR9uDDCHz1YzGwLZCm0OCxfNWZtB7eqJLbJpD+bcxqLpciuXLaPp0i0PtlfHz5EJXDBQ7/BVEw830K+U+Ptyv2IcnehmD5MESImOkGB5x0oYm8DqHbDDAOqvbUVPuGi8FiTg+VSvkZXT4k9C9oAOUiTwm8kD2+JaEPJqnhw1n3MWjYkfHSHlYWSoujspa5CXmMZLkrFUXE5ibJ69Uv/4N4WaWYDo75OCQ8vnB8lvQwdCzyZkk6xH5OnWw1r0mqFWsRboRVAS31cLH7c8c4RPw11xrSpQk9GY9dW6dE4rML1PwPsuveD1mnIelOiEX820FCX2C7r1EmCzezudWx3lS/xvyTXzjpHdcNG4cxuTPQOcwAG1yTZ4cpHukgl5nx+uWleBd561PdW41KF0Poh54b29VMhN6RTi3l16vO3Qrv4ls1WFgCFCTeqgaUOH8zeO8ZvMfiHvFP7s5aUgl0KjoHiPeT8EAclGh05FLH+XEJH6JQYoe8qbQ1Fb1z/Zj9LLFeF+2ZtqpG8/7KPoHCLzfEHa2ZL7uKwoALrzh2ezOskO9vw1epjuK5oJutKQASRS9BySKSFnuQH6MOnrgWikBTydtOBFGyYrgWBr3m/rou/QIC60UdMbBdx56wbau9cN9IP+amms0VvzJXGiYggZ0nfuNip8UOpkPvzOHlaHGocbjnUg0atv1j3fAafVPL41JOqsg8KJ0qlvpudSY4UIGyYv8WqTG8Vif8yJxTphnWsqjG2KzQhXAZu+6ALn+ieDXeO7efZwHAkKzxakcUulRRwImFKLiNE3RyQ9dQaXOD4cKgWXQoCiT7Q91CnUdFppIVLIiZ7ee1awKhkdzUaE0yP9T2FWIoFsU7nv/1zZt1sTvBt7OujRpzw/P+6YX/9rTpZqjuRG4RTBBsj7KsRnPrJtfHRcwK9jx7KblToDdCrb7xSC9tbYPADM4Ahbp4mMpZRLzehjjSy1uQbST/cSiDN0yrjANUYRj2JGM3QRC0az/x1rqtOLxb38VJ1oGKup3cjZi/r3IBjcY1xwoV1y3t8zJRZw1sGAlKPw8HidooQPIcR7MJj4ph5eY9M2cowvM9ELwW+DjvVmaSMJhn4ud+/dsinfynCF70l3CB3zQ5OoxET4L5Oitw8kIopFXbEAAkBCQHBmtSWWfiozHqVK+RCPS51LScXkIVRtt2BZ+PZ0y05x5R9TRz6+qouxi0JxsrrQ8N63cbvyGzHENt5F6KxirX/w2hZVc5oLpayfwPwsY9ZOuJF7T10yzPUR7d6hGp6c/99/xyVTSokoCTJIS1dV+Yrv7O7gHNwANZgfmt6NzqV+4gnnu1YvigL3xNNuMBduXeIj/nWAfQqOs2gkHjo3TklYbkW7I7/W/+ZuARycRbStMgmlvHtPq5quwoBwRWmutePfGh9L/MtqAcZNj1Y/oE8/kG4n+f1tyYn8+BtfkvL9GH1RuFhIxEmJJGPg7kuP8AevOFtsbbS+2qWfa359ZtUlPHbTt+JqPToXdwiTcGjZkrLuRuZwmOjDcNDymxxq5RSEtb4HRvgZPufiTNMUxEGvvnbnHAwfGTOwSsEji6hQvhsfqB8h3Bc3eSDMbq4R/iQQdzIRpDEPZuCn2aaOoYpT8DDplWhSV6OYsTJewhlm6EzRLHcmOhTiKKmkzDDAvErL8f1c78IeTzvvO2emEXfEqFzdd/m01fa6CvrdFBopSR9zlq2zw3AELQuDBt3Gspp9SPXn9iJ+tgmGkTdXnyEZBQ5c81FKbsy6gdEh2jqrw5iKSaSDZybtcXHITZrFrnBMbpTd9GsE5/L49pFK1yWg7WQZAmoNSvhrACkLCC+Ym4tJx3K03ivKfc5zuAbybDd/Wee/fe3MjsfG9PwHg1CZ0ljgbn8370+kcafP1B3xB/sxCLA0EJGAStxmAc4krZs8OBSoJgep7q9yLKFtz/+0aWIInFAWj65qwQ76oJid/Bc1hHVS3NyBn2/qU9YxudL5m6DXbPsduy3GQb3OY6ofrDHiZ07fDH51cGhxGMi6gOWXkADOszBRKR8zAYdWo98WD3lLXpIcwnJU7QjTp3+PHQIFkE+5HDYfDMYZO45v6OsEqexdZWhqMH5nd52uN3ndFfhiRiew0lTN/E3NP1sxNg7qoDMfoWPVX1kGuI/Y67kIEPvjuRCGANtsaG/aRM5ExZmqZ9KXKuUSMfBNKb4wOZlWxqn5k0vpkGoi9EzbVe+Y6kFz330auLfNVvQ/3sPCtYZeg807Jxm0OkndZDQQtSqXbzFntjxknE3923tljoVXFyHim2ohD4MjMFr7S4idlZkFdx5OdCB0DTB9jtxTFlIjuaCxbZ1o1zHX9K1XHye0DFA4DhHpd2q5PpJhb24K+uKADIY9+bb9fUY0/QjJO/mrPOK1Q/yeaZEkJQlWskQQN5PzVuhIuho6f2rg47PdI984Bvcy5rsxxeMVAQNCdBvNRiFmEKHvRBMjBgLe1H4LOM8irDvryEobFdqV6e9ODABz96pSNfU44b6fh+4A4rU8dwueobBG6cGeeDNrNPrdWnlTWR44kAUo/Oz2qCG1QS11vSHus0NgMw7lvB373Y5emaEbtU5+2TMtvYzyqCaXvuVKwfHelaiwqpfjl/ssyn1B0nTsY9m/BgvBYchy/Fk6MDBUrx/kOBD3Gpr+aL8h1tIU5lUn6UIfELanTvaUGeLw3I6u/PB3/U0SFi5cwbyV/1uyZKmmzsqjZsA3PW6MHJwihwvSuWGiymEtJeqsSvNPncCwhCunu7npSIT0xgzr7zO7elnuhT22zT/ueLtBlYxdjR1vdRnUXBKj/+w07+iUYZVbfkCXgKL32E5bXlYN8lYUl5033hTGdqjKipFVvn99sFh3DH0+7NtCY83Awz20ZrH85fOoIhrkP6AQXEG5X2xbDu3lEjH1BDPMjJIUqbLanN8fWRiHs9HZGcAfJfkSXjId+l99E0jZlHhoiNGk3LQGyKP8CgELu8UIgF2wrakXYdyrMjSQdA9lTnQ/Ktm5QdAJQ/rmhYxZoVYfVpnAHzQ6CTo5fD7ZoIbV7nIqekHhgA7ikKTlJd6flLkWYz6ninfyKD8DNH2UK9NL/ajpIKxjztQ1d0VRVAaltGx33PR2JD4oujDYQ1yK5+znoXjZi+zPKMKiYn+FddpELFfpakeNmmWu9HZXblEYgGMlMyVCtx2EpHt6HT8jDovEKv36QadmRxQrjojkUSs9ZfJ8uEWwDWSfgYVbuZb7waAfg78wBFqBK+akYW6XjaQRhxWVA+Ia/gyr5d69joB5YhQDCo3Ne6b0MxObbJlXJqYmk/CqWc/8waHNcuAn9UZTsxoiY9EXAZVVBExDlsgNu6nHkbQiKWa/w7NB04PCdNheGnD3uHi6Hn5LeTZRIE1RWmYUSOS/Qvslq4/858XvaVabaIQAPO5diFSO41Vmil7w1OiG6hpuFq5sNr3FtBTqA5Vea65u2Ycx6ku3wryZDITvFdfg6akCCUx3v3mkCIpCI5F7rtToCsvtQ9RaQUB2al57KRhV1lfDOKTieX0xjQMxXKHRt9iGkhSO6JM2h7cg2JPFUukMI0Y+hpY0/lISSrpBI8P1CtrziC1+MM5kGonXwOqI5jkom1RBBMuUg96mYC4O9LHhkxQXH5SlIPJZ7NSA4lMo1sHyPTh2vQ9N9UNkpIXnl9Q31TIfzZ1q4a3sEDd7zGw8mJv1O3R/unMLF87rW5RYhuwIIN0uyK7GJzAeBAE6/+GuUtldmSTQYRUIW0IoTtMAeyayA9FM1v6/cVqVM4dBN3VOmnJUNPugR4Yy/PPlX4UnWON6rLqaLkQNywtlrTUeXGtHp1bSt/CaGDB9syNmIEicsOtZ8GQz2fHBY0ZrZzjbWJst83gZFRYwDL8Cdr1ayfwLG8g6ye+2KofYLxgYoUc6P5mzOqTfcHGyGOPE1Srh/YK9I/K+LG+QTNseEFOSVL3K3XOd0loS55Q5VUADyzy63nThNJj/hv7zRwh4Cv/mOs+nUWlEqVFppOO4XO9zjpZ6AclKcAEk/ead7rgz9o0eIQw0WZ68/Yuezm02lDs2FP9CdXZGmRF3hSKojQysDCXFrMgRHNlfb9JabkQrx9WWFXTL1uUgF/XF32O6ayIpNmBJxwuE+uHsVjXmfS7Fjs5kdV9IVYrGayV+QJv3LhqySeEY6TxfIrgN/Bn8/nayYr3hJw31mBQReVAd2UpmXqnTx17iamEdJ3dk8/ADLl9Y0yC+FVl0p1zS2+Ix3ZLRR+7DEmRjk5EhAtrifZCv3NLKMg0K0jwYZygE61YVtATEhZVIKkj678nU2H2TfLjHGRfM81li/iVAJjJ0GGsRANmX3fg/FMkvUIk7umNqo+dRB7FNhq408yfw9Heinpbig7WHD6ROucoyJIFwQMHC9KtqiHbBBGpr8BpARMiXYO+F2pvPnLcXQ1+UYUKSjJgTpmBYDpMZta+LAwziFLZ2bZz1G9dTMb88pumiys7Ydb//8rvRiFTEmJVicZkp1gsTJxWsCzGihmesFEYhFYLhttpn/EgYm6Dr6hP51qOnQdO6bK7s5FAuBGtEerRuh0aSGrB8bx38BW9gnj3xS/bD/05bfx26GqnSJPefEQDK4/Y2Dd+9V7zhhqc47dWBIyQBVPCdWEbstyabdoQqFtfw1qMrQgpve26tX3z2lI4VGD7WuMNiMaxZfYa+BTT7OD3CmVsx+XXyexbGV1PbWKGvPpGrhAnQYBzkDU6F31Osxd9pV+OMhvL5meamJhngnLPYxor9V/2JwMBYk8qRp/lQC9DljuHOoBOGD5H+9l+hBxLZNxfjwGnj625a2dm8nj0Nvv0jWFMZrME5K/ufPYfmoJB8nCbGC+22+Csum4s2vbJWyao4FkgvnulDpo31rzqeiuxJOBB7OdNcxoC6oW/xPmYIdeQYZCorpOcURH1DCt/z2lM69OX6CmWVYhOCobOGr7eMGHuZOOZggydnoYF4z1Y/61Ph+5JFrGuouYpxaijTakWQIt8JL1NQpgh//6Ro/MjJo+NX+9Yu9z5b2fMdqznCrGUK9o9jSZatSUqVAM5MXHEDxrDd/RQggMYsnmfKwPCVgGbklYipxlC7wbXxZRElTnyEy4gyvEgV+//lC0FUISdl7U98+LcbAOR1DTuvAxA8npRqM6Dn+y+RIfYdc5ej/9amoIs3x3XrI0R4+yXGIRC9YJrW6MWGzwBkuF7i8LujoZw+oRCw7fJkQ9ukbej5+LA5dv84XiFdGt3RFRuPPmiw1+xG/f9NxeNO7ggASTZOR0daIA7iGIfbGiX41PcHLXHRd2Kn9wFbXKP/xJKfs2UI1JVwJRgxAcSo1QtN/tWQYqag+QT5s1arYxbHyjRiy9R9WPmwxhnW089vK5O+HYSw+x1I5cFrqn+P7Wp0DZYe2lUxO5S/uU9GB3DREG5NDdlB/cHJNrEQPe9MBSSkpYabuIMbvH+K8NrraSNoavKS3ZqnCOxbnq4IbdVfwt0VzLUH0Jr2+jjlTLERD3mqjUbELO/T/5AxA1O5hbn+XhNdJRiSnw9XwfUWwuqeMo1st+bvyLR+qy0gfePU5kjuVVsHR+zesvfNIiuZtHpT33XItzYOVKW/BriPfIWhG0gah3A21X3in824rsWt3sxElSwf4Xc2YUB7JPQx8crrP2w+IBbB3D/eHc6SExjHaI8+8JwW1AcnPkyK+kniNw6zfvJJRqb6Ei93vqiUj12QokrjtfOd3aWZtROTf4uWSl8UhObhvp6J/aLTA5xShAgeglPWAtzKfGrtA4r/D7NBEeh9tNEgn5pm13bM4YVxHlyC+r8YgNVfiWvhaE9t0UWrIRrde1gGA+pbiANx370TcXoGtdhKk/e5avOskA28Y4OyINTwL5YPqQlJtWaXmv55DxCm2TDrGHvEAnF77RXsrBW9j03bgN7TkXzcjriybzC1b8HV49QvRZrRMUYVvx0DCgTTFXp5jWB7UHuFwOGTXXL/99v/w5StnbWpgRwgZGBP0M6+/9YbiYj+FohzcS2LIEksmIWumxJGsBWHuRMKLM6kl55bVyPgcqK5MNpo6xs+cVXjBE1+KLR2Ob61JFlZYf5JJrV3HOR8HNPA+FxY2v0Don0sBy9lsy2jpu04fUHHsEfDkePCHHBjX4sdLkf+Xmgbs0RMzgHN43dZ3O0gIsDUv7YcMdX1aMkM5/iIaEWzHrlB6fpFOnELJJhaMv2c8EefQWpN73gpu60BDmscAKwZvrmTN1iUvD9LdEnPCPXvBlGHeQCNngUTWXgNffzWHf2UkVptNq2lGbxTLkANVxsi6DRuiQleOyti3okwP5xoZ6NYSPNyVy0wHR7rGFeI1wQ+vMR5lLfHtO4fBclcO/kJLGOUbQCTTO+Pd+UfOaacqucWY/cAsmypZALZRReGoUPyNU5viFCIlZL4UezZXSaK1U2rtQ8CQZH0YFNybSGCrXI99VWQHtxMrlsSF694ym1HK4cvK6qxq5A+FisZEYPMF72TXaMkXiR38cztvjtieBsFrjl9HBpK0hmRsqrJB8kVC1OUtiOi0vdDFg2nYhy/NzO23qcVYwVViTKlzynrDXssTNoUd/cCLv1JySjKyIjI4TfknxXjCUkHhhIghw2JIz8wE3YK+y8EiysHc8/VFsivb1g1y+MUF8xZpoVQt7mnzt8k37PiydlXwd6XnUcFKWv8rRLx5k+GMLJtzIDKMjMnSMu4yfFozvf5tjKWJOATvcoLC6Ucsq915kvPqdfYHSXvWWzLemChoHd8eupEGyN0P0Tx3a56aQ+GfTF8TsLKYzgnrviI8aUMBr7rETmxePuEtLxmIRUnb2npnvRkTl0PvkJdnJXjMxifgdxT/5ZVAFNJfDK1GoGdcNsYE0CPb1OThGlpbhVarG8rU8TZUEk2JzL/a6VTqQsMon/1tUCsYrc0/r2yYmMkIbJzzYHRgGqMfquzb8J2yoP2mFesWYhFyFy8oashB+VtCsbVoilH8J+T6L4oTggXX5KzOeASAKriRMWa9TuTqBaM/bXaTZUMr4m11Lg4q22/tJme7iErbd1FtVLEfuy0WG9AmGeU7h9cMwO9xFY8A+6ybPb8pVMRVBbBeyoKBGrPaB0JW535vBpQL6TjAQt5irhr13iyxMEhdm2X4FhMC60BYvCB4DblXYLRJnMM5XTOMJiPHbUOlCElWdYbrriC7M4SSCC3gY6Bnpk+8Dmo9UqteRRJ4/t2rbhwbMlpT2qs7q9AUAHQxYRX4LrSHUTZ0ZclCXeriASqcHakczE+83Rwn/pPcpzDVDH/PznOEXy6UzVO0lrCRFPzJPm5QVR95lgfG4dzDaPdVCPONlHxsFGWIviF7lgiwS8qBFKvKtpnfkxmvT+VxEt6gZLYdQycwBjF/AKnKr8PNm7qZJ0sRUUn9q5BlTXKoMjynGiZ4+w++0hNRkqEMmvT6PiR4lqcqWHiAttZjR/Etsz+uUOvVOLfEZOEx7IqbEB3H5Hwt8ytRaenAWsDQWvfic8ahafMncz9nvOvMvG8kzPm/AFJu46CeOGnhVQETDR6naRe3zz9rD0fp32l2dpWO9OpBT0acOjIYRmPn4hldec+GOPl2T70vV36lcrTN8IaCOQPXs2VKnLl27uSZI4ZRwVVTocQAuVH22lN0bEJS4YKX9LF/4n6MCLjHJDix62S/3xuBbBnKOkGgIHCzLr3/BWgZMS6P41gAafDYvLxc5BfMz1KxDBnKHv+GPe9eSb5/NQvpa4ZNk2hqqeJfuY4jXfRGyyQacCfN8jgw5+GMeR7/LIsV5OUDbAT8HjqAIsNqz/qsviom2MT0ou2nmukhMLbCCd4KhFTC573S1kLCdxdUhmk7bzymGCrjrqX259z+p2UbAIsRYECf97HDRbOT3AaoYh7kXBULpd+fBd1STAPy74HoYdYvV+av7iB9TQt2UOJ5VGs9iSVXViz4u41z9aILpt7m4Em5EKRV9sNgwOLxQMB8XjmPEICw0XhzKZ0lV7C9X/2kCdHv2ZF8McuMMdBOqibvaH7/DRXs7N/TNQmC125ax93t6AKSmyFvdbko9Zu4fD07hnqBx3oIzkl0ghierkuBZEJPb6pYZmnyWwlVrulKTWQfKNJQJLIoxMaIRYLcC07z8I8xxPrm84ZiFtH9LzlP0YcE+H490ivmaBS6I6z3rt68w//KhhSS6UVOAc36x5R/MkPtr30LevI/f9lDGF4WzvjMN/1UhiTd4qlwT6uevL9dpwqxoiL2axUf8FXYUJughcrvNdHpRIOEFyqUP5RwGZWkAqfGT0f3LMhByhMJ+wY38fwLimZFvTZcqbgYHmYeaUAhFV6ilkmeCw9FnXpii6IORYjQP4aKlNhV8yegz/tGTWweIvvikTp0t/C0WzcZkm5LlXk6yJ4CcNZKiez7v164p0ykfzWviBabfDM/sOqgh6vq6LyKETcTD1sDTg66MeORWvLHBVeiZFrtYCfYveaFZZdfOSdYNp3CfqOWWFKDDPNukQIPGJBsDM+VOY28258RadspJEj8JMY4sJGzy/LHBUqKlOMJW17vl1TA0mJluHKYbNdvBPP5190oJa1TWHHXB8paHXvAKaKuXrt0aixSXcUE+LEIDTKgjWeUxii0BbbNti3HPszmpyPLqUB4JpPCljjd5wTCwJKPEsGfDfnZ4rkJK0P2gEZSJL4qSzf5mUIAyKTq7fWTqSvzmjAS7lJ7k9d21JLEWc3A3kDdJHVKgANBbqhhG6vv9ZGft1Z4AxHsDy1eaqcRrtgWQLXpo/8n45zS4hd17bPT1tLHysfuSxANg8EaxTzD1nDST2dxEPOzChhwFF3WgYz937kPNuE6I1mavx4YPsvi66sZnf+qhUoch3dFn2vBRZmh21FJxTKRHPmEGmZZALNGY2fEI+8+BxGRlwVqNeizMjNJHET4nixSDPT6T2w/4LQ6gmy/RY2y/9v6UB4NghNLKtlN0isvMgDY19mxIQL3KIGnely4Op/ZeJfoJVTk0aOvbPFYUJXT6tQO+ASWLrrCAKc732/Y3eJNwUmWvXQA4GchcudLxYeV4pmpFFG0LxS+sYoQu2+dqBmx96fSN5Vpc3XEFP8FgVRDEnNc/s8Z1p0OQPOLPfuangR0WaM4G1e49mzR+vI7f4UvFAylcvimakhqEgeOnKtgO6zWC+eHlolYAGDBPUIwRysrY3cP6I8CkSfHg46nVIHwcB7eLApVZIqkadRVg3H/wPfC/eFaOsrEELZhUdgBShdRFThMbY2l+jgIIPnm9R+Y+EWaDyCEbTIThQt1yq7YdrvtmcE9+yYhPDii/8XDOaMsWCIiyrkeDWkg1EyzRbZ35wBrlb1buhKJjitE9VtR4NRUpMWV1iM/Bj90fxRKYOvnvGVkC4JmFp9bpFSwcwaJ00fo3IxX38NcA2jIppdo7M1Re0+uhJE/zd1f2BLb8/ftmyHF+o20h86rQrdQGpo/wGRKcZ9geY/UxOQtbrCWMOCjSCAfFG9ITD0OEvnTiPtN49z5vr85B0vklLzubtyHupliVfLtGmDpwUAejCHBTESOIwyVGBu3CT95fETDO+FVBedyuXQqCiZmq9xNb1eGMwhTGThHWkYPNSfgEaf/t7Zv88vwOHfK/UehAtWh2yghQ4bHk3I7v62usVnpvKpwD+/+lw8mlNZqOtMMQIB4tmaOOkLJDuN4A8fvW2LRIomzhOZZ3dhPUKBpVwEA34eBeTTUJn+yBz4g7ldoIH1t7NFWELTIXn4fiylIKFz636Ad44jvIz+PqTOhufUY+dq0ExQ6xWSInz67SKxkqEVxDEVQ1XI1McdzZENYdWVZmIbnvEYw3nDvaMuPmbup9udQTf8sVr54N0UEHIOHbY+/RyI5VI0aaQ1Nlb+JYHAfdBcKyAStw1WdkVVU9/ndz9O1xMqrMwnER2QZRWc3waeHeaAgD9s6G3brJWpcwQ56FKP7TYkpIk04ssRnP9PmeckE3b2iSeALmw4drUO/y0aTe2FD5dojdZA5sEvnwXqTYMVsdIoinIDCE8yQ7p5d0fiMoYwy5QEdxe8jXP/Oo/n7botkUhezLV7xNUTEIXfAEa2dSgzZuM96xrAyEbg0GuuP8vzMwOOukIx4ePtKMr8Dbqu94cPMbCgTcQfBoAFJAoReckCbNwfjoFtez4g+CXvwmmqeJzhOPUTmPaIlXICnQOEEfYrKRtBBDIBJrsMIB+frEmvwmAKdqhrxgT/bXYEkrvUBmmj3pgMO/ovG+KtRk91OxgBKZHiKceAHXBNppMxLxdpdbeOTYBo2Q1SFsFrZ5FHC+eFVq5CxJdRUO1D4qNfqBVZuQFzmWKw4qjx+d4Y6wV0DTK/g36pGVMKoTBlDhRHz9PBlfxYv1g/dFDLeOr3dTdfRj41ouY++3NazJDxOR4G2QhSVbGvZInjcRabgwBsXOlMZ8jfTG+Y6ElD4yhoV6GTb5BplEYd7xVidkI5Dh3jJ0PYTJy57+HX4fUebLXrRNAnJImn50wTZceAPgU3I5wAQRHILU7ITYtRVmZyJVuS3hUIjN52oUFzlt7Yw0fqwxu+895FFO7i2JIKAra0BygkOBn5jioGeBC5G5jA2hKBBI2tjwpawbpO/rezs5YLqzaZEwN7BcpwF/XsNazbm3UM+Pt4E2NM+c4/TrB2C/FiWHrs6kvwNzM1EYzBqK6A32E36Dim2p/YQJBRtcVn6zB7EnzmKR6pBhTmXiImSSjCCWu8Cw+Em7U7fQQSaeTaUKB3tsnDv1NmY0sbPBCh4CIqc31yVT2Dm36BQgCaXPQ7h782r36Crf2RMHi37rw/S7E7B2ZTEE4+/b7fBt0eI9cZ0yikTc7r7Y+1qJNe26cbJ8o1b17H/N8ebvwMnrU8m2oYs64d2vEBfrrzhazOa6erGAbhIJWAf2eUGnvvH9WU1pd5NsZak8vvMurRU4o4XauVB57+C58cCDrXSnpfOBDwJ8Xb55zluNPIpiEZlQ2Gz8FOTI5Tl1KadnAo/xkGenysljodNOa2HQazFAsU6q4+XqhDPuwyQjm6XvR0/lwOhhmL9T8XDrcROLlJCywlKYVJk8er8POaHjgqOuyYKwZZAtvUhfaG+5jFM+QUzM+9oE+WUk9SJTk/sCPTjq317KxGmCZGYYCQN4/RyV2/yd45hHtFHyskpLxKq6w4XZ1rvAUM0YqKQeKOF02cXURwQ7e666yedBz828diP0Tz2y/548KcNxV5BZyIt8YmzyCu3XVJaxTulYflm9ugJ1upSAcOo6zXgMp3WUHrb459AWCs5jSGA1BW+KclH1omK5d4I4mclMAHOihptFMGPkWUIQnrcKMdBMaz8wGsAi5eSZRv11dVfg8FhbCbypG85IoyXXDZZPAYHwjNJ72oKjfuAZctttWzJwuZa5rmvQQC+1Q2apwfBt5wv6/hS3Ma0XvsAjkQGDku9/no83cTlRY9nR4PLdnb4mrmu6zrdhzwNreR2GkRrSjy0CQiszSvgao/Q/uVvAcFAjeiwyVzqBaE0G03EIhHd66LBAlQQcRuWHqePDqeCG9/0hJkhFPECW7ED3rPnmANfE2aXM7wiiBjAWHu9gy+Lgm7Uhls3F+mtA+C9GhatZQcRu9zB3d4UDTPAgGYyBygQsT/ukHpjDEHeztWQrW8aQlxGvHNEW4VpwaIa220RyV2gTqHgzzcxmu5LG3/KPC7QU1bBdBznJ4Wy4cTwBeWEQFd81Ayfw9JkXh+XV3V1euZjgl/ZGLFSg3g54iJACj7tDpgsQGFDbSwdrXCIqWlkrG/k0qHfVHHlXdb8X2w1q6RQrO8l7AggfrptIX2MM08qiSwZQYXffCBOFLfaeF9364nFcniuS1skU18EpuX6VK0cuouaQjr0O7kr9zVnqCZLNZ/DKSLfI9mmXoiqPB6ChUXxEO1EvHTDo0OozpHK2xLK8QdZ2+zPAtm17z1s56nSBcGV799fWObU/zr/LQ6+OJd0qPDPd+INxYPqOdM3NP/4pIcKocmvDzMLswfH8zLdbqDNJrKFHzOhWZ0cOfTkzj1sXKBLYC1RY9JrPHKEOQsm6NJ4QxUmVOOOF0YQ8y+y0XTaWm5RkzadVnDWYzhUBYPOEH2O8dgTm4XRudleWhmnu5xgGL9Y23mtkH74xcB4KI6CiOQqJskQtAKY8ER8IDW1rTO1QA77ZskA6UOWcONBEW4BiM+TTA7utZRIqJhssGMlcTDDChOOugUhVfSAKwhqOiA/dPcfGTDOxwDKfKMfgmrEYxYs5On/WhbTvS341BpDjunRP/0zsuWSp20jLKMXRkLrv6V9vsiIJ/XlAaP1LYxKrnW6XLhCknWA+/Gu6svCkJMTvEfLGf6TEUhEXg4hebzFQLnL3lPMIwKRdunulGlxenpXmI/b+RfPCsUe02nHeB5pFB0fK4hyJqBgEBl+ozUBGzoz9rLjfWnbbM+FtgQyC+i1rk9rD8BgxeIMphqUGsVZ/TIgzyzYUMIc6FA9CJcFz4Az1SFwcd8QZRa4G/7k6U1ZJoXHlwmanTqVWa/kfFVEenbsVUWQ/L3oZLm85uKtj8ObfPnknYgwXVMtvRxf7UIAXjkC3LW51X2cX4d1sulWdUqAb0PRRAQG43i0sMo4uh+4f13UJepuyB/z99GLaI3zWzwWmbK1zhlF+8QawLG9J4uZnWmTOx6CvzN/VrKj0tA5xFcGQ4IOUREKTMY6V57jAy+HI043CND9zSgfLXwwnMVMS+4XJhfXtzt5h4sI+n34dkURV/HtQJYPeJCfVMV3r+SolivqZijWtsG8KE2Sjki5CtkQOLS+QRi2YC4xaGHzS2W3hpBb/VZOFdyaRqbRFDUck7Mv9T5JH9viir8ilzqvvr+bA7XFte7dXup3Inh2NNDR2OJq0poy1Qct2uNEW4TBXAUZXevL+F/pF52UWnRi0khpn3imMdoQLgpvK7v9ZQO5ZtGRDxI7c8KyveHpEIaPR2JM76gtK/9Ii+zNVhtjL0SUJPrjktYi0Vs77/0DMZKAfPEVnJIyUaXTRNuN3dAU5Nrr3KTZYl7bu3R24QuzBmaXJnrvbYTxrnTbHjcIMRSlAYKa5EmkqrRbqcPDjibGNcGW6yRP/PD6yE0w5R++tTwBqhbIvvv2uvvnchYtXp1UKtpcqgGlHwk2cbAx5vYEwwQLyz86D5/mzksyZadW/NMM/afTYv2i/dPH2UlmSBzpgB3LI1wXbC0+jwSYRPxjF3DaclJKccFa2B6e3DQBAFL2rak3/DnKKMpPYfq27D+S+8hNZEwb0EcVZ58t3gBD5iIHdrrk3DWeYTObtBCEWuYyGcqLQFAjYwsrUZ7ee2dlLQrruJn18ALG+YaR/mDqLpWphFegfAYB0H/+Zh3LRfktCgNAvRz4YOV//isMmRDBBfUGaMxHyiwCVTUWgHxt32r9k6xm9BF2vEFbI25WAlf4K2j2wckOGndjqSGqas79KfEc3zkiTDXbdnwqggcBI9lA/mUHBpmzrMZ+0EFd9CZqEN04etK+vGgqG+kQRY9i74l43B7alTVj8D3ZKzs/r6mWFIoxkFhugfQT2QIZ714OgK/v4yNoKxeOx5mmNALVXCILTuwLpi92FqlUCc5A66LHfDKvQeZCpJn9Ii8sHRLWnUtgsusbUbE/Sy9utJz6drNKIwHa1jaZTSu+MFT7+PCWQy2Up9eDtp5Y4dRkiCsA02Km8k7Z2U2HWMR5mf132D+XCRXo+fc5gqf2BABeGlPS3Mt5LGgU5bra/MiKnQft8gi2ayfbb1vqUoJw8Ij0B4a6GbT005BNrVJcvkavr1zhmGg6LtYmYTl4dAYbkNUGeoIN+aw+5szkxNEe1Hxeue0Aq17xjeKSbGsfaVu8oQZEb/RO3FAxoAWeuyStFMcpoWhsLegZo8vI79Fd+aqhaS6Q5TqzjZyOwowOq0Lumrog38Q4EyqAxsAjpvh5W+o7LZAJcfKp4mLdv/xnqcXUs5hXdc56DPffqPDuD0ImMBcT0swW4ltds2CS8AWaT5/Jk5cVj4TrHTmYfolvP9O3ZFtgiVr9YDrkjjYouOEARx70rBFMN6wQh88tgrwocT0MEArsCSWb20JGKa2JkBl+hEfXHmT7TVY3ud3pIzbr7nyszMLd9jBcxkg2Op2icU/Z8D53HOfFFdgpfDqEJOn1t2yvM0DPxuAcleY2vQsSmDvdyjVJ9P4A9pen2K4t5S2NkPVJq8oHy6NoXyRz320wYrzB3mjDBptxL0MGF4d2DlExwjhIuNBxgx4PZVRTij9L1+LxjbMBlj9cAHO6OsBuaQbFANluf0biAF9qx9+DB/CR55+QCbkLpHsUtPOYCr+wti2qgVUoXGK+bTFNThj6gh2k/QBeHAfVbNRAaPobBLmPg96VmV1GiPf2zHymV4euuQ5N7scLaf97NsYL/YIRLDRy2M0MGpAExywKi7lk3KpPAz+6Qh3gJHfwLZzsXFAZbydKiOpO2AIY/ryN70AWoDtU3I361ztTu3mAmwo+3mZACWeJNt5KJP6QgsblYWjMwja2VxS5TGHH4TfaYTwVPteBWEqPCiiJdRaD7WhfqNfB4TZkr8cy504lDb0/d8u0N5x6E1Snp4uf3o2lLk51HlbIYicDFY62bBTpIELbLwphIvmorykgV+Is0F0aqr4Abm1IuMaBNKr3EEf24hIuyoVI6HzbKBW9VfjBO5pi92NREfcdrS55YdcSOH73S6BydqBW3GAcnu9BAOUhn4cvKN3slfmRPJ8Fe5DEpk28ST+OOU7GgIVrky7ngC86daIWYrT85EiVVNQanEZU+15xMzG6FN4zVuH27Cd3+lKIkr2EwmpDid4CIgTaBE9ehroiBhYvWfEg1/wt1Y4COQTYRJLjUPpY4j1bnaHIqaiqmpXzghQ/l0Z+K1RGKkug/wNH6TTJCDN4qYcks2i7oLD5LZD/SsABaQrLvr9gosjBZ7XAkKyK3Hwsb9yU2FQ0pcHPItTsuc1kbOq1ro9Ri2RX65NNrsGj61NliqoxlWwyDuONSx99wQMbzJyB5E5Dn/YWWAtw+SV5205UEEhZg3RlEcaVYxKFcp3e5Q/zQjeRyt0zKPb+gG8/g7W17PDTomdVCVEftCim6y9dUY8b3HVymHXuQewxLacXHl97VRY72tlSnsWTRF8poGhrjSZ0b2GfVsWBjPwMc66dGuZFsHoyu8rZ0GjAXIaeFYoT0Yde+lOucoWOGyLZwvNwNRy8ZhMJn+w20OHu3hCG46lF08dzYXLqm6u7lJG0ZYREo0r7pepeQuVriCEDrZkqIY7DDglzRrwD7AgPYo9e7NEyJCiqUEPEMA9PMljz3z81Oz+wptrOtZlmh/jF9qUeYXPV7dfd75s9qdgfgsdDPvlLuKNwi9LTSxaMXW8cmF4c2TT+TWZaIKtanPybmmaf6XCQTmTh3eDxRYvxPQL5c8kmABX3LRkv9rmGYfy3rrYfnf8aZeHz+0psdRxYF35LE6mNMBTc5vJ6AGbgzf3YRGoVMz/P8sItJfY9732mgQVNFzPiOvpjPlecYO4kewgxikZyxPjd9/der2YHfi9GWichgtpjGP7dGLoZ2T/Pijj+edNOUw8N05DYgaY4qyfRTocGZEspufZIWuleGQraZl1ZjboAXsWb50EUq0y6alyGtZf6BhN2Z8R8adDTfkElwOWAUWIjN7cusPDmfw5eHSSzAkQ7c3t/bEv4jn5GlN6oTky33n/EO7o4Zs1lU/crRf0CrNPMqBz91QTE7m8g4qua13xYhFZvvTrCkx0GhJM+GFNwiJ4ea3QP50ZQqZVsDQc9MDc8dPilwR1vHpFGYs+tuiMp6yL4yjL1CnEcy3G2R2swDPENph/dElRz6rHtk4hPTX7/84V3nUc1BVlx1N+TAIEg2I2xhl/eBXIPcSL6v90qzrtbMu7zLdz8CPFWWxIfwlmiR6GMNotgtuuf456S4BkKkCX+o6RP17gwV9ph6D549qRsZ3yd5hu6dNnSwoOt56WW9nQJXxXg3Wk11Thqzjm8Tgs8yc0LDnUGikqLqku4Q0mZ0UAcas+tsUzIdRETjNpVxeMPO2jD2L0ympSwLMjahFDxUH7AHJUgfomACxFFs5sIebotk016+F35MkRQEgoZQbYnHC/ELqepFWmJwtzkhXMo6SLeG0OAJ9N/c0TRwAyeP48SEQIEeN+vKCuGWK21VNPeGz9Dm+NJSNW/+QjEqZZt66wZH9Fc6P3p0a9H6I06R/3euZaE5v7xuyLhkUYgM6WbZth1NvkaILSpKpgUMGftBDL8Ie5GmEFu+6LCiTAKbWxuv2gtJjuzV0uOIjzjieHmxLOx6tvpp5+R6HK4cNDi9NV7sCaMj0PAIVukYvoTB96L1HjGpEbE3v4XamW1hs9j2qUHHdrifM+eDSyx6LszKC6Lz2McZgGWSOLWxCvQf74RpNNFjRMGO/zUnmrIZS+AB3gYbjERkpcc4sXuG52AbB/AgqkPL2SCnqTppRou/mQmdW+P810g2RsWRvEbRfuqbB/EcaQuWTY3WbU5qUIenAzCSq1/zUgQIMkB7vrbHLZZjkD7faL1WM1+JojMxgZxNDqSyfoftf+ULOrHK9cmxAH7tRz9h1u8iOb+oCidbPMJ/YgeD87rVEN3xqtTLXKORivmcY+Mj+0Gtyrzn30ykiDcHc2C93/yxBOjaRP+G1fufEdNl4QGCZLb47ZVvsh3xU+TjrvvQFwb7ZR68WuX/HdRUYS2sXeVqR8vdwh/yHFdafjrZ3FnbuSa6jwXEWQdzHCN6Wj6EjK3vWrPGgygaxZqcwJn+kbGpotGZK8q5PAgGS2YInNgdL/WRsjrTAeFOXHsc71AkpOklhjfjoV5PT4mHMa5K5u44oFR5lMim42bMWCwrxiBXV2oW3EtNMPi56CErYj5rTw0LaCs6BnWSJbXjH27rJOoqEyYeL4w+woouKQmJP71C1wyMCZFccLS0d5pr64NV/eV/lA/yIIsUCYUh0F1WPeYQUK77caQc1GKBWR05ZhYPW4V9gSdm+KmxjBGJ8sS8ZntANyGtZxnH34WV2Ojtp+TSpvh+tSJQPz7K4jo9xWeqN65oGAd6ruCmZJvx4bpZl0M27dIKRU51k7ZW5z7DQVGtjIzcY1RycsRP2W6boQ680HWelWHGSFTiHFgz51sy4et0tXv5mYF0X3qOuE7D/RNc6AzxZGz2nQZRoD25bMF5nFsbeQKalcaoqWvxSQ+mWuikLuHYSGqc6YyXkB84dpXsUZ0kOavfM3euJQEpOlLH3ERiSTuLQjjR4HDpY0dbF0lnVjKQeuSiEFalxIu8B8660VgAhj0HY1BFyJehqp8+535kP5AU6uq3zHZ9ZDRRsqpcFXosDnrt7TYxZRPMtBsX/Bb8m2dyLduu9AwNipQQFDz1m1J3iss3SpeomQ2WUdGn5UnE+ekCd+8YVe4DJSrBXinrq4wgCYywr3o8QeJ2Sh7v3JMo/slkG9kgEcftbErJs4PbT2qd7pQYmttKGbVuycwUytHK2y9AXQdUxh+/XHiqcWzD5Tbx2UB7ouDGh2of8nMRTozei7PQf+DOApiG41jqAG6RW2LbdT8vAm6lKoInV8z7QTY/kkR14NmAKzXBVTuVrjBKbehIooky9SFhalTWxtToJRGDBDJJ5iyNxq6CbxOXzLORR4w26g8y6LPoxuaUVSo1nBAi4EapZm2d0ZBz9rfJiPORkVvTKq4H53XF95ws5jNskbZqa/8405NAGZ6m/tTfLX3hjcpCFUGMu14YfsJR8idCoZT2ZZQKOEFZ88VfH0/+aTAHhzwzhBXCc+j0Y0lHMDWaiIPrw2EJ33rqdFmgeLVEmQ96Rozz4buDwsIV6e6Zqb2QmuF3ZFjM8sYGts8r7KscAdtVryIMp9xX8hzZh9XLDUkcgfrFbSr717843iz/fb9Q+rKAwxT6pHad4+jKND1DJ4TszazcWOXsqey3yFZmdSf4iWmXH+vynpu3XrwGAho04DoTbpYwPNN7YUxAG1zspVvAEd3xLs4Kq0sorFGg1Z92LGV8mc+HtYGYwQZp0l1JmcwVp8ldjyC1hty5ZPIy+EguKYaxGmG5O++nxbkqDt5yEkdsRcMkoLZrEK0oOUgkUsVxkF8KzyXXrva1a64rgIzk4E+wzNvAnRnZLpUHYy+JVH2hr4QAwmFcnSlyAqVgWFsvySsNTWyaluD0RT6oZwXklRNFrzivJNgVUYmeOYINrifS2mfs/EWOHvucpBEpLyZ4sHoWV3f8vG3fTj2OWxufIxSWcZCPYwSOd0rF07cku4F6y8kScdkZTrHUwfcu7nKsi0WCbBiKeoI2YciPAa4qTDwrtaaR7qpAOWenJOpRf34hzu4gc6KJ8FRw3eT5HpPKbLq9wFEBQ96O8lfJl+0DWJLVircpcIR6WAU2gz7vgXstwwsZgWLkQVrBzclatYRxLROmv9eZuRIakilyZweCzfHmaCVo3S9AJ4eLaZDtdIxBUjdcZxrrfidEWhcw6SQgBw8POgJC1+IE3NvQWfpjts7txtBsiDeKvkKqkGKRxvxSPn8sYKHv+iC4nTUq6ya2LL2EPDtSJLcS+QvQPCSx3mQx28ZMaDaxHHdzAS3RedCXvak3HfZkA/nrd8lpfL0kjdz8zJHw9oF6q6jVA8An/TTuUmDVg+BM/ojn7yYzXxzk79fURr/KiEBwxc8lALCCcPttaKQGDRiiUzhdQYgFf71Ac78tBkamH8ERaW779dGl1WgJS85FdkwPSIFAUlcYkt7f6Dv3VJN2yt+0mZxdrOsOe5GLu3XAeccCLS/3dNwcGU73qe8K0fsMuzDiwJXbQtq0zfK5Nz2ibiMiEbpUe0bvarBhr462a33NROBPKusBjWeqU3d5epvEGLfNrAXsuiCRa0rNBdDVXIjpBc9Gg0W+haZtduPCsIiDQ/cK5llCo9uZymVWF2pTaykTlu70JelpLU8fcuwyA8S6yol/cXbzLzJkOAFre6qeC4x9eK7eolGdRAGaDzzL/0IMhwA8nqFfIcpLwAHMmkGjOoVQ3pMKTUPT63cNtu8fdx7MTeUWJIJQ2YPX7MSoUERCjGCPcDGpiQax7hJyHHSXka1F71IwlYEB3+bmtOTR4ackSAiyL2t3+LDrEjq3vDWQ2x1qCW4+9BGa6KTt+nuwQtlRC6k9Ai3MgRgoWrQkyvWGAXP98JWRK+w+zmj8eSUtYtzNz6QsylS54TyxbuO07W0dDvRIbW8oSgmlC8epiigPB//Wjet3tI+9GpJA4HXIWw7p9lKvhlyzSENkLSVW+fLwqwRNegmqwmKNb6RbBeF8dPMKz8Pfn2sO4wYaBNOvMYU5eqWorJgI0sFsauOlehfgZxth5pmHjMpXvu/Xhmc4FQ9UvBxB7iCNwfJo+/WGKesN/iyfJQu7pMP28v4MA4oC5AJ9TowRcu4w38y0xRTd8oy8ofTmVj94dS++cqpZEwASHcgg23RiNe9c1cegXUGi7FZ8u+dbInN6S/JATPy4ghMwG7mL4gZqL1EPWijkP3Oko2UoaW1Ngy4vjyTejL6JcpX4+dWkg2Ig1OttdNnHbCrM1eL66/pVQIX2m2G6hd9aY5fRM4VACDSbd/1DOhwKv8qEBBqNK+VAHA+2sa6kffoTQHygDV7T2/7eu4poCvjHStsgxiKvUuDUeLd+ORMY5GDm+vdoXrb/jkG7KMlF/twpSluRsK0O0qrAhIwA8bIPrmUmunJC/S7+7PnuNrzclv9r2ijZ5yJdZm5v7N8sCleCvVBiQo+QfeOiLY5h960LFCgdkcQm/dmjjQCoNQIloz8fw2n+wMw7ff3J3gbOTZ9bUtALRWVPAPAj80KKTZKoX5+yMcacKQzMmeu2kCQWyK8sGSNORUyyAZOtuF4+XcMPGcmA3cpL3tZOAOUoljTv/X+SwhKb6uCXG/cz/+48LCQoDG51QoPiWCM2hhKERyIOE1GFHl+x9ccsIXvje5/rp7N8pGFAPFuVe80YTR+wKmNA3roAzi56M15vu31iAiqmjfIlgHmEd/kEK9C50l6u74aMVce9+vZc/1ya1HpI3RN4nadvvriUv8aCTfN1NJO07e3Rl8E/Lb+aCpsk7PDRpDvwBj6oZhNjGrg2+FBXeBp424qXDrq1ajlzuTk6/UXjxYH1XXMeOLaOvJNNYBY0el2YboOFrajzPDgJ2LsbN1IVUuZ2Bz26U2RQoGT/WrX4d1+jzR0jcErRat1360B2Gy+hGUKdhvheEoh3QBuCapppUHTgcdJtq4GJByld1flAyDppUO+zIn3R9+HvdsMxJMWkloz1oV3lfWROZhpI0P1NgdFsKctcRvmx83eFaR9IrpokaqXtQREF30odxWgpGfIldc1gpwXi4HWvJ8lqw9VgvrkUijXUTsJLKXjdXi4/k+q14L5pNXmJdEq3bVX2S0F+buaHFHQu1a7VFQFloXX+RA/aI5kijOxzFtR6g3ulHs/JomEvCh8aj87FnkOKmWRjazLnTh4u5A/gqUyNRO0yFd/0yKUGOxNRGQzENaY6DkD72ku6UF32e2QMJPdWYqEhdi2ysnrLZ++HzlEByjd3sEjtwbSEXExTJ5FgdUra50/Nnp7yzZu0/dSGjouAgyjcwlh0ucsbm1h2cFAikl4Q3Fhe3EjHlbB+51fmCOZ1Cq0TZKMxLjQ9EdauroolYx5nl5O3OrpqTOYM+WNwfcvaBszHsYrA3KjD7a4RHdmgGEXEiWmGzQ/JhlAMH4m10Ve1Qr+265mSj6fHgj7iuWGuGx8XRP5l7peZskcAjLsV0LsW7M7kHVWkQkxHHov2Sfccb35gPdLz1ldnM0afZUcl1CNrGNb0YKnN50b44HXLjA3BKBOIbr/TGJqpiIik9/BjLhwagATeIPpLZlRpNfl4Hc1bKt78ukyoCpY8AxgJDZ3T8WDdXB3Foxwp2WROTbtz7n1A+zf/2gnS5UvyLDH6ieXp7C7ILEN2ksWcAMjAOlxW1RQXHLHErST7pv+m8urwRHI97uOHxTNjue8RKzzEDXZ2SSkJ79somhkxNIkc0XEs6WEmZ7e0M5BHEuzqmdvpwJYJEAbnG+fSpl2rhFYuehANmuQLcUkZrVtZjF9e91v6ypxy2Pu8kfN8uWdgZ+tH9kOqs2kOptfKrbzw38qux8CK/rZUPXGhyn9FcHXwe6l4XwfbJGKJzNLXSMyZihhuiwigSlhFzyq/Ryia1WLnnFrYSMAvwaob6mn9x3/m2kx306EAm57AtYsHHNMJpQEdWX6A/0lyyMsNrn2e+5oTbYkhhvvrFy0kTQvkg4zQOfce4y+1zCzr0m8/+giVYcVSuiygy8q5ShG+NvTlhx+gcyJ3Ke4dl0pi25Y1qYDVYbXu6yjNs3SiPGAcPUug3CYHuhLJpHMZ2tt6IOEzE/3YhcwG1gDoPioXm71x8/egGABRs9DqIAhiBo2aA9Axm6nIG0vbY73X0DkOlYSof6IJwyYWV8GrUBIC/YqNmmvBDAlhCojp077q0jZdtvGYYBySb41V+11KHnFipWXhQ7DrNx8C4e4LE8kl/6nvyhMooMA6lhStMcZ9dL1J6BCuOkgTra8kHlXXUauIIZk17KgrroY01bxjwW2To7AMT5Aexv4thI5rL9Q58TfWFAFT9nVnJhAGqKxswvP7zmiTuOcB8GhYHhPOS0rLn1kXWBClMKgzemt0NWToaytklIfbudwKb1aurfVTExT4CeQD/oqWv/1Mpb/buxeK9jfvVLLg2RbTLPyGKwq8d3vNa7sGiifjUzY+zQBeNFAx0R1+iaSmpLOgoKFerU0T5gRZiJtWK1Y9zjejFQmHS6ZwYfFtmJ06ZhRQYcyoL2IXEF7vRQusJlnijUDz1LXnJvLIqfOxVkgDVaVDZjDGF/bT275MaiKK3p6IfZioNbDEvFgzEwiZAjhXO5yjiBF/2h1oMUS/yGr0eNBfhWzET1tFmpFZKjgx/q69tXRAePiCNoXQonpfoBta3TLDp7jtpfIZn5XpTD9fiAzTjy8XLmTPdErRI3zTTlXE0I1q6QG5SXgJVYZXdbAg//qaqjgDoq30/nPCbXm5vbv621J/t11V+S7pj+2/RAlAI9UzeqP8gNBJhXipBjtwGuuK9w+GUDZTLvicSWZHMMArrSkay6iaHLB+XdUSXNgbTGxrmeDRl55ie6g1/WLXmN6QB/4yEs32y4nJAafSz3WEjlq2nfD0QY+GusVfN55h8W3/maDP8H7afcxM6bKW67YipD+GIRGH+plCyEvsntUyXlEvMnKa7pin+ZaOnFmMbBGmeGZY+E+xtzRPQ/Udk7PkfEYrk9/cz31WDxXGjE2Q/CZjp/mP3d9nPokCRbykSL2KvW9AKFDbIiE8qXTezDCRECK/e6uOa5cKjV7uQ2usEHLsjFWnmayWo3T1jrt7MUAy6K/pQmBsxTAtecjtYno0FF6h4xMsjEzAPVnw6+9Kh/CT3tvbkbHREh6DlfvrsS/TouAUoeTmZPvGX5PRn+vIhJGJC6kqQ29qHWxFVit69Wl0Js/OH10G9AbKvqxo5QlcGC8lIVSSZpE61ACibmZxxyJihDTQ8h5xsOu0KtrGJZfMoiw6CwTHHsOkwaDmH9jCX/TOy4NiXFWt43i2b7QgyMlvZngFjdj6XUWAiF5Gfh2FHGO+wOnj19sikCbYz5zKLGyGliKRiPZNMeUdCz8MIiA4NCYeKKTileb6+OMRMhHd9h7cnLYR12cPQJdzd1yuUYhC3SKR8dWBiKGbeliqlIK/N7Rn2eVU5q46amdNax5Fg1+q9nYTbnSbVQZfeAooCHtTlVxscSFFc9AYbqHLgNqREfQUoKC0TvyVeoFDsjbQGMh7yd9baSpJ7EENfi5X78dJGRz9cyMiI+6o7I7p5OQogH/LXCj5XNyTauxqpEKFE60nlq1Q8R/KzYOyT50OI7iD30fWRfKJOZd186xRx9xnEbLUPl9vQa2mSfdv0MZytjgzklg1HGDn/6v9OTpzJ8zI6+0nwXnLpPNKZQM0AeMexQB/drRcSrP3Vk36mfaJzutz4IDy+VNs2IHzk200QwmXpwLHlrKfYOB2QwDNOXLc1OiMdkinypn9mkN6VV6aTtCc243CoGKHsGr5IrVZwbHxLMFeexCjw+H9IEwE1LjawXat+lrEJjfxgQ+LiuyjQ1bNuCHhfh7H6gDQB8xgf50GfzdViqQr7wMZG4u3hkgQdGaG68B5Sw74afipHfGjfMDCA+xuD0zPoNYO+2m3D1r/BEJK8hlzkYIap3Z0dWwDcUVmFNjjJC4Ki2VkwyxJvjAVnipUF06OuCW3nnm7mpTcmQCd9B2tOPw1JwBQUb9O038tGSUDthpChVN9FBktdDi7b2581Sp0Xd0DZSuOpTGxbfiqPetLQ67ngg+Kse1QJ6hA7oE1FkDCTBZg4yPk7s5eQD+aBXD52Yjmk76U9NKKmUGUqjucIor5ZfP1LwDKNtKhJ3ZSBTfbKD9H4ckr1RWjoFZ0FthQ1KA4KyRFGcMLFnNhVE9HvheCq9je6IexmgkI0mmwHswC8OKhPNFWmCSMRUlsu+tHmlqC34wFIuLaL2lOyTkQJxgwb9EKRbQomVw57fSSZxXs7PcN8xpwo3VrZZn7urUWSJqFVYkFrKZ4eSiNLHvlNKI9y9z9rmBiQKeQG4DOSmF10+6XE/HRAiRC76HO9kp6KNwTwsnd3+o6ui7gP7pwCBZD+v7NH4O3vIH+oR+EIwq/FADke/mrGyvtwaWde7WOXBpFLIIIvVvpadRg0I0kYWfyH24O7F+mlETTU4V0VKFgXYFXVkxaFdKM26zGgWL8aB7arwcwNlsKGh9FrXbw50PuK6D+zvsNZxYi3zWAcgDj7zfcAhdonHEb7JfJVQ6LX2q3RlvKe97X3GF2wbAlWDDxhV7WIMdPve2lX98jDpstdXLAxjGMvYVGu3TSaivws8eAuHuIgyQap5V9C+jh5f2kVqfvxYL1TSMKsWoQfFvcyMD4LbBfxFn6FG63cXQJbDkxw2ZZjevbbxgJVbMF/X+Zsf8wND1O38A4hgSn7cakip1OjbuAfg9Uf6pQOCBvlrghlKNVL5VYXm9doEmI/pnuKjv1BmZDZWHAlERpBgXB/9hRs3XnTI2/xVvimjYbyYQwiLZyAc241cosVeI9fCd4nlyeUgaZxHg5OYABbLaK+2+k3dCkxb6Z+n5n05BJLxhjETZYHny1OzIrNULOMWh2y0uzXQEXvxGBiGGBGr86sY9kCwIQwVsBAF6VY1jVJOsAgAmtZ04A6OafWtqh/GKDbWgOB65qUUYo0X6CJe6iNAwW4mLyzG1H6loCAcoE/lH54CnNPHI+BwwKIJHOAfjZuDkXhu9xr/uAZ7hFVGW5hlWSoJswsmQgG4zhf/jNx6SxqBQ93rt+1so3JE5QfjCfxo5Pkdnij0HruFrYfLF8LukGRJk/3xDXLnyPBBjJaaWhHrC0C/05QnW45SZ1QLg0dLJxot4DWoCra5jd3N2NTU3xUgYKMRd/Y8L5bc9IBHXyP9ukcTHDYyqSSQxWhhcoa9yZDQC/4ENpxgX8ppU53Bv9yQ7og2HwOS+7pB4fDtPbpjL+vDXrVeDob8BtLfK3CVOlOFw0sJjMPDAvtYjNAu/U71cC6cNtBH7CBDslGCOBYhtojExrIJNQzj2KNlXgK63vGGzODi1mEshAr06N0IoOwOUhm494+idlR/08sEMSG4E1rPk6qfJ40DZH5kRnGkraHejF/K7h4f3pu9yNpBrloJCaX5K28uJ8mIq9IPQ4zadFA4cfEaA6bbzwPcJWAwO4xxqpYvREVytsyJCndJ1bM6CS04Nt1p0vX/6LJErm817zoXErBPONwnDYBDKUdeiivwHagJRMuks3gzOx/odB2t34YZOyl8HSRUZ3VM/PfDvc1AXVIJ15Bj89nX2c8MLdNy7GtbK3wEfBP9lvmVTrKtBQcmNKfoSIky8Cclk1Q5kLhztLd3rejo25a/wsLupvfAV7BjsJ+OXXPQgoMdtUZkoxi/Yf3Yj/n817zPKiXZvfTy8WtVCuj2FaSi2trx4H514SaUetoymSHBVQCoZgOnCne73cGeznTGrga0EEOW+gGLQzll2aNTyqrsNgytW/WXAWluRs6oItRM+x/GBEiORWOxwHfIWJDGNS4oGwAa9KO9QjkOq3doXEsMc3UlxsQGu/ufCknPnjJ6CXj85SAsEodnTfEwRt6IODMBiqgsQMy/958DljBcYmsibeCgzblJ85YqhMKA9CAacLWT88knMzGGi+KbImVsLo3nWDRjm3UAaSS3P/TycZytyAXJZo/Ebz0BctqeTdhQjS5CuVf0PCQbEu/vG6usQ2ZtIYHld231oxZd9RoVsC7GOE4AMK5sTC+7eF4i1cg/5scBlEL9N6MiSAd9AwUAqE95/XdkulmMr2nwWH1GNRovS72W/StbMA5MGcUL+UPhtTVZQ+bkcNcu6U+tgu5tVj0k0jIwCm68PpnEf3EE0VGWYLnu6rYuU7eAFIqYpj5NX/iBfC4uZivUnmxXBTcOkcQyV+KUWf1Oaf8r4u20eZ8N2jeMwCBMwPNDxEvTmEWuwqRBoVITowCdRxaoXLH0IbTD5+p6SIfCYws9dugjrGv7UoMsKK7ZPsz76Vvj/Ofr575YUTU8bszf8wtTtkVs3HnCx2+tlI58Y3Ljb9+Mv4Y7K8C2n9gwb4gaOe9aI75SM47fsq+/LFkNI8rqKEq+HjctrpUxpp8PtqKpV/B9WpacZ4jD6toE48UGu2hm1OCNxkF6TLpZ5Ve97zCsKJHSslueLKSVBorjkRzfV99AWJwzPcY6NpQ+rUTe105X221CiuXDvD7ys2uZZC7QzkcRtQuuGfOq97LnKgyBuBSyiTRv4b2Rq7ZDECxqGgMi6ZESLf9iTENuahcu2gbmh5hdxzSeoPnWsIGb7Dd12u/5Llb4VtnB4DFzObVo5231+fIeEDPE30L01AZ1rk2jeRYAfulKUvE1NnjGVAlDFX5PSoMlfjB7CUhPbdz7A16ib+SNzCQdjnh7pZjhcHgdTTYRMZtL7y2YKVJPJi6OVrpYrKax5jlasowsE5U/YlDDKwb8zNU+j0tjIpNh2c+Y0/DAE23tcbR6m7+w/D7aLJCpt4KAGTbH0e6w3DS+Lfml4GxtBPfXVMS6xub1etlbPOsnsOkntrxsodloWY1ofSvD6CO7FNMJGp/ZEidcUhbtWEKPuaq23P4Q2UocfGw5DI1sljaboHr+zmEYMQFtyLevE6pFWHVHz1/6hzt3a/mVUE3EwRZ8PCzh49k6OJj14YVBunTfmpQHIWDvjbCk7SGPEsvNs/dNj9PssBRQe6jkZuUJNTekYrEBqSAwnzNrJJ2UujfcePUzgwLz4kYvsnjKMI/5rZuWWmwQoU62CtQlm/zLJMLAcDrTCv3x/v595DIxRUP23JAgFbUr6jbEd3aBR8D3O1M0unNCeHhazGBS8dxiBTLMlycD3bW6hG6We9/aVxL+rJF4rUhJlIrhCBVzx/r9T7akZGBUPwL8rMfBkEqYlWa+22M0COQ52Pb/RuhonjJFOTvc7b83ErLqtDaIfwY0RD5DHr89T/iXT7HP0ETLGzIokaG3tH76NDFzAW0mwRg0MO8iOKtMAGaiV/13q/cGTWzXeID2YLISZIv7fp/X8GQBr52vY0ZiMYZa69hKbd6cUNeEukVeqwxxB2jhgPgjOHK81iYv/vrqH+mfbfLbHlvyao/HcEOJbhHdvjnGzbHIK4Q/qqW7XWiGJl9lNSk3lT8DCCjL1Jm8X0+rZG8zQZ272JxNfwStmAsj4f4LiQeKrIDija8Jw/1Gi1j2XVwnhBS1XSsaqF5IBj1et6hrcJP5iIRBLaRWaz70gXI2bKzyX9SyTa86z9xgeHTc+6udCkux8eB7RyaGV8NmBy1zI0fPFW/aT7PIG+RdQG4mTRZ8NWI9+vzifANGtO6Ct11/ppqki2301KFODpEj+fM+0MBt76pKn+ZZpR3eCjIYjD7u5BGSfqZK+H4vJ+3D+4I8NZcXr7U+DrPOb/35LlAv7Z5T9soRkDM6NzbhFf/CqOcHM56CZxwip0QqmdfoB0DdqL5xiiSiyG8SKdboeRXKg59SGNRxvWJNV6gXOfXsdBIpbSN+yNIiqiUxpACSGRdni/16ygN+Xp+cvZyjK2ZmeG+wUT+y9vcjrLManrsEyuCN5nnp9HcP+xocyIAeC1730UQcAhW2YCWeVnLBTkYcBQmFKqDLH+u7emK79h8EHvnA2AOfV30Hkmt/PHsPjpNALibY5y2O1BnXamFwmQM9YEawyiRuosmivnihfzwkt5VLkCFdFaQwqv6rdI75vR+5aHuT2WIHC1QLNVM5GyPYU0IN8QKZQW73bjbCf/MMq0q9S6zksnTVUE9rWUFcFVL59EWUFoRwPLZ+b6YoYS3waAY/zqIj0YT6AHXwiYZN+r/SLtzFo/+XDluNOkEffDr2/mQlE2F/2X3OdSOPyi+6fourn/oEGu2HtNUSS3EYtsYHkgM+HlNylGlWdvcXjsFs4X6hGrBms1l7xTaMGXo68ugZB9JDZIAZP5dXL2AiQhuOOLRoppVpLCAG5jvIPquyIjo+2U/AusnAGkPSfatoUsgqzYb1fyRBF4G8kckjdUJjt/Si2P0cyfJAU37pnzOt8IRM5zB9+xgwxyuJ+fpsfg/lTYG9XeK9b+1cZ2JUQ4QbHRrL0eCFQbyLQEFB2efQgnadSovpOH8y4p8iaHDoKDNEALfTORv/cfrOen4R7hXtN32kodRECql2JV1wyuKkc3nHBGlliYHxWTLS3R3eEMpFqscsOzLz8y5bZod58jvo1Sk+8WK2bF5FTLtmMl1Riw2jb+cwd449zfTEldDw5wELRGLtLBlC/uV0NTiRPTHOedzmy/BWdF6QTy3xsXxGcCW+5c/gDv/Syj+/BK0EVcuRnv2PueXkAEv9Kn9zJnHKkbCNMRO9aI5/PWp15YzundlJ50IJjuZ9xjqFXkPT6zAvqvY+jV3SHXcNjiXtzaLjTNVBB2Tv9mtuD3Nkvi86dBxoA5ExgUr+RQmSe8ulosb8bI/iDprjHI1fCoxmdCYZELo52YweKsgZeGxpIQ43t3AkfBL7nOSSRRqyukexe1O43lYs7GRd16JrWKSK4FGQGw/KCCEbYQuGTDuipLlNIQR+TRV7E6jVbQdGUgYCEaqaWrEx6VGwgsl33UCvubggS1F7t2MoKnypMBTqPQ/DNuOE4+eHzs8HjKElE5NUV2u9uuvym7woDqj7XnaXLgQbVIHhi/oa4itbOB2cIRXJZsCAjL2pdiiEcV06GWotNKVpRP3Qk96hn3/kUCgsygwdmnCqB+xmN26tL+ufnMSDp+y1WKa7OtyZRmIniJ1EO3Hhb7BnpSP5BvoCDhEI1pezm9aKWc8bobbhd+LKwdeCUJvpUDexdKxGyOm+HFO8os9dNZ6k2/I3eJ3FXONo4PNZxY1e4mkySxLdXzBFbcwp4rJcoEYuRpJ09x+5T4jAjdaagdhCybnueBc4xN7QBc39NANBYBU4FRdlGZLnL5571CFVBLAhoMCUz9HYSbamzK52lF78FYFFak3LsSqgIw1BNJ21NCe/ujyCjNBp2ip5Vn/U1BMswkWJj0NN63hlz0KaYNwaTlJKNcZXbYhqfai/JzIHl4MKXTHcB9Ujk/mRy8inW1AXtQhR1FXlb7OiJobAbbqI2QwUf34v/yjqyqBw1p3ffQI4sqYhiZwLgzAknelGanNXupxHCaGLPMm99WmUiItrACfr1U1/6/7bU6Kxqm9F/VnLoVHSF2QJDwPV754mI9ce9W4cSLyngm8yUiRH1x09GhVOCY6g/Il9AQZj35TMrThbCj02Bfmd79kA4GA95kwL7dOnZOoKZ8aT83MMwOpK+scwP99zYUwRjpphq4d8DFq5asvGOvqV/riWhlUzN1+PxWsfAsMk2P0EwJEpt1BI1GtWSnGIdGN+fO6uylpMpgmtrs+KJiW6pCKvrulDyxsQGyjUD0FoFl80aBrvU7DYFvaQmVhselHZVqTHLkAXG4fSkfci7lMtsvQn5j5zlyOPLU7oTJc3OWWe2EYcq/5Po+nk2qWpDjxJRCVNRAnTRsExHTCf0Mp4+IQ/4JDOLvX5v1Bvj+5x9xXp6TZEEFx6KphtvVMUE2StN4VDUBDS7VYzZ4JdJGdIfCfUwA46FXFGWlnvRuCovpexTM3zs0LC2ADtZ++9XeP2R/ZD6SfMGziXIAmlXb7HXONLYLi+Anoj54abJ7OtCi0HLa4O/Z32oWFteZs6NYFrpTFZ3eG0QYvpJSdXA112Vw2LV3QOndx5syPhK97RMcs7OQrPvIXrUwOZTSeoQdRFqmAjzdfV5hlrz32nnh6qx8YdcWlPYBiL59KQp9K48vD6L7+KyeZNqDBVR8ha+7HwA13llqLdiSBfq5m/8q7sxXvOlny1UOkxRkZRk/X8u6SZ87ph/s+8w2cPwa1LF5JQbCTi37QKNiJMjuIJcYx4lUcMazi5Rc/6/5fzvv1XMFMnj1phyPq/synNbGgafZlPEGwhsUUS++mxD15Jc83qdaG+8RjnyIdzihDcWws+IEwovDjjCn94Qi446jyH+87ygf5/Z9rVLE6MCiW3hZOuWt5mjmdMFTp+n0Lvhm6n/R1ZDUqxt65b6n/XZ3By41x6aMT099DmzpNULcBBnLHkT4pQ11QPdWB9RyYJOr/+P3etW7DSj2KUgx0KcHPskLE3k4Gmxc8ze5vTJ0TGTz2Vc1aV0WFdJ4Znnz0CVxqoSNJtCMGFoYbXmJWwRaBO1undlrNkpazds+tclLAcb8Oa1ifY2t+Z5i1x3YsFblusKSPb+r6fmGhEqfTYIv9UaNVtMa7t7fupZHRE8SYWKSuMF6wcuz7zZmBJa5S6XjQMx7Ksq22r4XXyHanlEXVuyjuR2EjmnhD9NyssIkih5QqFm8RS6FtYL/JMpMY7KD2bvWpVHouRt6pfScLWmEbmDS1gWJrhPQdg/ZgTDwpIPb3MMP5d8Fa7xZbDCZXqOnGofS5hMQXuqTkTq5xTgCswuYFMidzcDErPdPfqXlwfQcL5AC78VfERdPMcfIeFRJGa/ChDuh4PJSX/k5Rfa7df1dc/YEo+PpTmjQnPmYGWW3eIXzW6cIzStRFI6ODb9uD/W6rJLnE8qQsA82QFkIfWtzEaF1yUO6FXYJXSCuF5U03pkOEOF1KUxzQErHDYpCBaqpQ+65R8r8QZCMyRQJH8LDo/sDtYyjZd8Ux8WLzEYz+ges7jSsrGrBib9tDu2aOunZ4AZwwIwOFMDr9O/DcnOpPwqYbCvvmST1DiJI4pQcGpl74+rdDe7b6NXFdHcl3j3mEQCyT41DSRnucrnnwEFB8A/ljVh90NtarfgOc7W7YG3qtXj9qHBkpWThNgT9Yi6KbNxM8LqqcmdcQO1wyT3aSpkg4iMIcMrI/5Or7+bxPLFo5rI86YfuCotyKyvMJdtAYO2kXL4XHRXBA1pRT73gDsEmoTiOl5CDwqtY3lZP8HoIF0Lps/VuCXYL0p0PXwxcyA00Puao9ZxhPogDP3gV3wcgXgakBp2phze83xiN7R3sUFf5tQmrrMsPIs1aAXtuC9sUf30VGpBTHoQEZKL5/U9yO5QE9IbSlN3fcR9d/zwOMsyGvM94khWrdJsu7tnvz7kBSrD3i34Dbww1kRDIWw9SlAqoyIUqQgLgAZevTxTCZ7EDE5jgZ24eExRDYo0T3Wy8H44a5fsHyildANgDp4wo1KhgZW2xHDne/xQuOJ1Mg5S8z2wugGIfBWO34YoZxlMIL6cEwbPQRz3cHvPnJfbiLLe1XO2ZnAZBd0lVwuiBeR7IjFZm8CzImLHBJR7UmluNeI0PkfpxWCM/IujBI4/qhDO9Q7lk6+BDtxCHT8dK18dwPizllPMR0fS+qqEjoF43FziUM6P4TNNpdNQtlcFFqO62OGgw5RwtQnrHDbnEGcHnqnvw/leQCTZmHCy8mxggmn7rCLjul7lYL97D24bj5d/Vq+y+z02ynxi2TqyHGl7u+u5P+aVduzfVT6kgPWHUnjJqcfD5Yu0PjskpDBqoD0KtrAkBVTV7p04JgEy6qdB8wb0ttb4IBOyCxK7Iw39BYeLchHCBO8/ZD+8jT1fQhr2xfsCCJ7TL+TImagmC/Ga4DUjIoe0yVD5zC4fsCx/koylls9lMiOEnHkYah+hX5YuZPKs75qj2zmrmMDwG2o9kqS4N7TlxkCQmLAFv6WAmJQ9AcwVYDBUX+zRF+0FiKn91e9e77gA4ISUrbfKDTUPKuSM9RFXnNvAr4ajRwUS50N2HQEYJW0XHf3eG8YLR8vJwvInDgHDNLf+xSkdrmIJ8Pe2fh1DZW4U6YbdJQso08BWIQqAqksVp8wTxnvha/oILOebH6/ZG5K95hOyz4UcdfBTgnJj3txKz+obozT2JH5tYfznPbXwShXDCOIBAepdWQUaPv3u+f2V0hgbHVUF+dE9RUbTnCr2z775eJNp9Mt4J2l/s+YVy7+OAFiTYmT9HRpaeANIzM2fBQCUH7eMCqL7NxfEypnEbQUBlVuQEnOw90/2bMdWV21HLWTYPnWOIUl9kDrTdYosxbXVbSFtEt5yfKCXUQCcfBonWpG2maNPjrL8xhBsgsF57InFfGkL8bWbbc9dPUidH63YD7Gm+veaDh593Ihy99RZv3r2ZGCOxlBCAwAaN05pgjR5nz70Ddz5f04CXpAQKjxMTYD6UwPdz//NuuYfXndr1UwA1NA+ape+0d7VCXl07BXr/KYBK9GoYiq3J7sGIWEGnGZ8lkMARmTXK+y7253YJN3heF9fXldmgDVurm99vmgstA66yjeVWpGfWHxowYcPJRgTEQvos15qngYMnnjLcAWfV9WDCQF0jYWYYK8c8AJWQmU5t6j/V9/qGEjDgFUxIyGigUTAWVXTq8HcSVHCXxCIYzAqyLXCECZAZ7qlGzl3dkz9A/ZnXGuV7aWe//n/YACxQlNEbLUPhAg0PjjIlOebWD5O3aholodh6Qddl6pUrzf0rAFmPdDRB/sXzYI3XkSyeW0XckVOJW80NVXIJseJE58ymgaPQb7tTH2bnfF0ejnbZLJIdQxyq8fCIi3oSSFgGw3OzlEHh8zqLhSCLxJ+okkS1zkCVDGtJ2lmdO7K4mioQltP/lSrJXEQs2GFBUNPLZrO/YhCsBmPgtupL4wu5AwhseZODb1FKlyYoOtfRs3VP34ehLKsJAcHEJafglXcoAYEZMpc6Fl5PJgEiwznLf86qf/fwe9LpgKWZgZYbdezZH0zS2Rokd+8Rb2b16FQ35Ew7R5BwNaNnMV3RipL0jJZZKPvFJ+jNz2FB7QCG/QtR/Fw9bNUHak4nnuIXAUz9DmA1kStSFSr8/FV09xJtvozjfbtVDtuS9BsASgFbgeEnqQUk8p+9U5E6NaD7H+dvjsp7OcPy3rJ/LFnfAh87gEb2O/DrNW7l+QkB6WMoTiunRClJXqDxisz590hTcZI4Xrwnxl59zadw/QMrD1DJRTcW0Jn0dDrqbXovBMW4604rNDKNZumvGGIGyIEjKT5WclxTNR7AiKylKkjT+I9g5CLxxTHUnzoqZXeLcwST7/eCYdQZhdI/DJh1KhX/tvx70wm2SU1A6q2Trz8fjlhYKLkL2hTFkwsmfdWq27FqOTn0QAxlQHu72NvYphJQvL54mTrxqfX5lHzWFa0xjagcV5qMKNzN5BEd7HJEFJ15tWUl1B+V9mS4mfZ5yzw8tKJp8873v8VoROyDZNIZNb80NZ7qxCjATQj8govPpuhpjeTnkKCcr+D5/+hTYml/WG0ANF01PJuHZanxOdFRtkiLGs6pC+vPu1lRNaLosoyprcexDRbjylpBDUZ2v7kFViIzCpBisxkqwYQTr8LJ3Jo3SHxvxQcH99ltJRaydkPCI1ySrjbNbh+nJXE4R8rOUqVBqbTWHQFO75DNb3Nz7RCRnD6DvTYGUDf3TcJ97E+RF3P4Wnr2sCuw2P8pDqtSRR0NnlrrvxqCwWBxkltMAb1N03Hv6k90ezSxlFYj2K+L3lxaG8frOnzss6zP97g9kXbkLtzs/RgluzlwRiQS/rIMOtkb2zCdDIGkKAuYmOwd9P1Y/BQ7tMI1sxR29jb+2ebpVLn98ODrk121iDRSBuh/v/4IYSwdXh5K6I/NqwRyTOWG41JZXsa9zO+/BokrNA71Hz74toEeys/PB0JBTI7nVw50s9OvCVa89XrrQXpXns3GnuIWmMDntjzswk+57uJUl22VXV0o7IgfoQX2xmCtHfiT4+2pD6NY4WMeUnldC9/RlQ7yId0ijJ804MT7DfnlIi0Yx7WmSpZdPz4PsE1HhA8f3vOH7HJnkPGZEWHd3Fg2/rKGeNu0tsotPjCCo86iYgUJfIujSSwiZEoRXWQvB4TIn5BbCG5t9xx0VMEbhC87Wn04/7b3vk5Tcgtt8FpAj9KLEuUABnMajr+d+nTbp+BUi9RJ06iX9Fi2u7PnYrvsnLy/a/pJGlpx0lJeGo3VPDD1IcQ0xcsaiahFS0gKeB9iKipEq1yzy5zsvvH7s7cWoIol3OOBtiR0PMhMnf50I2G+qfdkTjqFFCHIPFz33kGkK+7HI/zLDKyEy3WhUyp9e6J//uBkzjdoBveSfASWILmffs2tmuA9UspMs0uQWU+87yQ/lyjClPCzEsD8n7Wh+BQmPkhz1Oba37FJmt+3lQXSorDP3rzIFFVIYSL2LAmRyokuWZptxvRscWdLefIYfCtFevnJlvtDQy0rkWvXLK8dU0pc3OiDf6X4OfpzyK89H9R/gNGdib4wRh2Bv+/jEeYyOCcSuXRwmKw/jMyZRCTudxYul26AW2izcHzLOFh2DzitEVPIsZ/M/Dou0UDoUrmNfz0FEsDo2E/xrLUpQpnwD8O0WI36Aqx0R84nEEAD79sU3yJaz1Au4kKbXSmH2ktUtONV1Iv85r3ucoN1hYYJjIk+GkcfjWHETIZQ9RGVp+QlDDBFK6Y78TLbruIU6ZhduBlYftt4OhvcJC3B2QBU2BZgAc9Ebnv9CQ//s2cyt6RRu/ahOckDPHtcgJC+ckUKFE/Ptw4XG5QMKUfL6ODncPK/JfcXwaz2Bgv2I5WoG5OpSfvTzhmuheNzCoo9g/R4vLuQgRsNXy1iTaGoc2hnZhfGKhXG4rjyTJwISl9YPyaTrJXTjBuEhjaVx33OMiK528AH+XUYuE7w+PIOD7MPMKCY8gVrEWCH1okKiFESQrFh6fechmVzjWpr0RDAvMS8tlhkokLOII8d1QSSkbhniuxn0b2ORon4EEw8Cdkf9L4QoETrEQejc3LFAKjXkimRXwS0Av+i/WDb1b5Dh7qdbXKiKRbOjujfjDGaekoFnU/Xm5LFdxbuSBmwNV84orTBikQ8iRRQSEOChPNHPQ58PWp7mfhKhg+wndkPrkYao3xYvOo6Ikwy2BbjSP7hZZFJLSEHouLwL88GFm1YtordWqZj9qeTWJEGZtqu5XvZqbimLwslsi2Vu7czxdhimt6u0wB6wjlMULAmqUQxFILlIjWO0wakYJ9E9NUkD6js/hHuztA6wXWN7zJbhIQhETLit+G6orAvPZeO97Yz2+RsbYUIkyRs4xEsKi6xMfC6cQ7RS7OV6a6DAotlvU6DwfucIE3KxK8sVyzKkNyGRG1ex6p9qv8TeK5wkSFq8sDvobrKVgkcOjjkCWS0H+47X2sKwMx3oYuIgLbL005ikgPWiWkwBLOvaPnHWFhg1A4M2uVmhwWnfgBvLnPR3SKohbfI9Libk/ZLeXZw54jVGRUbS6kxMH6lMgUbvQZ7MWaNsVo3yojDXAVJ1WMVwLSgqHWdJ0n/r3HJxBE9cniSyrThG37Vlcij/VAmg4XEFegxW5l9XnzrE/miu6u6n/NLrWDf+nXboH318EHJI1Fj84h45E9OIw+wJKMmWMfdB95H6W9lxP4wVURid5yxBefDufKFRW+QBSjZFwGBeEdEe+P+77ElPXiozl7LepfyaClKn5LC82Tl1KKZu8XZ0CLslrJTbhztZkAAvIiBLGMSrSDfjfZiEnDV5rvUQLL7lPGQEYvR6RBTqh+KivzlDdH+eV9SDoNg65lLAAKa05dKtLLIcm7fzPzSHrDNMYIIhjm3dLDvJVpGwY2aljWD9VKOoIAqEkJz7zw68NvtKDXpIqmUdZzmtdQzslrQ86GfggKCraUQ+a6Jy9YexKJKs+liLsxuMfL1Jo8S3o4+rsJXxC6pcxDB7470S+k9R5s6owCOVz7ltQSD+jT5gN+OhF0ro0Fwli/E9F3tSZpoLwAn+sC0K1LYx3Yx7ERRwwsL4SnsAT/Qm36Hg0GtKUVdqrrOpeelLQTRcGZx48cYPQzrF4eZ85toSQNi5yrwWIHxidmIsps9erscEdttRslQexndCaGLwUBpexl7jOY/VfOVf5Icbpi+GeCZoolMMEwkF4OPLsATqKjfq2f5fct3rxL+kwEosCR5XIG7Ktgfm8IKYlI/DTSasCs6tGvoZAIqYTuVD8UijoDLcxeU3yCbrE1GZtkgLWji9vu9u1PjpdCAAbeCbdlGddO2zChqFQ1MAs6Hc49SO9BvDRh5htsVzD4n6ArDp+zXWLJe0D148ru6/OKvsYM/uyj2G+WURDTUaaGLTN1yzYlxpTCQFLTGmtbMA18kIlcNaYkRXU6vOCv0py/S2D9PpvvQvc6lnA/i2dlkf/sK9Mb2FwGDMvRUTxME8YMDKk2U23KiTjNu28OLWHixk2ZX7UT15gYBfUCMMKD06Nd+JoIJ1sAsPA5G8Yz0xQwSrtgZuY8JK0kx2twWjj0wYpi9ZTeGvjIh9Hjm3aSNow4iP8JVCGIgnrw9IOEEZKEmjCnMUSAUUgD5snYegOx918BHVYt+FMaQ7+oGjAFGC2GuJTLbS2hmoylfJy2nONrBxSvPXL5viy1BvFDoe5d2HD5HQkueJ3tIa2W0ujAIuNx2oPeDs9oV9ODWnn5vh+aQVWvMI2T/3A6ofcTj0LG1IyMWRsLElPYv4XEUHCmHcLFSdK0sOfs9+pDTwQWUpACfRODORhD+X8p8txRARXYdVsiKntothFlfP2iw5aHzKuAAA5QifCuRnNlLqaJ15SInRnDUO4QpwGnHCq4zgooKj+dnwCj5dTA/ERZeS5jcuOpSU5gD/f8tBhpEUVKlQJxFUYf1ni0waQZDuN9nDzPsSe5FqNpp/HGXYTRgFxqZ+5g33avXHeWjFJoz691+wWLKOIvoHYigm3TjSQ58CBMoVBbQlbtZeM8Z01mE5cdi7sl5hpwHQp+4D/rOOJm2saLRTpdkO4Wd+I5WP/uaCaDY1smekkB5gp4wvlJbnumtHzGa6vht83tq7CVePM+V1+BPiP8x3TY7CXJk4y7kf0m618j1gNJaJ0jah+97i1h4ISmOwexerJBKlHQfbB2NkiOvCoWBGvjvQR0CaJx0EV+/yxcCWszH7pQk5bI2MEzGtLoJb0GSByTH6I1Sh1CfstMvpFpHqqAxstZ5T55zjeNK3jRKNrQj29RRvLbMVAyT/KXaxPyi2Ta7aAHsfGQyM6aD2LPj2fhZNJ3UzAEuD84/LuZR/HR8ajMr7IdUnWrTndOYqltTjG9jbmsRWRAz1I/KdScULBH0CC9KN7PNjDvCra1+vlwB0sB1I8O38wbPC8MC14+lAchU/nswS5ZyVoYqxZipAf1hcj/o4gsI/CjK7uCOmBLdaDb6U89fsWowpkH5YXUks7kfjwzJahndSds24G3HJmJUN76X+p7l6Sv7I7Zkm2ni2ag9hheSMeIdmmiu7/n9Ng4wV7+JCUiPyZSPmKeCG5WQTTTPj7HBVCffNDykZrk/lMeKwgRK3M579egjHlJ8GUIbrKxpOMcUPInRw98eStg0wmLIAkzVMHX5fkdjtdtn/wLpZVSf10BJPhYyodlISpg1ooPQnleSMk+Eg3IzpYLewwKGGOVcJ5knN4fLR9SFV33DFXRlYZ7k8cqI+gYOCjfHWlKn2r508m9TCE5a1EgKZLrxkmifvCJLwNRrU7rPW6tW2BSzC+gRDp/f23uV3DtVlESH7/+r/xBvBTTcDhzpvmZJOIZ+2xA9UX9vlTu5nW0WUMmLiwWRE6kRd2fG+sqIzczWX759oRAsp7u3WOT42/pkPmFlz8gCA5hOWQ/hFJyG6B3RMbSuPN0TFT5wyMadW4327ZYjyr8b8x1mCPPrpfpay3FHH9Fn57u6W/PTvRCflirRhfES0rQXJqDSlZZbvfYPSIXCrOkx50Kzt/y2jg/9QUJdPWspy3X42iq/qfEm00tPnfbptKt2MDiivRyVfLTAk0cL/JUlraK3ky+cY4xAdAnNIhqWtb2koO6areoVSxw78dD36Jyke78nqJ6fOm8Zi18QaOzlNJvSKAz0PWoj6dHId3lYQ4GGQxw409zbFHRztkc6yW6Y9i8Isq1A2f5u8RP76cIfFZc4Bv9PitU5s92JE/F2cbJ+rLOB+ELbuJrn9Yf9c34wLs/MRjFY6gD0xv+lz2b2m7MeAFAjFqzqmsA7oZeR0RIKpV5GGi18bbln8xQuzVZKCyh3MDdvzCF/eLWz9O2zRpmaJRK6uFgx4NvVZ54eqU2SGdRJ3pp0IXsr5bhQc5jOarqC6JbrPfVpuFjre/fCEREv4tF616kGYVsn7oH0abIcJEZWxOlClKnm95PhHh1eCP4w4UWaIPlsBVaB8vdtoUDt27ZBsXfc/FrNGDxI+4Ars7yaUhl/t6QaxyXGF23s2uFHKw/b2n2x/WXd6c1C+alDChaYsSP/5P2C048N/4jkhFXTIhAyoqxZMVUAlG0lCAE2tPTBK2pBXSEJ1pURSaji8DwQCMgBgZt2u7j4SttEVHDbdPj6gI8OJDJlcoyx4fm9sk1uAr0rX0FpLboV3C4ZKaOL709wV/rb0hHUkS+QLTg7mtSDVHT5ffgjvX+iY95drftguBWEpDCz/6fLslloFTUj4UruFB+1PiLceOCLuw6/tYHufJ4e4zCtk3c+604KpAULkUAneonxHuPAiq8g/0EDSxbOyGUvxhas56vrV5ZCFMO12LUZEOUxDeqf/4p/noGA+ueglOIoUc50HrIhgmWYjkmVO4n9R51SD4n4kMHPWbccO3zOJKggW7x9/no/uL+Hh/eu9yqMBXdk6QMqDvh9jDmiJ0SiAhAVJFLDwPSpXd3dPbMD1r1DKFAVdsRW0IBeamd/3XRthRxDoszRN/VGRgwB1uTjmxzkhYB3uD4ZoAXTLL0Rp623HeupH/9zpuNPgPK3kiQrATwzS/bEwBWFX7Svpxc+rsKLp5UPej9+yFGrvjeFwNcp5RIYDwBT66ql/SZW8VFZtAO+ooPB/4eqEvIoYCOFVGbWmeBM1y+hIifP1fRcvXBPxYwldtkF2w3s/SENKKWsep+dNGYTC0PCV2mAMVkcTeqa2Trw3k6sGKxgk/kb7oMM71nY3ufRzrd/91f2epIcWM+xi6LtfhefN6LTnwnNAUw/3OAdScg7BYEWsro/+JMy5aHJHbSupps085liQUKtHl9RHJpLUpaz6o/0oVyYQESIz161DE8gHfLgzhVfSKa9TT/8peU4vBdZrIXLXY3sSPygX2Otwla1fEganugQ219JHoEVxMi0Sy8sSh1CynefASTiSQfGuIYuGJ70wDi8jDe8E4d62oSX3ZIhKSb2P0XDrD5C01xluN8TaO9E09T1W9B/EAICXdsUca3aWM47s/FFTcJpuxdKUVAlSxULrfN4xIwyD3eJ4lvyhrJl6Xx2OQfMjOBIS1rURUfcmlCcCc1rg5mGxyVYhBNgQf/Z3V8To4ThX4Bc5R93fK5MHmSQV3WpAj/CBVJYvg45+ag0i77m5kUxXKaRHEX540pLNSqk7GPMUl4LnL3aVPDp/lqWw80WiJsQhpqgc+oQiT9fxLxI3egYKeBjbla9vXJzi4j22qI4qY32a+Zjhz7JqdM7zeMPhtnEX4wYZk92SjCxnNkUTOF/yzy5BSdCtaP4iV4vB+Zrffu/VgWlZRpanvjTTZPEbHgyq1+PvzxqyxsL+PqVbksf+W8z67Wgt20lU8/vsyQtwxH1v9P+aW4MVcZgK0JlrfrgftaSb4p6gFC4gxTZQTDAbP56BeUrpYa3C5tDHt5HME9MwJvG8uNotHfj4F87EeRXIwoWgzK+B2tp159qDDR7/E37loquHIz3PhVvmZMIpCU+S7sRj4ZJrAuwb2I2VknKq3TCD+eVcrVk+WFsCkkMTcMBC7IazaGuK8hIb/RRSQKyhnRQcy2ubIKbMV69nrVVJQEYYh1fwU51yrFagKtJscPd/HMxnT+eo1yjxb5CrfGku51j+nWVET23/z8Myg5u2fXtFFmFI5BCCYXH1anVsbnfDP46zGsowNEWP3fgq3EttyLqLKAdwe2uqwkeVLOzGdH0XCd7ou8UH4nieQt840AKe2gXE82FPDBmV8f+8p+EGi9HsVYqHP1cNV/caEKw3MT6Fb7DiNQ2col1dUWv7JasSSTqVhKm6wVv+zWMSZDZWq2ImTo90La+H63x/8CDODQlfOjuu7c+Aq+u6JzP3c1EaYib0YwN25ylXo91MnLxxG9rFNrNhw37XXdd72+9/zthZNUMK6Rsm2lwdDkKdQvmmUGhDN8AQBDZY8KhG+BAi2jRSb1CQ1pKcfLZmcIYKwLnbzYaUleE59miKkgkCim+y7JUueHJu01Klb7Pm6ufjuSqT/DMogeeWKsV5PR3MhQhWjCnS/5dkQV0jD/5n2d9UcLWrIMrDSn7eGUJXsigKoGqRxRVwHYs0Su4xbBu2ikbvQZKjjqRmWOBjwHEwo31H4pRc8MUwW5MmfWZzjezUKI4VSwIcbzslnfKZwQz40RFEByHDXTRUaDwWMROmPR1n+veBlg7OzQINto1d+Z7wMSDZmY0b7A0B2vC1pFbgs/D95BmXSl7QQ4FpW/uKyCoRaEPNlD5TFCCz0W0G2y2F4ZxtUFP/u5TqjiFTyCQtR5If0j6UbixH5WY4K/3WJyhc49lCEsBe9gxEGQS8YezY1dCASiURbFHm6/PhVtSympUl5cymioI8dTiVEMCaVM8h88+SjzRI8uv7TL7fLl1wXwdr5z2YkKDUG84FWsJpSxqgp7jSgPR7OQIG2PiXm/jF6nE2djgIdcRDCwrR/2BCz4YkPdQxjM30o9sEMvusTVjLvG7a1hB/H9Ox0Pwm8PC6/3ac6jN9crT3XpXNP14kU9XYRkAN43dCnlVOa2273f1924sGCEUYBahj5pdi4+uL89F11SgQ4HUftSiyjlxdUYQ9H6BW+hEYvSKRnHE4iP01IuJnAw2+AkJnfRB0uv9ve9xcY0XBqnpWRGxGBXKuaK8jQSA5I2Yab6blXZLt2SIp4htZq57nnqib3aHp9FrMZWyldOEZjCdfWXa9vt9E29bvH4NMZknIxgdnPnWckChl+f+OSlxgSiXKHSv0iG5lmnLl9nAuyNnKJRpNugECv7zSYZsQPbPuuvB7mjXAJxv0uaFeIp4B9QLzXS7DV0hJuvixXxf3/j+JlU1v9TNuBSaOHnz9qPRfC+UpSgwhKpBIqxm0b5SRPVGauJCAKerEv/CLL8qxOtYGqVBPwW9bdGz+lHeajWc+neB6ugxRRnI1jDKecJRpfhzzfioS+Op9WXkQ+jiR7rPTPiX9nUClMV7hVuxJMwDpeAZU2y4pY5PxUjbbq/oAmwCJ2ODNZ5F+rT9Pj1oVEUc6F9UgvwEcz+pVL2jhAwPBTRK0MSQVSiumInisZx22TJu9XybmkiIfZ5I6orRoprqeD+NVOxCtDDaucnPxFIKlZs9WgxwdOoM9CJC9yzKWrstlRRM0c0JHAW0lwOJLmjcd0fcT8WQOezKOIYa2RSleTHTc073ZCqCguqzifZZst6MA6sH1kcvXb+UO9TijAPYc/79FNTQIPgXThMjryagcVGq3mYQQgCbxo0QVOPYk235FaaKVWb61JwtEj3exDogD1mJc72ZryG/VzX6Lu85x8rkWENeQiNS3IhfJVIcEwMC00DwBZVXSsogOYnt8BAfDWw1UMc2C3X4/eX0xd4cPJ9ig3W4ON2noPNe4MFnBDtEN7w8uZT3VpOv7Nu+phfGwxITMQw7q92eJDljh/OzqI2/J6Kodzc8WvBOFpHpicvYV2B7HfCGz+lqiaumewfWZKYZbm+6UJLibuUJ+cLLk33Dx8dpTrlYzimksN1dDqrkhzvXbb6yKoRVPYrm78a/E4Cch48V8x8UeGntJh0MjCMgLizlvrks8x14jkIvVDDowQYhIVItD9iu0ExRark76F6rDhAO6BdPlQDC5rbrtrwKTzwK32Pe01DImCVQihdZnMSYDssEWqhXArnv95X8If7A0GNT9wJEa/2a4XZilAG4/C9ywSgGm77y9fZPkMS24X6Bn4TElg/NVAXTpI5pcSOwvp6/B5ALPppB3QflpjgXQk3kwzriHxy98h6+ypUTGuXeeycEbncBG7x86s8ml49lw7u17QEZoq4VlEgaTDoUURbpD54S+iYFux34iCk0QpioqIuWMgB4/lfWOIuVPD5Q3rg6l2Se/J5eNf8WuHj2fjU3XP+ktYs67khCjcZLhETdQ2ChMWtfwN3UBFmPGv0DLZVDEVjaHLgvvWjhsEA+ZH9taPXlk5poteaQrunoQZRQhumsb0wrc1zi8GwMyMyvP8nv+NrXy0Is3o4XI+ndebvaAmXYDlHe3XdwXdELTw5k1Ly69NXRe2stuPkvYzp1y1BKaHb5IIigMIRgoOqFq0o2buXhAsmzvUa6Mfet3p2FoMJKsIOcdJEq0JSjizcabV5QXI0V/vyo7UiciL9EKFuLoqRMnW1QMliLDAaB4kiPxyABSHjYLGFiQci5wTEQf7cllYFF+EoUOfU6m/sjmSvthOj7rZ5fCuTDvv9H+4NN69HpJMPL062rJnPVsJ+vl/4jeXDkTU4u2M2rlm8Bslm1/aD7z+sBkvlRZv17f9E46hZ3TVk2V0WKBG/LD6RxuvcPlyGWmLK7fouETB2aTtBxSfG0obbLKRz61QRir3mBN/D+w7jrwX2SolOgqzjS/LfDphiteJkplFo6WBkbc9zCIMJ6Y6Qak2a82hqWwR0Gv2MoEDb8jrEgJVLpxRHDK/FgfBmznym4IM10km0qmza0xuiIrG8EPN0IxcopaaAUGdPxWI0CabFCkyxCb3U2w+i/H5unKPPA/GFxQeQF2HnjT5Dq/w3qqTIp6KmBmZeFsuviIT2da/9IKpDJhVxq+bTAK/boSUpJQEGa7yENvnKNIyM21Stf04mXIXtGqhkWbz2C/Z5YRRX6fzZRBzkyTF9kVKWKONmIUXLXnHyfJin+3lMBddvdITOVzNRpKSgdHNwv7aQfMPXR71flPQTRjEnBBTwtzOLdbMWDcPHhT1W5nc/2/oMZFb5ED27yPbvYMhZAhjqUSsEA6u2SQIFHjPVtRre+xLHY5AiE9bJ5AUDt6X1W6qMWCUgK6ecSpSxNz/vkHZtVBfDbto4WMioIjYBLbviiZldS7zygb+TLuILie57HsO0k/4uXxoHSAw3umD8t4NyS3DUFYFoswmgGjbwu9jpgw84ojs/u+/f4IbxsJ+FlnYfKuOeKYlmZykbCvKlEuCCZYtIY+miR5sVKhVI9UGh+jODuNhK9hfNSncU97t/p4SQXFa9XMuwdWbag6hMk/0zvnMuLc7Fkirwpuu/3ixyoUmodwsBo6TdPo2waeZ9mdm+4gt/fq/KhQyeeUSkUdhqfRieqQqekEbGjy3HdQuSX7breo4UUXqx3GDTykEpp5QWl50iOFRn9Vty8fDkFJ/fbPLBhpO5kRpLkwpRNVWp1yPOD3NgS6oNkMGyZkeS0vBaIVtbiYlVpobDHoxbw2h/Wo/AZoIOYfP9RNytqSDNjVS9t9aUWaa4GLnoMENenYfeI0hM/S/atEndroQEcxnh9D0eqD5PoyiXlZ/CNPif1t3K9jzbhZKxwjAgfMGBx5L/BlGVF1BVGb03166uaI1bPevLqZIu5MZDJRUu4OrUEYRW2OQ0xbq/szqpr7pulekcI0zohC5E6VL1V0WzxgWLMEBbR59mMt7FwvObMflua5mMvpBXzG+gwfaQvBRge4tMpgx/oixO7CuAIoUcbwDyfkPWH4tfgyPDWcsivIiC/++RlYBiPkZ4KesmWe1ygC8fRwso59QiIt1PNclb955Yp32qQVpNCs9eCkXwiCNz/ea0Ow4SaLD4UrdFPG5HsTV9nbkj3FR9A879TFpHHwyjT9G2j3EfOKf9TAZvWNnnHEmd/t9nHSEEM9+F2t332BIweiSmf8pZRmZkd2KgAtGMoKW23OedMlFte/tDk3X6Fx8vIteYbWXqGjzFB4BZILTZRncxP/8aLahRRYznViDMmQZXA9xSsHIR2B1Q/7Ob4DJDU0QWgjnIC6ilnEQfFTzMrd+CAwj0hd44uLgdq1vxTdLBH+ieBWqaOEn+3LWIwYWrcDZ9gRG3aTlgSrDmQ1gtbeWsUnntzRVLUW880ajD9D6LpC2RiGZHWK+D4xM/AewmuU5LN7g3WJa//+PhpiAwYoiGbc0sMLYmoMkVWdG8QtjqhB3b4eQj8DNg8vdtpT17tDo/74GkUddOhix8UwbFR8wB/0WZwuBeMs186TTaD6/0jVQszzWj44/cks1zn8sYVRwWIF+K9tMFwRXuY1AOs+z+y1ZReYbBt1bOnLi6yJ1LElQVHkBDOAnx+l83vbcHVV82CbJ8yl8FnpgzF74uZfToo77zNaiaxyzAvteCnsFZw/g23AQWHBJHfEsTnEkPhzME+KLLojvXP9KuUGQ1ERvsTlFBeps5deaZ/XW+Q6iB4btqTXvXRT+0rChwW8I4L7nky29/XM942b5QAtvMuH5Jpnv9bgzekjQ2DsypgRYaOxUHEzPfkpkK5P9bKDP4lE3ZRIVcY5TwTuyEAb3ENxqcjTNnPkti3UhRrXiz80yOoexJpR7qIu7gI3yHGoLy92FwZWuvBcauQDbflWd2ngJR7UoaHB0UwgBicDFqWenOjL57Uxg25+2euf+gZZlkd+127Tvf8pSEYRTCzOvrli61R4d4p0ff9pNI/0LKhNtp3B4SLTVw/d55w45OF3vrtYuIfF95lZ14mZfHgQhGbQ7VvYeVUSe5MAEiYp+VeDSnANBUBCvZf6jpX55Cr6CrDIrfXHX7eBskUBcIuKe2C6+anvSDos8BS1lnLWhkKUy46Mn8lqsV/yhtkQcC73LSu0Jwm3mhRku7gfeUjqsJhx62BARa1sHuh5GcOHZcuiuyGq0134HYi2s1QkhJdJSjM6NoNsegQh6qOwHn/aiHyNLTsBnLqgvHzYs/rLgh0lK6sJht4LV9DBrXav5If/Z2ZADpqmMB/uZfvtN/CVrLj/aeiPYRdQyxxoDC38G/DU+WYXzRlHK95SKkSTWrXaWBuys0Vg98zdlF9blNuOJi8fsr9rQN6TrfzVrixtltWAnWg2jl8+VlWEWPqAGIaGihqAysOOaQ3agtEoEFwBsD6eMJ98dd2o1nBYNx9eVkeLjzsRjJDSH49hxsYFd94wyAXF6XwRjwvrh1UyLsT9GYn3T2HAMYQOh8PqfzCpOJ3cMwtdwVmlpAgJ50jPVi7bl8vF3gf5MHDhIw4g3lynjmIzumjB1zFm5oettwiQ2JZRmlr140KpZiNjbSc+mSJXr6gRNj8vvUiSxfkvZqk5xU6HAOQ5x9X5WiloWNdcHQE8JZ1LypNNnEOnHUQmjG1BHeQ49hMe8chtpKIKKmRKNesg5QkXyl78sl98Mr3AkcADEyvYzwYhEXEKpE25QKTiT0De5uNdxAvnGOp5XGDLHf5ntxTT55f0XO5Zc8vRSCvxPlgj4PUJ59dgmjBdJFelyE8ymn1F6x1Z2wh/p7gjGgMR7RzJo9uQMkARW4j+x1KWxJQGAeQVnxfJpuQaB3xUksbGl17L5dr9yq1gqQfVWjo/BJ9BHTIlcBuIi1CapyIhCm6N2aygHDWfQfQcmACVjtHYNpaLFvXRg9astxGbTmv135DjklgxTaw/4IVGSrSUVzLI9gakeyoNX7RBfHqmhlqDKFX+EzbWnMZkyIKXQEEFGZymsqLWYJPOasfPWs5dszaH/vkoxenGw9kHCyKL7ej/n0sopN804hAr6YZKRifzugfMYmabieAFZIGJg4o4RB5z543PvwHN4xwSjqQdbrkvmG8Ipq5AlSSwoLtrXEQs4r2pytB5WHk6DpsO7JeA0USAZpglayeRWVaBI+ytKr3PNmzGjIeNcuAnQOInaA5rC7xEqVf/zHmCErr/+a/I5EqjtMMKMLutJt21O3/q3NTvRf7ij9g/q/NyYOqcGigd1ExDJKJN9dbQnTiAtY54ec7MER0jahflj6/DlBkaIL+DcDHofQPebFsMZop+1yd29nM9nQDpYfkm8sN1vDahVeUiz0Ws+YukAjp0EsjnqlWx+jttDfQ4dJa/CaHo3JskGq6j9XTy+PJw/QcS96clZHl4haadmyBQtUNVoVs5lhxiPvYLxuBkWBX3B5S+ovMJfaJ0Tobr+YSqwJAReZ2TRmIFxokMZKATEaq5PcblYUJ6xc9DarGDfwOm8UIOld4TQHYKVx6xmnsSqIyF7MeTHclPuJuJSuzoI0DTUoENUPqQOL3GwVF85V35KIDYS5zkwA3+idHK8C+B/s4kpy3fU5Z2s0jPiGwo8KOCzJPgyr0DB0gkfVRXlngD1QCQQr4QJyRzSqrjHYCp71p2DX2VTU1/Rk4Q3Znv43XY+mC2wlAkmsMPhYifG+cyMqLyy6W+P83mOeKpBysv2BW8UXwLlrMFcAP1xSDAiVhTUoGV/x6Xgyw5SgUSm18hus/ZL0J2OSMgYbeQW0qb4kNEtcqG5xY1ph5To6PDZco6HExggcr8S5RDIiDfQ8ITOEAH8HfbGceINRXLZf8v1Rm8/sRpSTotdRE89xsq56hs2TzGV9rXuiNm/pK7JvU9fVCpwgKhKHESERrlOGpA6yNTBH1dPggTUtfCIHOSt+BOIBEQCp19Lz5EOMI9icLHdjie24e8h8P0GhO4JR0VYR8YEfwp1pGT8nszol0azs8oof1x04OyCSjN4jtwEOjWGYusVDxy1BZqpQFUUs5UAQKnjhTK6smAmF4XF1fq2OtZgygRXfFzoxE/jGB+cyRPIQ2pHVeoRSyoRZ2yywCIJUCbBGhCeqYWA3xMjVYIJtWzthu0XIq+AXT5nSy1dVaVqXgL6B/pigFZPTULY6VhFQzyBBDn/CXNsu06GXwy3SPrWpvnAolOvsBv5d1uWotfGIXOUNDG8tTdILuruHvb4aK3Lv6MZ0oC6Eu5Qr3ODnpj+qHivfRAKZlxkCKB84zQzXE0LUqsz5NR615d0rfXLMLtvGMP7u7l7ZGFiWg8dTT5MOwoY4nR18vX3FtOcElq0mDA9RK6AZhBgIR6Wjt/jCBWA15Y76+aM4GIuWTNFm2bbTiynuJbFxYFnyuZJkwt2bN7dmTBJKA717li6cJKg2ySMkVErtZYBJ+I+VkHlG9OdEeUmCDFWtZqif93/ZrrQqey6DrTVKOgViUme5Xzk2YIZYFeRmhpY4x6Bp519gDviSPQl9g/Mp7QxfwRMS5qnJg2ONhZbHmd8VyGkM15DwUFo1XDkVJtwRYVDJ6SBLvxd2xNBlt34xmWeDG6i5wMjOMUPAVlZak5t3ymEl/QL7f6GrUuX1q3ScSwxZPFttku5cEyg07W25gq1Vr/T21+m3fg8ghA6Xrw170R68qXdFN3rQkQRoYyerM0Q9GDJNfbVsBW+Ks0Oonyn9Q93PI6Kggq6kdmQbuDyk88Mn7hiCFvd82/DNKi+ModN+MAz4D9tgJqBJ1YZgbsAjJj+rSu6/l4QwHQSCwhJPz7YN8Yt3Y5EHy61OrAc8oay5HM2eJcL2M/hrG0Rs4EbuCzzcAceYPEO8cl0vRV/natDqVPlRWA6PNMI61jjB1agYEniWTLMF1bxp1/69thDo68vaUyunX4H3hIzyIMXiWszfAd4Iy95LIsAELeqARmA2cQnBWzgH02iC5M6T2PKyT5ByA4NM48ElMUlWO9hztACJdFAKMzI3m0QNRqT/c3vm19vQHOZ9c8sQDPYXob6cw9bhuMR53Cm/OJcIsGOM+PttGt/nhCrbn7AOqMe/P4mVMacktVydBfRSW3nSbk05BCf0IlqdXXsimeU1hTKdOaBtFXvOPfZCXqqB+ejFv2cNZxBRGx2bMsnqJiFEaYr+Dw4PQSRgS+u3/SACe/UJW3GjUSI+DzJ4dZPsmCDTqGTGxrJ6fbWJ5etxbOh9IRfEGUH0nE4grVhByNJfapx2KIafe1t1gP6bmlZz2D9w7IlB7pia1vPoFIO45XZgTA+L+xZQ1QK+ZTUjpE4f4G6tQG8FNEJJp1F2zmJ/h4TvVcOCe2WKJZu/Bo8qup/vJMlcF5DSeBbRkab9lF5Goz3C/okoaWkGyS0aAbnNx2pUEV69tbTIJZ+vwIYU3ZLfEQRqSdambwE5sGGc0SZYKv069Bn6iAMeN7+KpdCtl4KlTEeoCJcSed/u2AN+wQYdwWLkus7C4mFuUOyye8GLBi8erQzRrc0PHKoItbKgDaVOVVoPEmdh54y5rjRIwEB6LONk7BIoPMn4N9uaW0Wf94VXa0bDnvHV52Xw9yP4FoGI3JSPb+pc1ciWrybuzMCiFHZEnNs1dddtQhHBvDKEyzqvZkcnpuGKx8rDOd/rEuTVImRWRYY0XUyQvK9IKTPTPG/wXY861j71lJ0zVXTnaqeFrlC0maoPxh0Ycr7lBciFPoLM/qOL1M7+89WjOeo7FNGB6EDFEmH76ipEbIgvfuwcNrnCecR2PUGfT+dFemFuLURNHwvrelVLm8pfzPnq/KKQgTM67zuFpxxzMMDFOqIdh4WV36EkuPml51EANqgtbbVjjV3omJkvH89o5f0TkZEoCtUEbGengxixExYpDLhW6fhcceBAsvSIz8KjVSDA/ZveQqU6S4Q6DpO0+ZX7BM95CGRY2ieLvM9DLhih64ppikT+/7jKIGD8G83JKpHcKDdGUr6VDAnsNTiFhTWB/CgRdMY7vwd+LfADQaboWoN0jfU9CiAnY0k/rkbJH1ZMGResoRq4nwXdA+c8nsVyJUzURnrF3h5AmEabT/JF2wIx5p2e/cYzpm8tJnfmV82BFwDP0lbgnD6xw5jW59e5rZAB4hfVkj/7uUHVUNCZeWpXixVW7sC0uFK+Kfo9kZFc3+RNk/JiW79/HmjNP0vp3XvItFi2TnOGL7QipLtJ6YqMaSs+kMW6xgPd2UglkH2LuswwijGU385sAepM5TT8+0SA8OERlx+51UDTf0CmfPI/LswmecL7AkmjSJWCxDjcihElSKUpf0QioNmt5va9RAPxI3jf1VtQwoOslwJSEhrh5kOKwvHDFN9Mghs+Zf1hV4uKJFCtYv0+NjpB5ghRhJ/hg/5oSJM0VMqPfcw+NxEWVmqWDr188MIHrp1WOr8GuSzXa1PZCjh71weBSZuc//xvIc6f/fHdZUcSobmCC5krMPmtc/OAWbEJ+LfdR4VVWjnwBNrK0PwLsEJT4NlGwLZfk2K+FVHEXXBMrHRTSox24zu4JQaCg6bbV0kBObp25P4elyiX9WHVyCTHu7HniRgoH30SC3P0E9FN7qfEX5YGiulQ0sqiDuhltnC3NnJ8MaALZCqjd5a+zvC6Grfr31Rs8LBG2zupAaF4uXDvfFJUP5snJPAV4Y4mGI8jqjI0qInmys7p8JGnVBu3K+C+QPpJDdP09rHXcf+F2sMOrq9YjNHXNyPO6yDkTDSemOmLw5CquPo+p5K76MNSAc+2GNipp6NDxczEGI/dj4SQ16VVV2tYrvNlW2WBxL9+QKlf1C8hlG17ki46hJDZBKcknG+MvGoXuZWhXkotcyReYL/9QE3KhOREYmFO8A3RxQn5OzGbiKf9u3Fr9GJKO7tQ5beyVhaDFd38vx+hH61I/A5JGYdxUK6keLzbfEih6vxxSFZfIwKByLwGdkgTMUilTdFDx2v0cQ+WaRyob5AtVKgszSqxRK1YgZ5QzgjMvTi0Gg03SmNpOZn+ug0ifWLRi6FR/dxHutBhZxDPiiKeQ96E50h/wRK1TpKYn1Q6HLTTa5W4uoh6+gs/t/qu05+8GRHljrZBqT/TXV1D+s/6ajseBTKD+6T2+RGVTP8CsiIbpAQ3aO4wWhH2ouMpMtq/MSCfOL5i5AbbFWv39WlXb+DzmdoLnNjAY3v1QKgHJoqfOpTcTIp1WKhuBXEHKryX2Uzb3HKejeobZPSGp9ZsfAXJfcdbIQ5VN6tCcpBRFtYDmNFlqwnYaWSKhN547T5H2c3085PKSuRD7olipnXC6JLO9cu43703B7Pv2yll1aGaQLP/8JfqJfSpnmqzdDHCYdK+4mVEQSQTTfJdL0gNMCE/mQUPDeaFokAicb4kUhLnGpgQtpKpEP17NFiALqsJTDuo0YuGHDCx2t5HZvB4jdv4GnwtoZkOwC6hP4v9GVs6cwkgt7YkHkCaOXFLDSt/9lL/99BBp8OnpHYW9xCy7BaNvF1fEup6hC7HaQY12pT3gk6Oi4XrzrjFPbGkDvGUqvLjil6ilu87ysVrv3UofsdOB1FtSM+V2GzQGDEEOJ5TJpvvDhHdQO38hNFzKZlMaLWSbRysE4ssJwbdMMAkHc9kjaHXaiNmOIyp3TZdW2IgGnJMfsxWJsmoBbATNdDNSYju/PBK7CSwfrMSEfkel3VrzpWv9P92tFFPRAr7wlA6z4wP+J76vFVwyhhdGb3sr5se5aXK/3cCiJQe00J1NzxjnKlP/Y0xWPszuNQLAHeJUDJcPwwm4wWP1GmfYoCm6G9NBRx8Tdmtqqxz7YsAyjiqFbDC5zlGSnwnh4CLj8w+72zvGABRPJmrZoXhsWGR4OPctIuFa4hBJAVB2BDl7dCMMgqEvTgpNRi39pto6Pfvccg62319nc7rLRgAZNiraj1FHetg0nGJtsBzwYRke17F7fniB0/FTZuoVkz1Mj9WGEHxC61CsgajOtwxhWgbDd9UcgF5d3PDBdj5gmBP+Zt/ylVmWL0AraqGthaL9Aqc90u8eaRfoEqtJGiWlwmG1bZWr0BngDiBFoiPr4StsiBIN5DEy9Pl6wToZfQHc19Rg6VJltVNK8QHF2+3RZdCu4c7rjG2NluYQjdQ1sv2UpVV4VLCL7EO5xdATDESrAdjb9WzbBx/9TLTRONJURmce2kq+A/jBxwv4ouzN7KztbKWuEey73AoZohwr3AHHFUXLCdNINYx/b3TqzA9aQaDYR0XIVTB/h8/uoI/+T50VYFYDI+qlRfjzi/gz+6tJOZtQ2T/oYV1jEP7l6Bgss8vzLy+U0In7bts1SwLrR1Vusua9nHt7e+cKL9CtRYrn+2+6nerAoS0jqYqvbwDK94QuuIuFfWMtwH8XV3UvlvTD74mNiB6lmj+BZooL5b7ACCauER3gjXJCDMp+dNCxIENnetkNrlIWklSYC/7i/l1+8tl1BZTRXA03vQ27gawRFwehtn1tF7cuCO7IEAtGeDmRvZh5J5IiW1aPCpp+qGDO7PBijSKsrrc91Sw51W1PnKWa+C4nsmvpmUW7wFPOqXgKVgm1gRaVjiiqJVrWshHwLJJ3tq3xSKTFKd9eZxIqhw9R7dt9tq/GlMGeNOAGeR59lzVoWej4Lx5HG+sq+Cvn62wC+Pl9JHT6Azx93Qavm4lrVpDTqZx6fpWfwV55SZuGuqV6z7udxg5DoT14lQMEOU8FCgVy/yfhVaGKti+5Fo9uSHjCLRb22jsfXiU7nlfZVp2YoKYvcizQF3Lvr0tE+ffYcgyzNI0X33Wxr5qHuOJBuuRmm9zJ59vM4Jm6XdcxPwy1APZI/kqmcVgnVTStyiZHlvooLnjHuRz+gfA2MS76yXgF30msjQW43sbh2IPKpNltgrFGKZJhgwH7Ow3OZ0ExNbwC5CRZPfM0543/zISzuSibeaZtdRqiDdic01Xks/gXcnYBxlLXd+/0CsDJw8uD87GptA0mdBH/80GM1v/rJJvp63slmH6DF0v++n4Ppch1vExjU6jqtHUW6jRW0KSBedJoS0dj/+VYsrrM5MDOykrrFtqV8HPSjSyrVLvm2VH6i0rqntZI2xrCdq3Suj2L4uON5j8SSgN5OMnh0jc0ukThg8LvehinMZ/s+Hh27I9i+u8sLDdJ1S9nnf7vjAidu8g6dkKKnetp+oCMPNLJYvss+zeGfmZDntpCPjvkoNA88Ok0vJAofG+3tzvAoRIUGmbQ/7qttjf6m/W0r1b/95ky3PGGuZH00rcEn/XC/phgL/uNBp6TeSsjWAVt1a7eE3Bv8NQM7CGM9r8z8JASR7YUg1FfiyEZcCbcf25DtCmW3h4rTIiaNQEG3NAtxIVPyUUpuFUS1c/MT05Iv3hDHZgpAi0uf1hHf4yKxFGFytqjg9ObH0DShu0y4v+MDXb2tvL/cc4+QKfxT5GfNdHbdNQm1F84KxEwzC7s4KH24kC3aUoV1MQqTl/rtnX02t6A45xVUJEC2y1+qFTqt1E3M4bSIWUErzlyT9MEmfma0gbaUXGoK4cShnILwi8ds8gWd/DVP4CTO/+ZgXh0aCUDDObQQv4hyAgwv42b7T1cf4Cbn80qJcQ653+0Rn2jfcWEy+KAcIXl064Psvb/kmT4MOutUr3VmBZmKhToQcdyRU70nYYqpNhtWNfj0sfScoIp0DwCNaThKwKbNNusFdO/CA5tt42T3VbpcHu3EgYRDhzJ0X9Cyl1k+bIBNWb4I1es1lDRSsrhI7DCyYmSd2dblYKzK83mpweotGkOU16kLSPMnxRTVDQslw+2aWn7BwuCoUQlkpAf4/TKLC/w2gXG6CDkq1ln5Vc9uVzpXjZqbHOts+Clh4BqD/IL5DpS+H6wtEgT1TwUdwnOD7X6rwssmhwtKD7yg/bZcKynWt252Zv3r71WyHDlhiaEqzs/THMhWYczNd/5RCSap8Nn3iNPzvdLT1yBLNECDfEY/toO8tSvqhstQu2tgRBP82yKMp/h9BjOtRVlg9IFbBVKmbC1Er5451S5wPCoPcHZ+//w7uXTuGq3Z9yoW4CVcGbZLH4qlsMVS0Zd8cSOq3pIcp+zix0MmHfVIBF9x1zQNhqMp0Qlzg6ZSoYcb7Qi7zH1kUAFblnH0NEKfh3/TKa4nguL7aiYcClU66zNf6jFOzYgbSv5hBR90eActId+QtkaWoPmM/Ckj9dGw0sGS7VHBlEewAwlnnG17l/4fCLgnZO6aqXWV44OtVFg20II/Lyg+p/nSjbunIXMU4E6/Q18fU+4eCu+CCFLyxANgNlZHGVF/zodlH6HR32hcOvUbHG0i9zrFQYlTn9pwi3xpvbp/w4VqZXhEn65gPppF2xtX/rLg58lxZsWKS+FMqHu336GmHIQ60sfU0F+LLv74UEVjQa6Zj9kO1oEYcNezNyksEG5CKImxOX9aWxDHSLAOU+k8/975FxHyfQj2uHHjOj4eqEyDr/1OOtdI6Rptqoy4D7Vv9A3npmdY+mlex1EKzrmD1lIEUUY04cgLNFNaECiOGp3dtKCPRUvLB6xMvibcL+PzXzTh643y0UfGF1Cn/Ag8yKu2d/Jcp0E6S6mwyLy6sUMgXIwYPs+UBl+GOCBATT/Y6TpvEms9rP6Eqa1A0rA1Uf3ndUjcjuOHpqnUGijEBK6TXc/iLuPoSrhB4GqnXqBiseeLsSSTU6cpPqgw9Uvkq0w8JnpJoSIYgsGwHu6Zzj9TUx+J4NL1LtS3A7XoIT2f8PP6t199wqhSgZgLiCLQNBMfPBYRdjRIWi3U21NwRcM55XxXbj/YCh7fOmvM85f4kFJ/rXtdgw7RWh+V++5L36H0OUaAT785da+dFErTc9DORSUxNMJ3ZTvotUI0/BsTMi0WaPtxX7KU1ty+P6hlLmfjJ8a6ttnuK/Mj/Qig5yc0DyPnUnAyMbWbeBurjV4gSxQTFzMlJf0/st0oqvJ3OBRR5uDWYlwa3V03UclV2mcNTSm1dGnB05UWU0fX61ka9QZw+OFdXnDHtftmKKyR/gm2fQzygRu0VrNRg5+Kz75prT1U46AwLRrPIsQDgrzpoNp8T8izoz/Q9HYEHzRKvPfgYDdR+Z7Wcal5mb6QFrJRU4iWH6hnyEDiOptk1N/qkF30PWEOb+YDC7LA98f3va5QqFvZ1iT7KpjY3lSRgR2N8W/08bUQGjtg1Egsud8gqrFZaUAlkmTFWxAygZfvUKwNBQ2yk5WkT+wCQ+kCFqCx2m4uePyHOAPpEqdYtXWA/5mWX8cs0yS8Il8YSU9YrNZW9mPYpO8GZOo5t7JIRzd9vDk0qOhWwoz/mPmBv9/rUfBK7JdPSVkqHmtxST+dmGpNfQemXZbbUnZnuc/CNyJttr/Gois2nOLUsAuhb/fCFET7o/N+f0MEZxr+m4vRBWyqa4W4Y80cczTqUJ3f5oQWhQZSxsTwr1HjgLrOcaqJauNY8gUWYr0I/j60yuGkp4tJOShA3cSseZtTPXD0bDxw8kAUUc1+JbNuyDdPMBDMAmju99hukzYgeqJnQ47VXpZj6LF2PG8Vw36OyIaxPqdbz02bl5rsCeSqkGpMl4QgL0y1ik/ey4Dslci9PItPpPKXORYSfS8XMJKcN86/BKrfDdbb7RrTz2YfFtwIADg5zNDd4Xd+ntLKGUAfO55oE/Pn+yTnwPY25FpLNCNU8jjKTdYo60UmlPfs16vGI1AETEyqiwxwDuwnHPfVz6Az7Nr4/sibpOEj3X634FtaBCJVjydTTgDMX+XAmBDM0bszbBYnw5VIXmTonDW6b8g6IQKvzUUgkwfq17e2mOAkznhHg7l+BEoqAWJlKX5yXCTliR2a6eKV7ZLHYt+E3WPdTtJ+35sbTFLXwcFyTrlS7q1/DDOU3JN9R3CbfFEG4BPDZKLjkOT2XsVHkbqhzbgK8xPZd5SYsi6P6PUjTKUpsd+EZeZiEcSFCZchuCVy5jBnT7JiD7Sl9/YgrAC0Sml5Rs/VKrnkrE2El+BBjFxAen7xbnnYLtACg1vUuEXPMzINk4fJtfP9VN17Si/fM8mw2IOzF+i13m6SZbd58NzmmAYMYYu64rKWkA0cJQzF9iN8+pr8WUE5Fw2KVVaKRB0KsZcxTHkhNXiUUwEQb9zOfm1BNM9eR+lrCwrHx6p88kk6byxEXp7AZdHqv+M4l7avREq6YEWowLTfzlAYT+1EpTH2/sjZoo3tixM8gev331BsZFmz587h1aEg9gB8vgYnBStjdOaWqDIH5utpoLe2CHn7HQcxIHohScFkEE7TpXl2oQqoCQR44yVOWER8ydD83V3q48B9LMTU8z3Rf1wJtiJ3fpQLaedpZyDdcxOSLE3uSMYCQXN6hsH6qnb3JLfe71lsyaS9JL3Tb/hoY4VgX7+xEIVaGhp7uV/l0/f+BhbCG26JjI9UYsyu9AnLRLujHHMsrKOZ1gNFVxmCBj2ELkzarGl+2NTJuICIDl5unAoKmlH5W/A1Vo8wFedh11apv/geVG5w9E0huju/Wz7urqCX6hPvg3MRWgKmnCvsEORyqG0CTljgVZXOE5AWBo/n/XW4XfbYRpfIQepiuoK8h7840TtZkuzMfR9IDosIDqOCToiW5xNa2dC+dDz93f/sAWNMhyoatajYkvE9rY1I2JBBWieriLUDreVuMm15n0lD5M3zsF55TIDRHFhc+IvAVDmaUS7EMcvoU1sfUx1CsbCwc3kD6QszfJNu0jAm/2KRUDD7hHnG8Dayko6vmzI+FyxwLNua1yPoCJeMHjfyet2/E3+cB3mdL0AHCyYmbrKhnIFXj3RZqd9Xtgzm6H0kMj1UfCsILUGVMCMsAKnnrTcFbMqiyDCUlgU4ktFN+JS3ZmjPZB/PhEzql2P0EzhOSE808M2yG6DZXzgNhBjPn3WzzeZ+40kA2CSRGIAOpLa5nDFDx7BiCBr7c6f2UpAU9Qh8lCLqSti62jqxfAU78ngGXkX6HgKP7Tdo3ZASkZmbxw7nuJVT3kG3Wgnsfbyw4/XFaxZ+DyhxOBtzY0jr0nCHwXSruyS6oyLugLfZbyg54z7ZjB1A2ryIWoDqwEFcZkj7KOc3OHFm79r6NVJQqUq1+d1/x58aO9ya1DFNOd9fcD6ZvAPzg9Th+24xugMcKlH1B8gsQHRUOJurfA2VWnhDLArc4PjV8BlkdlVaGECLirB58ss3ibVtmshlEoRpU4XFdTgf6klQrjvR7wFQpw5Jkgtbo15zGAKffQg5blmY05uPKaYOzMbl0VpxozM9cPcvLszrOFS7n5GCaaYszCdtJhibN2sIhkTec7RxgC1AOg9Nq67Smh8zlq0ovyV7xSH1aYYF8qANUkNZYIpwSCPFm8LfpImLfB/+muYMovL8mlsq4MxEzWKxRyfYb4Turpys0XOS1q0oSLETMpxf2VES38Df8hDsPR3xRVg2B9FV35fZwZMyoXNdtCl6VttOG8Y+n6sYDB1c52Qqiqp7StDhDlQ76tYWcK3YACWLRDONhfvxjjiXM5OJgHmfD39meiNmDKCtDnB8kxLbGdsSaqsgY1bg8tHDkSzt3XxW4mS8cVu+K4rEEZa5Eb0zCl6ORKyLTCXFn9xvY6xY4WqySVtnvgGzErs5ezFgNACNP9ZhGH+EtIqdf8slclvx6P48cm/69NPsY7FJ7TQoH/ZXOFq2U/kb3WrL1qu1vhOk1c3NWu4pvLRtgaGCle47MxUCyUrRfFXnc3T2x+APFmt/wvectqY7+5MDy3P4vq0fZf3iM7VVc58wNJ48fdTd6s8DtNAqz2j1aDZPQnX2E2amJ8B372GK5tlifFLzgXMPiS0FFeQr/5LufI3YmzX8bKyXeXg/mklUl+/Ub7uDphPh1gFvoQY5LkRYXrfGIc4y2TFwj8NTwpLhlRgPLrnmV7S4JHX4BHjnFtzRPToxta1LcrT2A1bnZkBQDrffO/A19MGSY+KIwJixsvuvGsL/8to65Uqu13QnEnR1j1LDQmQF2AwhLXnc0hECzQvT54u5LXvf8HZqFbA8Yt4ZKL1XIJY+RFWnRxZXUNJ3Obm+02MrmgkYcKIBsioCQGrDkw8ackQjE8YnDU6XRieTmGqIhkxwxM4rLQheM1UshVl+5OMNA1sh2doRsSXQtQ8B6oYIGy1LxIGSRU30X9RcogcVsPgte5OJR2apEXJDMK59Timga0GWbvjGWQ2qFIFgko0N+IH5+k2dO19inNzUzgXbTsr5XwzHntOavX5CkBmmDkdpOUfPqa208t16AFS/H21MyUa60Uj+LNEHhORdrl2cdDcYMIp7eMZRXzy68O4JZQ/WdWjFVDVCFeynvOM2WH9RpaSaU5mPMWiOUsljPKyIsiQYWrRNuVClLotnOgHyIOe/jRVpbRgFBSaDDDzE5TTgtm6siRakAnoxIAOYuZWkhb86jxgrGW1BRY5Vrext+1yUG9M5K4MCWwA7/tzVbI5T1f1VVU8m+hpXUDWpktiKwEqSOvt9QTDQIq0yjNAM46HFbM4pk/VffURxUtmKbadTJwKRkY3tC5800bEjPdCFy2J9dGLKcp7/OKEa8BpEPh59dffIZtk7m3TpKRM3xT4m5WDTzzS71WA8b1ZH2u7eSdhkaPvOdF+rtyCPoEFp1vhAIbQQcTtF/B3SwwNDPRTdVKwlAIWkbLENdHJQqCTcbp66a9F8FqIWrwOLiKj/3sQ95DS7bPpzhaP4p58cScxjb8nQLUdwh9v6wKlVhSFd26RID6kV5NDJWA82McDy2WRIpijz7T4Pq23Lk4p/j4xVGtaEuN6DtgbmA/kIDtefnJMbWptg2vh3nWOkULAyEOkcq2r52bg5aSwOaUanF4+iqtbp+HUH+/+YrlnnuLaj1jpPtA/Dvu/PogB/AkVEu96Jh7dCwo4sGUrNAILjhcyTsVPFyxjO8otqt3On/wmM42ECiToMzYHhzsZkXG0CXOd2GH+2R/I/jBQda06e5DvXWia8lb7k5jgauVurv5lHmz0b4FyHZA8nZOiQOnpp4PB5L8+lm/wDRqJ1mmtTOtSdQLQUKov5Bia4WAd1WczL3GsKVBxmOW9VaftnRMhTUVJTmejd4QLEmlKcGOLqThZinMPtw0yL3V8vacFs86JZWj7tprxzEK6UJY+xdLLTcgZ2QOEpKgIEd3+V6jIgXQaO8mIQEftz6ccdaIypXzu8EbvIYYahfr8RmNQJDwklGLU5xk115Q/JOWGrFHG0NN22rfKi86qaAXOoLURLB7uKux9uRQFZechpgbENpBlVvcWx7QSps9QmK4/vOy8XGOwiZEZM8emZyzlpfEaVpyUgv4L3C3NquIy8hFzBBV51Et7HAaEOeyw4QjKKGW3lwmFoyfcStA5oPcoVQP1BO29DeZJIdVrfhOyEqem9fQEEjWSXpDoMKyli1DSJak1wN2dA8dt9Zc5ymv2erqrmoHwbDKniaVyKOq42DNr02ltQlJLJ/SnR49zM3H+Ol/66M5XgFX959fiHhbhNBXioS+atfo/P3kyoQ4vv1MPca3vNQDSXqnZjBBHF/L1qHeGpDD1HfQUhQA1gxxIW/OSwSPlYR4GI0lpycO0zcEZq5XGAcwW3bZDkche/qrL9ZX7oZczY/YC+Z2u3SPqU3U5T12mzzZPITuneidMJGY4JIeDZqhrrBXmJ+knPUm1W+uV1HGh21RmpvYOS/MRXgiDL9SryvL+tqpM98HcYkZg+NwhlQbJRPmv7aaOP6z+h612dXzDif+NQOA6EEDaGvvPR/udcohU+brkPX/H8G0ToVZXglqZVZqY4zvlGLOoV2dNcYoXGR1iSoZaVDzWTE/xlLH0C5Qb1lf4Z7oD1hc2TV+CUPsDPoNccDRID/t0Fr0CU2k3Km51S8iNkDdtpkGwqkntHGdVYUsjbZKoInryzW8tJ5HCGfJytTPVqikzJ0k67ezHjEmc+FaAzAKXUH6EQuEy1bNV7CL4f4t8t1hgQKZsFFIz/gM5UgS/GW6Mo5NMW1uNUSb/ppqTWbSEivYNbQr3wi230BP/UtGIb5GHBX8HSdVn48QzR3kMIYmKFhNOnpqU4OjLH50HNLVYJG8Dvgb4PmmsYEBAzLMRt9Mv0jaGXATGJf/C3gt65KjmBPkbJ4Gr+tvbtpHPzOJuiwRFWLSn4qg5db5j28QFCntpvywQW0xLR2dFE15dtGy2Pg7sEj941F32kls4I3gwoCTqm65MBkmqLtVDpqtlGEF9XcBnTOXNvJ0s3zd+/bTG9INRFIIHiRoHyMqmkq8VyvaOuboLcZ9N4Bqn2HE8osQr2pPM7RcC52FKTHb0bGOOgvfPIUrOV5HyZlboj54/Jn11uHtU7pmaanXsfHLpUKioTohYXlRNt3FX8Yy8h+otrFi0xu8nC3xFAUa22DmBulIAvliEa6D51a89vxAttHPqPal2dgDPDz9zwwqxO2/Cn16PADXtWCQieZMHu92iWKce4C6C2wLhRML+B1o1jENA28i+sX5r+zGzaKIZngDVlB7c+1bJXH1Jr3p3+DZz/hWCfcmWg05JHGRvhpAuy8Yj1pYhzgcwOmGB7Y5jIKpfY6D9QOcLHkZPEEHm0MDE0MUX+UCV6ACNtvhmSXhgq88or/YQVq7++KxNCqilw04MVBtnITsWRWNatVH7gNrFx/ngSZcPtw4M0S7B74k+S1/QhItWfLc3g8KXDG+ClbYHl99vvq1UANjaFaI0rtRULCqdOS5TppBq9EBKYuNmhmTnByAkUMKjDhmG0V6ijqitCacPXe0SyY72lDI0+z83K7ZTHmv+S4wL66sQgb/5FpZQCJeA/BIpa31vHkXELWKSAfv1PiPB1Ikza9iIg1gs3Hjk2ns/WjZp1T+iVXI+oh/8r08WPyJmxaQx4oIyI0Cb5SNU2LFD5LIz8iCdq4fDD30rUciVHCmYwHj4r+hOt+HpN7Vu53UuJu1gpChQsAo9Km2NV9fjASKEtWTfvD9ibPl5tm+Q5bX9JhAOjm9+D0dBi0Rz1tb0w5Kr2gpk7/+r0j0FJdYRVed/oq/+wch8Gs6XELAoyEkYokS9AnSsSbXmdLZtoaP9wOefh1EsOyt1aC0HAxiO25MYwpAQDpACcmsF1uH7hwnLV+HPlzrQg6WhA0VQp7DxKKlAI2mQU3xjkvdPHvl1gmSpmoiOqdwuVJuW5HLOiEiIgOlSAoF4cj0lFkmo2p62e3l1KI7ZExaUuY5vNdAnExfMeV/l0oSErTuc1xU5kbEoNFtUrc0PZF5An5Hjr51sUtfXfia6zAvnbTP8dHxs2PJu/nMu4SQijhSB0ZfRPjF+dVYl1hIg/ADeYXaWVFlllEvNFfgr3TQkTwhXXkAIZh1J5fm8W1BRXpQuxk+S6+96z5xYu08GmpsGmyr/tUrxplyxkabw+yJsGb5M9x6gzJYRYmTpwHcEL7VtqhDuPQPHmZ/QyNDevFGq9ILQ+viJeoPGALLQt3KDF75Y5vLvyZxWk1yC9JYc0CHrSy2SkICTOkksO2yLqoMXPrhdmOcn81mI/r3GIrs3DI8lCcDh4aXIWq2np+CqZ+Kf87H4vVHlz2XfRBy4K1l4nha5DMQ+gXbWM3S8KHbvWI3hJBkQVhiQGpmtpFpJWsjMIqYaPoRx2eO3Mim+q48BOqh62r/wpCAssS4F6DWPg3ZMfFrIeoJx70zeasRANlmO3VN0qi+cLvRQ5p020QBPkrBRvb8WmNRrfbQLXf+02oMuFDqdtIPzVs160Nqm1SeTSN/Jj2ANw08Kry4N1SQG4O0Mo2Vaj5pe8KN1Udtml+u7Xafvm3f7u/9dE3v9mYM9EwEVnPNYjTZmD0smLH6WCf4KfXjAmOvoK3ou7aldrInyW9KQdHu2byVHcOpd5IldZQJIdrdG8ap31yM7GlVZycb836HuPxm52fD8Dpsqw3IJUWqxT6v1PgtKqbt7oucMieZ1BJD+P74HHl0TAoqMGsGUXpYPSvzVRM8Zy2yv/sGAAeYZtA9WlBiwdjtKlg0zbwBTqL+yZ0l3w2eC1OMTWc7zM3R93pjMnXOShRo2p9oYFfT9fZXhdUptT5B6veCXe1Xd2fLKzl87mt0DHRi0hV0W8O40X/SWtU/4P//BdaWi0Kf2Af+MQ17yjQAb5TD4NLk2HYW+HG8qvA8Dr5aIKKdVMEnEsB0cG3EwzQywlypwkPJ3o1zLdsRWNnMAIkh4FFMxPQggXy6aXGt5I1A2EbQLN1gvinYWXcZ/E3s1Xy4J1lKdVdGvG9Jzl1J1pRaHyst8dvt/k7b6cpcUof5+dKLG6jTIhZL5VZMjiwhWkZoxwZvXe9eySAW1Wjk2b6E/oBU1PGkb2VXEXYxwljvQWm29ltZ8PYxWnTliW9ao0XsTEyLLYadSDh4xMQikJSemSPIMT6jrMH05HbIfegApeKbZovyf/rgbn3mvM3WzJ7epjaYusv4HZEDRb9OjBHmP26xqWYKcgWNp9ZnSzpJYto45ycxCXkXx8GdLKHV4aZALzGQehGRV4Fv27KVZ5CfczsX8MhuqXV8mUTM5Fxa2JgqUvo64peDBR0dkij0mgGUQ9HQzg5bCV/KUZP4lHQQGVRhJ6c/RWxPgtrvGyRwffGETA7YL/P0UK9+E1Xvb7LcjkbgaFWrqYeGhehu85sonmvUaZhyGeDUkOKZ/ecrozZQATfp4td5bjuCeM766DDS2glTg/O7QhNtDGH59THJbpDvwxWusbCVC38kXUj0O9Uao8wMAIHKjn62xaS+DaYFMaUzYrXb6URQFwrM1qDxOf3+w59LbKCY8Jl+bvx3qakqiRNBIdaXLiuDRgCVvT3BjH25Mc5vI/8SpfMZo8y6y3fzxHM/I8yp6PdH9EC+s4qFCsfdsGm3mmJsoP6OMbuEUAbVrcpj4jXkbnf5+cxSk0Mi4gubqgd3+q4hvBvkjl4vVlf+gtDecvhf/lH+x1KPyYNk5ATCM49kn/WoJjw8Gr/ylqruOapWScRF/4M9W6lSB9CFPPXgz7sy8DD9Chc+3iYX4u8rH/8xmarS6DSGqHaoJdkrZyoHZHcmeftTGQJpJQrW+bzgoI3qCRBG0laafPxAdrV0mOuPmkV5viChF1IaC+N2B9pH+947RRnS7imaBx33+oVmpq1UvFm79m8iS2zA/70hEZkvHZiIx3uK7utlotsaTZmwHaYRNjb5gnD7DybVhXoTIaxLuG7Do3aKNb4ADnlShBjSX9lsoR3wthSRR7a6fx0ISCCqsbLwbgOWo5O1jhNZ2WZjABnBiwvq4AHBySRRUDAGFHFUSTvNz4UlJQOCt/hRyWnKKZ4CKtlBji+N8OF4BU4Rq3hdt3XqT/8Eyt7Drf9iO02m2DgKDaDhghsuaII9rTiHLUUFpcIi9JKTpD+aesB0umNY73mGVO7qa4aFak98AZZHSh1qVkCD4vp/YI9W+zzgWz9pIK0MuQq+r8BRNz4iLD0US94SU+m9X3RCTbsJwFE66uOLY1P7F+XDIqExMizX8OJKFU7WbcKaV0ZBtIpz8QSwi3YyBVS8mnIedOH0GYta1BCxEMXC4qUVdmQME+sQXE2haWZUVNLmSjdBHbfdwoNmb5Dun2w/jIoG9fT2BU6D26TITL/PdZ5cGtbQwZ/rupdLLyJ+5MYtYSWfQPUq6jcstIPa+5ekBDp3DAX5WAN4T81vroDfl8jceiI/8UkyowrFGUu3lWCeu1OQVJXjcGRlt+nOYu7YwpqBDfy93kLbcxNyFVCXlUdBWDHpw23JHgKki/BKd7M47Ey4j2UCh2PhLWNC5kEVPsRgLx1PKIHpbiqlu0JmwPD/8bhvBDntUNdqv7GZwT+QxQK+w0pcwEZsTvLndxF4OuGQjp3H+32CerX0i0L0pX7NvEjHA9Ohxg6iwvTnWL7pnIkwPYW+jUSeVyuVrJaEcBYEYsBjo+2pSapzCV3+oFnj6BJE0ouVrAwvCJ3EtbkUzDrCjNsBFIssEe/iJpV1zYHOrfaaMp2ZCKyr+zcuDLipoLWGPvXzqRIR82t16aidxAJmQlLh1OUfTZcF+ZVhWg/ip0xUuvU2ztNyw+uWCsLHKsKZl4EoPmVN7fb07XIdpp7cYfpEJ8leK7ykjsjdisV2S3o4EqPCKXX38wuhcZS4VEs/B1LbDStoA8de2upUmv1F+nELxYJza2eiJRBfVHLfygvONVaqHEZHsxC/VzQRvb8X/BNV4/pln0AzMePP8v/capSg5D5HvkIzmuowc2VaTbmhO28OXZEpsl79JbX8iKOKIwuX0Lm+plaAAPy0mVmVTHfXWZiYHcbrSHFgmv85yV9FghU+hxPpXskPdXaDTgchGRwUhFJZRc+iq58od+GcBbNppc8tKbD4xbXgF7oMMBUVbY0T65ks3onv8H0zqLVWLXwJcyJwXDKNjDNqqGf2XHksf521R3HCPJC8llErou5LWWrfwWzmPB4oqpESgNw2mDGvMImpzzx9lVnwxOwEXBWRsymxG3jXcrcZJaRAvpv0zr4wYumCxCnAgpCF6YO+DtkkoP61jWEkXGPLKr/MCooiqQL6JtpEKfN+7lCfU0OsJD1bFyDi7T+JbCk+//k7CR8Yv7IV5dkr0i9AqNAlcEK6mpbGQlgd5go4bC/qm7aFOLtxyeDut5vxYngY1bztOF24RaaJsiLGXDNPsncxVio/gKkUTS9jW6S5Mx4JHfm2vD/TSCuJQiUhAT42cQx6cYWo1SuqVck5FJ9sGTswkZehqQVY2GnuvjisNbMp8OjMR914YROA2Y+vFahncuRVWMB786PZEM8LPpgbGETgaqW0U6j1vh82hQvPeFDTZPWggWDmVgj+O985XfVuICrJ24w24aJYHO07895wRSjqYZdlOnp8WmtklYZJHH6xS8+JmF5ugeWf2fnKv5pDnd0YeLNsExQOxQPQYZnyOpLD8vpjjKIf5XRYBBPrD571AEAx4EHo0kxFGMNrAtspKHlIGiPE2alkZrT89SwlYneDTEozD7LWxsrE4v8eInW0s1l38KjGAMUwIyCHZIL5uCa6PsbjJJjIqRyt6lzDU5tJMa0jg2OSkG0IxoKky2JnijLxhxJBz4t51IONBUIdYLj6Bd/7uNKNeGOFjWn0FjMvmDDbPU4rJlvFfj8dxziIgXznBoJv5hV4mHeVuCmQnywkpO57hCUF6ht4dpz2K9RD/eywT2qGi+JMcFbF+8jawc7A4D/itGAKacawYdhhwr+9qb7/UFkSUjmCktPHwJHOWENmJ5kD3sX1AHJb/L2niMeG7tNLbHeHGHTIuKaVi4BzrKAsN1MtxtVx4R//6LgP1HXpQK4G2gbx8AdpnoZZLmvPUgznPWMifL7fG0IE7K1zguET2K8tsBqyqWmU9PDQCTt38iFYetMveNSR+9IJmHt29Fy6zBhv5LujgDgMbTuUOonaWTo2YvtjF3x+XzR94RRHMcjqxsefhtkPKmYfcvhUj2uMeknCCweBLtNSQlGDVTUZzN4xEQUQPuHL/EJsrqlVXeCZjt3EYsAwHz/sH9hZBnJ2fv71ZSkphaOdUgzSO3trUF0ZI2xnTFRfL4vWcHYcM1G50vXSgVTOBgH51ZBIKK29VvD3UvangL9lNGyisn+cEEEkKtBOTOQ7UHu3aQDOkLofMj+5vF1t6d/xH+7Qw7xuot8r2ihkzjT7whbu59fHRQaIwaiZa27jgZK7vIJHuHVDgNeJ+k2CuLuG5iZXSPywBvsLJo3YNgNRwOnmjg2d4GM2mJ8XnvxvtKRfm14mf41eWMEFEubnM+pPEuf+4VsVxumx+VaQm0n3porio3m0zWAXlQVAyoDZnKmO/mKv+IEy/PZtUhu4YwHettl7X+sKkCPEcBurHuOqD/PcOi+3ra86J5ccvDP2ijKvFX7V+dwnY24ia3K0Y19Oc143knw/CyCrVk5TYndW2umiq7jJ3Cy+w0HHRNIofVH+RlrNtIC+XMuzC8HFJtejAU9xJ8mHHJ/2zch2mxnozFnGpEhUSsp4x1eeElVOvKreAzFo1cwg75RwPiCdkVsWRYTIOaecGD0UkizA1HLzFMBaAC0TLbsBQTqH//N0PR1fKN5GEVXYDElD83SWfvej8ujGCA5sfXEM4KSDlGtuaAIWPb3/Rln+AsWK3VMkbrzDi8YnYwUSJev4FhMTWuZFSEdZ+nncPSEeGp4v9G3FKq3GPh+/1is4NVsP+anUfEumQMnNqmMBaCNvwESkej2QNHEa32EyVEuYYY+LI1Wxg+btAWypq2TxSYGUPzQ76hJIZqwlpcgjSDfBNn2A9DxIydKzBwhmmn93PhastR9oDguM/E1P9pYitDdx0fipDCBIEmFiPh5zpH5jifkWMYdxYD70zJlZDMGl+u3RF1eIi4X5t0eCBnhh7kaYgP877QCAPagkfUh4VrxQ+sIoQMGOvx166K3vbcBEg0xtKlRMP8ZIpgdERXmhgQv4iE+lDlGceBD+l5LRd2EIewID9hsRYdtY9h41id2+yM69ZkNdSIcQnV0apXldifX/g8O0twjF/W0Zzidy2nRNkYssh21ky6vgjUjlr3XIrwbgcq0aGqnI/ZVDKbKTlxxh53UHoR/2USVAzlBWfGbfTRFbTujg9tvMYcbIuQp3I+t8W14qWphXOVYPUQ8zPUSwnKLrfERiI1Is5yCnTU+07SckeYF9XvTEujC9XGoZR81oDWSG+BtZaQ/8Nhr7+r1PP2C55HbKOYCg28hdah1flA5ERlpa10FEZX6wPMxqgfsPCJQ0igZWfj396iQb7JJ9Hxglz78hs4bNTaBnUYSzxaow1/QYohjWTKwxdaWpGVqy0QaTfIQnenl1Hu9izYHKR4EruqfoqHtlDLUJjDyBrUuOdMPESv6u4erTx1MVf0IButbUFmvagBBhsYXtrDxwdJNckilIAbmBEEx7cyIH3RiqRH1IxFHU5mZVMNRRqWiSc9BCafQm0R8065w6zqrqISDFSwQl27rF/c1x6iBOSTLmysldqLxIYRRD4pQDmJBqVCdbjj/kqPk9pkZe08wwU/qSeH4eSuMXTYszhnNKvlEet5CDALDuQ35WNq10TQvqpkrilybxXJ3EdB79ebMTrk12kiQwJ1RmVqbOxvNNV/ION3yp/+s9n5RChntudwXVMxEscsr0ewT7X+M5d1DKt3qPowgqS9mug3t1MPNDS/eGT6yuIt7+F3vtA3wzA90vXmRHmiNJQ0dKpHJqKSGn3+mqDGKSKv61J2z3VdkZbhBCRi5o7x80I9Nb8WytxWYRzgL9AgHSbrJR0dA+5o4wrs8IdAMnIxolIiwaUYkQXmwB/33n+EctG6GYPqm2613BjKfEAPMCR5LRaLG+s1cGep2qjR08Ph7/BeLAQimEtWzaxwvAiebsYpt7C/S3+ZZi+vS3ZILAc/iYCxb9w3sx6RHfKFORi054hWzj1s35oCiqpG0p/1AqMA1hbfKamc9Wv/03PfNwnfVPwF6T7HA8+u4zNmgmIqdMwwUC2ZSzcfr745iCFh0/f6UrqduI++I3GHCfvnA/FtNmA3PoRDNo70GCGjuIS1KRl7NcCNSfnMCV7En1lVAWUbxmv8oW2j3xwbqrD37Ka6PAm2HFn+DhwRTHsbYZKK3nXI14aDudfR0x0SxuBb0CBx+/+COnJX+s9a2uaTSxpuDNVjyn8Y3y4VELFLZ+M1P7lo0Ul50LfHmzsYbi+XMceTfO/ktBHW7Afci1c17/fBk5Cwh+pTsMGDQZm/7c0y2mT+kC9YNBgcbzw75RCtojb/NWOt55dNDNIibKxyvp5XKM2a641pgm64QvJ2Tvzife4R7jqb/DVw38qA9hT19xjhc07+KliIaO6baOguFRqOlDe029m5ePnwpjcG8yrZOGFjfMq7eigeRstGLjz2M575MZeOfqg/nwaAA/tRnRO8I5+67afBszlB8jINpPxIhvBqU1Vxpld3fQ9KXIRBS2aq8lYKUiOTTTChhKJ3XN0XDGZRWU1hruDMx8K7PfmDDOe0NJv8oY/1lVn0octCci7v/YGFhVLzXbOnFx+5Jjb3814fplExefERcWTNOJE8HjxYN0YQnMjEfrogj4yk8kkKSbDhi8849FGkAxvK94XgLP31akgY/VdgGNjTrDGq0oeKR7WvDFYXo6BjXW7RcRfdV4jQRLNODLLLbYRuhBzn+vqum4AU2JHCY2r3DGotLG1ZUUJiAxs/8Smo3zGuUiqRh2/ub10/oGs+7/PT+FxnC0kFlEx+lVA+W7H5JfSvFJTCtSwBodYzWCHDRIZcrTtU6rO0XxPARdsyAQTXB00ud1aDS7Ep6r2ThTXL2f+qAxmqLd4Q5SQod6ZxgDyPxiD0NX5kiNBtyKA6wqOihr7RhBaz7qPTjhs1bvInbN0KkWusS90yzQuOkrSziBhl9RIkUtn6oooiANCCImWwKsUcVCWPGMpYrcOVCpaWs/nCPn/xzRC1BGu3KNekRn70kIf0kpSN3xBDyCqPFbUo0vFY7S5Q0DC/mtPRKoeOxWzB6R05/O+SImRCa4nEcxjKGU3lPEtRfsJnIqeEt0q8+EKFhdyyrxYi60WUXEYsMkI0AyDTluXhORD5wSvW1dutQCZSoWPg0PhtRc38ng+Re1NXxvJWkZdhF/iN5Bv0DDNpqmhWAYG877Lm8CPrXYyown0jYxnScq81jLbTcsGcNON55wcusEGK+rW2UF84KlaeD22zc+gePEKWbiAQ121JQDODcE+Cp2uWsQCS0XHt6mQxCLfVLmi7VN/2eZGfZfgxWHCyr/8oJYSllSUxscVckOysazGQYrD8cLqD3fMTd/GgQvI04lhuof/7iT8c1bWQMpYFyrVJ2K2DPSKJJL2W0FUCE6vCxH/v9tNN5OyDak14gwThuZyUuLAW427Gz4g5AA5fLY6uA0IiMFGd2hzCKeLHro8JavQFn82XhVnb9c66J748YQby8Bu/XhCkHkLP+WpA1DuozqDzFhfoe/ALuW42fkNawtzfpIwgKmLI/NULSFYhXqEevKZ+cQRypRwnI+Uj9Js1Qf4sW+AzGoWOeswwHhGz/8ApMIy2tLDoHJYL6ZFFCQXbuFvxa+DYv+7WL+MZF3RL6J4L7Y6yxrakfv3lOhLO3ukzGAWKJ2ts+eX7rzwaLUAtcOZw2BU7VICo7t1gob1GiiueuBeqHG83jXTZRQcfBN0H6aocO8nIm6bBWxTOV4R+d9tv735CE539ORFx3nAoPixvEpxsGZmrNXJQ9D0loBb6WD5CUdZpQ3bLWWhxM62Z4uO6a+fG2p/tNmfSeLuA4x12ZSYM51u3C4ktXVOHIduOOIsHj/iH5xIvJLfskTOzcdCOyW5bwSYOL07jc/N1QcbULlsBeg0hX1WGs0scNwQnFarD40hR1SxsLCneMniQNJtZT8iQGXdBirNEF6BB80WX3gyu8Y73tFaLL9zHLa46fOByKyV0E33NysiASbv2Q9W2wctEGyOMGm2jX7dgVtF6isYVkx8ngBKDrUXjYF2VUNqZQq3Y9JXCZuUg8dHG/Yw66Z3y1x6fCF4H7pkALSKvigSiJAhLpejx8NTtSPGN4FQ8ai8j/SZTfUIPZR1FuGTOfXKKHcg5MpfCABisXVIcaURGBOfhz+PuowETw5xfal/O+2HwIvaJ9faTj22oqtHkRA47wqoRMsprDOLM5BYsVLGDtFsVooVFFY9jVfDOnnddAnx4ozsn/423Ycrf7QVCRVB/qcZO8i5PvbZsl9zrLIoYt1LAaWuN9d6dzaU69GR+5hxjMvP0unQ34VYRakCsBTDNlCsFlmeNai0qODXw1B0PhIDvrDYgeriwtZVmGeXkUTPpCwYZrmtUYF5Cd2S+/z+Rot/C8CzkT9eDN8FWxmXhZoMK6f2bnw6B+upKTNdJQpt9ZuzNC1vWsO9lh+ubCwvIo7+SQm6FqLyU+3lDYyR9FqyLW+GwbyGgr/2CB6mLhwEqsrJkbQSkfg/VdrE+1pnI/zZCKQjH7LOjYD7/gycPfUxK//6IS9QK/+9kt1PkPPzBvEHBlTi5iex1xJyacOa8KpGyfzQ7MhFYKS+LkcI6mF2geM8I+X0yLIThin+KC3Uk7s/PubMZN57J6WLCMW/pBbEbVkzBUQscCgm+Xe8f8oBJCjDxRLwg81BvhPwueP/Mi8DFPHASmKqEaciMhm5Y2gEdzwJnAtlq5Zxlab1IqS+6QGL+8/xT5/s/8/ISnEKJtdhbTwpD5r1TjBroZuqPdOpdqmiJ7Mg71GLkZIvgNaS8xwJifZH3rVzIflOvkgQkYubLhmVdYfnbEllTnhsi0/1TqI9yx5M6htq26cq4GrKUeU6knU/F81VP+uUU6xfSFIxIMjfWUCMFhASFfX6fs2+gr+qWfW8DXy0vljZGQcyCior084Ea0Qg/5KxYJ9L33gz1gB9JILxWB7AtL6hgKlXCLRSnSdRRNRhnnQ25vsBK7H/jh8zTb40I6d4WygflyaQMmNL069snz/8UTBBNrQArs5Q5Kx2KdMKuLXRbksqsxV7jGkRJXBRX8/bB2odKaM7ChIoGWiYuocuqZJ3wNTnjH5vI2WIdePwLe9EFaMp2eIeeHq78bP2zPsn4uaGMgAB46+Om6MEgKaqAQ1FeNqLwCn+RmYajOQVdPiImkjRkBr1l+B+umgNV5P5UhVF1U7m5qpkQIXn9H/sJ+CdLvINmEOWPsn0qYMYE5+/hDhxuA4uVxpEL92wieTB05ekWVIBGqFlqmwbCQsYBuibWkPXrROVp+yFE/YTGd58b17v/vkVnXxea2IuLYKmJoJV4IM4h5JRpnlFL3XCSIOhjbz83WF7jcmCawckXY4Er9KEz0+gCiVMhsFlMoZuE7WEuUQEQmf33pIZaWP8Qj9+VHu5+JsEF6Ma1s1R8gMmshQUCnB86CSyCgT+OWkS3mOXD0HgPH8KzkXbHYtyuWi/SMQSQyYyJFdnVK3qwxU24RxOqSw4KWpPEYP2iCE/ySUXeuacJEGgNQsAbWIxS3Qbtrp4dOajIc6PJOlHj7MWlOTOknaF9j3Qw0aeREZztKQ79o+0N13BTof2SRf0hikqx6QIg3BCFUh2T6YRDIsTZYpmEItqi8mJOWzLYYy6tsoOrUD0CRgolq665tBEd7SmTeJw8+xUqWxPC6j5fFrmnIxwUtvKF+88Yqfr6ehN6rQiZ/6Dk4+/VlFZdZfoxa/9ATFHDIRcEkEkJJi7r62boFpI8w4DLegKaywiAczbnExmW5xbEYin/K/CHhy+plUZFWqwqSp8ypUcI1xOZWB3r9d9WaKv79gqBHL+c70pdBFznO1E5ruelY9IUkU6ljAkWtZdyyx3LBTSnJ8Z0O+gFcT7wvcqTCbwg6MqlzT4KVAhacgqn58hwzpwlOTfwh1rfueFxHy0LJc0Gk7vXro/HfviSqFJ98mjWFAyfdzYD4SdnzL9TdHCyVHEqeP8Bnbwmpy1hR2NvuHDbXIFu8aYuHZ2eP1Aof3Z1bY9PmOVXciiLiycURT03ZllqKSgQAKPPM+j7s+aRIxQ4b9acegjovEMdVyzMEOaXqa/QCD41DnGLr+LPESOKgPYCzpdAmA6IQFPuCjUNlsoDWXg1MYJYqqHB5YMAg3lMPHZ5mLi1QkfEhdUFRipE/2q6xaPciiwlLllNhtfycALI6duALVCBkZc2egZ/2HUmjsguuOxFB7YBVYc+xMIknuyp7D63bm44n9XiQkrsqciaFToZZ68e09W84FsMp20wJGdBrtgLAWflMkdTaax7lFtekcrxy6eyfNRbs0EHCr7e4iKdMIyr8yzR39bTOuoo2612kpgOkbP9OSUCfd9d9IVlgirJhpvFWwLD26yMCgMNa8hbSeXTrePZhJ1mOtF6nW9Sw2Mu6Rs4SsPufBKr3MLtuv3qMuC9Vx8t3YktAohRHIC4ftwLUSp6oGt6JM31HbHFUYC6+QXIxqd4X16U0ltajnK70l+fUVA/z0dhPvWfP+dOFFXp7CwF+JPignfR+y5kAkTtfczv7nSo3AfL8UvNY5GbVbGiGqU9wimuJh7tk9gQu0HS7JO0V5oUEqGiRUz+9jHHmvPcICrMgIYCcvaZKET/pQsxnx/nt/JXCUSV7rHbwrY2ezAnF5aQEe92Y9SMwe8o4DvjXiXrOUEihXucAR1AhVMj88AernwaFTLNUF/TFTlUftqs7wpWuKby4HJp4QqMdZlMerib1ahRxQrcJwhqmc6buwwhWSn7Oa7EX78XaZNzT3rUEcS9Yd41POb6e3InaTgkM54yJ+Xv68uQWp9AVdKGBVRbui0qqJu5Xw6TH6Pf1o+AZx9fX21FwGN4b98E9Cia3UKneGtH8SKTXvSRhVIzB9jLjHzkCZxNJGzMN1YMolw64lRSJv61hRTk1FGc91aZGv8HGgGYqqTk384I45k/w30qaolt5fSqyuxfxhkTU1oc9DsaivTuwon1uPB5Da+bSMC65OrvRl61ub16yQ3lUiA4tlY9VUQzwxucCoEDYNoqc/Za6D3RCuUNKVXH+sSHGHhGGyUltV7sepnx1vH0gSvoZWmX+77OBOlEhwacr0MVEkzjwyJpchz/yzdQhYsl8UjP9cjRG8n6RNGZ4Hqy0SbWyzYaAbT2HQ82i7dcAscHDdyO45c3Gn65LcHh5ueZ5G/IIEE3+xFxs+35qZThkdE1A/ATTFr+xLRQQ9zT1OGq06tp0+iUaR258oYGsDkzXIhkV2p7jQg2vl0JFISL0pKy0XK/enTJTjmuTD3b1cRWgqjwtGEYBdQScF2oiOROSkMuQVMBOJFRJRk6pMK6flESJsDUdRzQKQZYrMclJ9QTVzx/Iz0gG0navewwZAoaMT40U3tqcAIIECnvrKzPZ1fHOkU1r4QrF7+5Jqy0ny2usoaX8DF9VE0e+cVZLN2QUONQoKvPwiMcJN+FvACvu0AVG1dvPqwKR6eZISiwCtDgVzqf8LmAA6lUEd7vT1H/SIB8gMFwfQldISDNGqEEU5zVgIIsrY0/YPsGf/JqFtPtgtL1R+ldQg/wKpkYISLqGNerzHGRuxOLmwtcP3KmlJ1+ZImg1QM2bpupnhg2wa/76ueXRb3DwGj8uKy7HYhzZ56OCucu1MMQhv9HqavKoWtqH0c5X0g8m+Sg8Q7pvuskCWnVysdNF56fTN4OABJBSELfAqef+79g7s7cv+2KlG72MqXOckpaN5Bc9CitZEghES+u1noV8TWyIt1mBgE+fUQFw6xQ+hRQ2qOOmZ5qfwv91XYURTOfuiZxPjmwsheWcLHDq5A9wTqfM66WbRLt2OOJEb7z3tGhSt6KWrHmvRXgLmsdpA0w1Wz+Ok0cKjj1z79sYMzHCx56dF2fwVapxfHqFLSIP4fIqIQ+QQvc3x6RlL2BCdNV79HWuCinEizw+u1Ligsis4r+oMrkQxztyvU/XhOHQzHh1v6NGLHBYOK40L8ohDCDLjgjq8zjxUso0D2TxRDiT8+f47SZoExFr+fyLQHVE4mnbC+O3t0TKe299c7NGxXRefEzJIAiuKK6hfD14bpwns/wCD3Cf9+tpjFnxfaZOzlFoCMX8SgbS+w4IFdr0d/5iWMCqI76m+0q6iHw3Ug06q9l9xwA/+FlMzyCKPqZ/yWnWzUu4pAPFya0JPvw/C+tvB4X90wFxya5W5/K+m8DbkbfdoDMNELAYLuqAvqCQ2cM+G5lOwBfw/1J6oiTmqwqgDY8EmM1OKhpYQMDD2je9DbW5q/h+53bl8dwzy1Xf3uCBbGOvoLEg2z+1GtitX8UDNqC3y+DfyD/uxBGCMjiqGWZh6VUhLvHGGTnqD6cmcEN5ve2O0S/Ww1C0/6f41ySW1Sgsv2802o+cttRpYsq6kqC27v5yh9oPHMROR/6Ao1YNlnSKA4Xnu7uI4l2mYlwMomQWzqiwq5D+LRvLac2BDKF+0ODGPP5/18x1EVhcUzJ25t+lgNo6Cg1HcxNVJan4uc5utIsprnHkhw+qj66zDDdpm6dkM/vdu5LaCe0e4syLS9osAIxgp/wvB/blQ5OOILS2BMJWI9D3trlgf5/8bcHIondtmJywARkXtqH+UxNVt4AfY3tS67SrGqOmkb7KUXCXlNRm/jTYOMJNDdbvT0dgNNzG4VP7zKlIAhIAMYl/04nT9+DwDYYNxjTNxNYYBhBE7iLppxIzxtqFcP+wwmluFKiPziy0U2j/IRFvdUz896v2xmHi3I+u7367h7HxGtfuM8X1ENqzllDTvX7NXgE1gxDvirCpRS/wVNJEaP1f4o5LQU0aYB1nhvnSS6p/Z0odetOMd4kTMAer13k1s+tCwfzJMFjiWLxsHGZCS7hNhHueFD/mPgPW7RBllqwrtCPRqid+wdDyjIHDwvyivlKqiHtaO0r2fGAEUw+BbujNotd3shVsUWV/r3EYlmvNKb9n9OCqBLovqL2LyMrp19trTqygH3vsSB5qXCCg95iZUn1HbY8eZFFkpfO4GeppE/R0Y09zwMrc+iuyhfmLJd+FDkKNlF01vkBvV7zoaf19zteKT6JDoU//ZrGZy2vpV+oOBV4vt/3r0arwHq/tld/QKLawFaaZcRAPWTHhQxBN4FP48tzOVl2rLC67SCcT5xjKv7BxfvUylxfn+yfzLPjxNKUrLiqMojer2asPAiWi1imr74D+zmfGj89kcMbM3QiOjJu+ex5xkBk0vF1JE8kxr9VcZjCWNlxzDNcUK5YpWbf8jIgMKf/lLP6oFfkqtH0r36NnNPmd4l0miMd4bSeJ/Zf5uWOb+zIKMgXMNk5OQYMHiig+wQ5SyAlkAL5nUUDM80eaGuIROM60QvlojmE12JIa5Tslp6kARPuff2T0xbiVmrCj9ww/jb36E6hm1JPg/iUu2LAXHy1Xm6kCDX6esOR1ADo+9seFnnjoJnAERV0Zy0V3s+rAopivZdCjsGX/8xLZ/ZcYaWrzCS4NZaPSyaFKZxvL+L29Wv6yBVNLaZK/HQZ0UaofDwK8l3b+lB1QtuA74zOT/Uf5y10ZEmrh2ACXdh7x9jS1c4gFeEB9qWA3cyjNtL17R3Eez1CGHAdLSWe0OyJzPI7j6/9crNil0GaICKapHUmK+6w3T+JZAmgroO0T25hyA2e+2HHfSvURo1mBvy+Lwwvr+G8N/HFWTZmQAPALKq6erEATICn71J0Be0xPaezS+GAz8wT8WIhEtFmoDGbuT8ro6OsYRKBYScyAbSBcSR+MwobQ9B883nurS4fG3Ruf7+WQFkKHeHFOVF1AmCp+xo/f74IrHOpdOHu9ub5VUO3BeFYUwFCKnmsWCRRibdBA8tpQun9mkaliWhWzTApYh9wfin54VHSbRIRtbQr6Nd+3e0g0doVp6O/ipOi8Ufztt4QG1kk+LVx/vY5n2bP2IX678xnkAn4qlu42D9wzTHmfssopTaWic0boiaiQOsjZ5n4/jXMntinJbMgP+OpVmu1JZyXqjVZJlh8Iu+d4X00YaU48qlW9vDCYSY7DSlmSWsWDfrsuMG0hGMnDmp2gp9NHViKr3tG647WYkE5Ior787UqpeFIpI7dl94RO4hRTINH8MjrDwoOdHjOhxWZsVv0NGDNVZatAacCD8124srfUUndi+ZKIqNZRsPl0pUijKW+HX71qsLsiaf84GLBwbtlNiUm6FXI+XRhOucf0ZTKcCZXtZv3xRn8ZEHa9shYlkCv4nDeK5CWptXkt5XFiodD+yR3l+SnWCPhVnG1akhC8AUqxGg6OTMbRQ41zpMYd/utaP38LtOoCD7vjKs7AItI9GhmZgC7f7r1ZIBeAAdI6T57wiBGy289q2cAeleQ16SBVWnZX/IPRs8KhlSFuFsqBDrFpapyb3pe+t1MPhePqjkXFU8t+LqbmBsNfDKGagYKPVSdiTHn60uXwEVf4YyEoREEkA+lSTsNsM9umNMLDt1nPpkVYFBLfjBz3VUOLjejbbL0JGA6n9uP8vixN2M2nTe/hhJ9sj9DfWB/F9eRagn0FnF/ooDfQH5hQYGp9v778svyOkr8F6v6Swprc4S6c11X3ehXbHcABK7UKeU3tp653N4ykhka2owc6/V6M6iLcg/UZCevNEv0ApzWpxDj8noCzhQ0Umk6uwWOv3+mhgXEugbdB8uU5HsMl4OCLayKlWcnlgdfdeuNthzwkTHJU9eOL9WOE8ztOlfKmMsp8SXBHrxa3EoyH/lYBmqawNgR9SXjzibAACPh5DuhTsCyL3Cy14bngab9Tr3Zc8KNgnzPI1+7JIARHb5y3pTK7LL/xGtElmZjjeIN7qfDkV77lWiLWgNnX7ZE3JYafP2/7LoWX8H2zHTeFLcquXr9Bz5p4/2xzFRuzMEfyIYHXioNkod5t1hkIjZv19ZRdMCK5kORkZx4xtFNIBxb2qzbsnu5mb4SRv7IP+vRDQP09YAVYaSo6HS+nKb2zDFKu9RI3GdkgNExvRy44uQGMU14fKRnXaKHNDiNnWkna+XkdkMxoTbVV31Mb25xblbEkYASL+2wUHaJBG4JvpoGOi1nFGXFiLa+anPm7St1ii2aIWR3XtShWs9kRR64lKywriKMDUQXxCpPG53Q6rASqcMPcjAc8nxktPFCspE2V9ZY5oYSh/kpYlu5GyTfqY6A1mCMgEJP5emPFmwq8X1oqvFtwTr1vvGR+hyocIjGyE8vAmcH59ebfGEAiQVaRBpZFsJSSOPhr+KDtlWcC1KNYHX49m2bIjB1CZeAw+K+bGqq4SR84GmzxdkVgl4YwiqJ3htvydQac8SHkHwztw1iMr+Xe44dBQ2alQfLeF/ikGQ8PZQZNndkNpxlGsETLcK+JjYaW63c5FJpTzt+d/ctKM1kg/ykcSlOXkDRmeztJI2XFLvGqYsCjvbdId/m17XrJcvCtNcN8rgbybNuR5aW9NS6g3eSSu7yHgpA/thqjLued41Dm9aNXtH5vU7UFPPJly85T4x0bqlJznjNrwMEBWHQSmcFo0sTjy5mAaV3JcF+MvTV+1eVul/xMFumFRwC6Zc6zg+l8t6mCkiPMq8BOWOk9sb5rBD+lDnw36qeP8b1KrkSt6V3VEBJBsmyGIZhiKboHW8CcUSFDC8XzFxU9k+K8GK2YUGWtoqYNfCHT8dKFZ1eStUyhT84mkWbhBViXkzwENOyIhBvDeKuSfIlTFoXBE9yWAxyOJRZMIvWoJjo46xjfOr9CsGuDItxzexLa1yM9RkyrA2FgXuQ9PzPN8jUKscSfd0jrf9XGGJV3uyYyUduWajozfFZgFyLPXes2RX4OoI+v5hFE0R9Zk6oXKq25bCC/b+2iVSoTrkFTtmjPZVISHpBikEInKoA8hc/P43QlKmrIaSioz1zsZE+LiBnWohjVaI8E1pHTWQ69JXheXuqOeDbWTdjEh9KRwoOvxb39J7ztoC6JNpDH3uL26WXm5a/xUBol3D9X8/iDzHO/rDqWwv/J8wK7ChmWQDnrSX85GClRnFqt4YuN+xB4ws3y4ZH3G/xeptZPbl4p1c+I6rA2GpjmfQhRXcVQfh0jzGm6JgnsVcstmzxOkcCZqsjIG1vtLyIV6bT/u7TOLes00N4khzhKT8VSlShCGREsyxtpxW7e+aecliqhJRT0NqieTo1GohvjQ89QD80lamObAwp81ZR7H6o4L44WMl9o4EqVe2wxKOmXZv6L2A1G2shAJojFgQqcQ6WDq/I5Npk2YDktLHTK3QVWVTQQ1gq7KdPkYKwnRa2OYIaVFG+DHgYE7PJgZ1Tm65eKhvk+n1BrRJsZlRAOoD2LJV14oBNcrhtWqjZewz+TDqWTsvwL5vXfVeg0AUhqv2XZ7xZxup2twvW4K3y19LHw+HESR51S29Q5x1wHpb2sjolOgrscpHM+/qAe/CPss8P1pot+GiIsI6PPV17Sc3KwJbW8yDeDQ4XE+BHr7r8ecnhv6J6x01XjdM6SbPg7rTFkwSF0p6kjNC0t8uHajWpRiuPq6zY1T91nj3sbZpsn2OgnsKqD+exAKb4qYTKK8L7r/Dqc1XYDWlvRhMX3QCNMP+8B+FmSCbu3e8QeIAVw//Tgi+QUBQQ+YDEdJQ3hQuYuEUEnXIoBCXAeL8MkIn2H1/piwIe2qewLNfWorY+equaS2LSgAlgo6Fos4we93oR7Eia51ReyxygtyQxt0qmzwT8Xqca5AQ9LAMC3UfvOcCe3wlur0DgHmJ7CmOvRGItRYegJdvjo03ugunSA3eWLMUAwN4u6EAX9yUFZ8sIc7LrCRS1X/EY5ka/513etmfgyCVcge3acJ+jAj3YErNoqfWVRhdabkf51bjeMaZMc30mp0f/AAxoHQfklewHNwt7LfJkzZsWYbd3XPyAaUsMNcDONcEnjuRlZdjXuQm147g1YyDUjER+4bnDbBqNot/F+6RFs37t4Xn8+APImxeb0wX9iu50ErUIRTeC680TRNhJvEWQK6G4F4Zp3YuqUP0+DKnm+zOUzAD6d//B+gS48LGFJmBKdH+4243T5JH8ioXMAy0Xv7tSco37NFzTKGzy/aOi0diPoj7DXSoXBAOA+hqVrwBg4zIj/84hq4a+4An3WagSsW1vS6lPZA/UKj21oEn+0n5wDikIxBAaMygiPCf/pD/jAX5HF8SztTTnyU03qhQoM/uQ15Gu1blLIokLHDLsK3d5h4HyaNjaDIjLM2vAgHPpIo2LHEzfow22L0Ugt+8V0pf5hVq4xZE2Edy7D2EuGjL84pYlUjDXj8faV/OUgGgHw4K7kkQo2EHYjzt0h26jYqu8jx6VW9bd09uKF0Xn0qhzL5RK+Z/HZWa1QbINKZz6A1ENF1CjMtOFNKhTMpZ0X+RQBE45/qUEbzjjtI7Ou/ejp5O6RMyo7a5J0JdjfCyTJqRA7oZ8PAbff/6fkjtVfUhiiix68AEQ+X9i2FH828cIa4cm8hDSrCuCBTEIBnzVp9gEDzHKjVI8sKOLjgpZ4bSUoUV2XBHuBh1MwHStpRSh/Nv4lkrioCnqPDn2qWo2NhuHJjgmsU7glve/824+gQ1hHjBX6JxaRCnv7yNodCHml4AGgh97In8qM423lKV6dkKCa7DwvR/QLQdxv8rGdvMNqRd2pAwO2qS41MqPbAZLdJs+RIHG5taOZtC2mwkEmnS2e+l1Q9C4aKmTiBm/pDQB8Snwu6iYviLU8frYVzjfk3EzdCG8kaatxmXGGsoaLENebhzXBBFbuAh1RJiKxOdNfZJhtJvP3fpX9CL60MspCpXhikvN9j4eWn8Ojr9PzuqJRrYP71IYjPzyCKFGl7igaVKBphIIargEDT3DhGeelx4+JkOib1O9FjmmwmPuLzsxT0DOhOk0DOHoqiDjbAUez3Dq+HWIJ34s4bwc9git0x2ohssyY0R2k87To8lS6wykRRRNp7p6bxTY6UXhGQp0MHqLojl+O/In166SiMTif3UZnTOkevM+yxWypl7sHJKMSB+s1QZl4yJg2UiOCitOvCWKhYFJoYgXdWP1xP9y/b9n8Bmziv2eG3ZVLB67lgTuWLjbDAjKYwvlzsbqI6b57SqZIJ8fNj1NtGj2TQN+qKDVVMmvk8hGVCgtVPyEnM/0kKSrL24N+yjmU/K/QGOOrdDupW1DHmhhkZlzy8VDESkN8WBl16lV1Jk62Z08mlRem2nAjxm0Z6QZPV5DcocV8YXs/3A/zSdYpF4P6mCae89ErZdI1VorQFeNDWQscgzYsePz77JHyU2nB9p3tadDWOtAer5VBjnId8X/Kz/5xnrd699wgNGu5daxdWMqRUtDlfPJUMFvuyEYEMHksF3zFb1LPEqe7aN/lngCHNxWh3Gm0MJzpi2IX90WQ8C5mhC0R8ie6ITLEz02pa9Eg0UESL2UIby8AJIUw15sdZ1j+o3nXLKbXGjWJco/llW4Z5DqCK7eBlmQ8lnhshcmO8l6m+rSXLvidf3Pyjn0mTn1gwGtHIwZB4A1memD7uI8AQskOPzFaCUGyAvNYePu5G+PnlIjsq1O4vm6VLAntWAww63u3DoW/4LITdHxTZ17r77l+bswrPY/AmHRSLfbSy5xCWv8e8HQg+tPswHxD9gB65lJBeNpEIQJBoYV9I1vxV5C5TO1LwmbfuHZe+wlII5QAnOo5iXfo3N7GNL4BsKv9rlM7esdvzgzdr3FEvhwkNdw4REopr+avGgVLaV6T+VPaX2HhNSngVwd0JpkmkvDp0Ylpx61m4oQPuX4FbQiV01q+FZIi6+lfYPjkk+AxXwoez7QeYlXwi6YoPR1W1bYaKYgtAjOgo797JYaxLzQW6MjKA8VfXUl0WckHJGLzf9GU/biC04Q7aM92bkzgjBqmD5R1UKT27S7bUKDNxZzI4K9kEXBdJR9/5YjjN+/W5ZCg3OroY6UlVdXe//1UzFE/XwVD/poFRcoqfwBE2Ryu2npK7n5L9XoWv+BLt2t9hzlJF4HTO4knIGvR7rBfwFQDEcDCtZ/cDkc38XHE70oflscrL+pMsY1pfeKop8Xtxb8Kks8mQ1bUYoqco1rAlVAciM7BkIm6UI9yTk/9PMS6NVRXH1/suojAk7mCZxgUz8wTdb7qxVJHoM5l4gUleYnqP2ILm3Q/x3UgQE0LfNg+TZ41P5CeNeAKshyk0Xt0uLFwlaRcGvxaMhOVOds7bf1548JHCwOHeXtahbG3LACH6QpHWE7XMu0G3dRpZnTJS8tbvXQxw7M+erjwvhqNACKdx0gTQzr0s4m5QSV2aQp8fOJaryjoXPd8IFW2AbeKBYFLRWxwv9a7ua9AZGcM72k5OI5165tnA1LiI1/eK/J9X5i0oTz/gezrkhlOpSNqcyebrHb6wiSITURNnNyA699bhXoF3mj2XuKnu0OGZgEf8vYyFHPWtn6Si2VGyWOAENKdpWH00sHMotojqOksokNZ5Cteuz2Pp5x6SuIK1B4FTwYp2JG4/m6y+HG3eDI/nIoHJp/3X70C36byzyY87Ga9s7Q6MKws7gGEikRRrHxDrlWYOxdvTEw/yw/HvVmz93sPcnPBAMTX6EX+4f4zkOXz6KO7i/l1Sqq9Yyw8+Choat6ytxYaFu8KPohwZ4Z2dwzeqO8CyoUiRuYVOyjJuVi/qgsiOfI986F1VJ0zyvAqCRyQyW00J43TcI+AJ9uiJ6JiFhiVgSFbEDVhjUBfM49l9zGcaaVkRVDWwlQfjc8lCCfUqvkHfdWiCbGctOrtCs9MyJfsK/vznK+FbFj1MaEGroD7BGx623TsKaQnRc1QRTedp7CN0BEQZQrvY3WZ75TxAT2ImdI8pa5UroRn4xkxN/v3dMLxvFZp+N+HFM4FZ64J/0mY4paU8j1ws1CNqykTzlwnqrdT6ybfVXoNz7LFdZhonxOK/jYpSQPQPvCwR+eOnSqOxSp/6p32bxz5nP5POdzSrcxXef5oGIS70kJMV0sfQ738gbLevgp43cjPJzWxnRmMbkAAtAEWyz9I2ZdU1odiCy3sCkkRtA06aj0qdztmZxdiLLFnOPGPNRBnm+pQIByo+ZlF1HmNgRJEIQOOkrOXbElV8ewbg8U7aZy36tE2iOiKNHM1lD04T4evwBayMaIAbhqb6ATpUCxF4PqIbb3A/D0/HL+fEl54XxS3Z9MTHsdAID/8FeSIUu480OIKd8+EMvPnlgAlkawRQmjt/3NDN53R8BG5Y8YsFz2DsgaT2wLQwv5tT9A8MI/5W270MPCC8d+sQ5cnvKu3DlsNvyegSUEErfKUkfrqJzurTBynOU5irDZfg+m4Y6sixtUleUgzTiuxOI1zbmfmn5gsga1vyCDLsF7gMoZ0xrsY/s4BNEKYFry6R6WrCAIVa+0Nk2i2HbW+gfQJArT8/JhNpub8KTt74kNDpQXAPJH8pzSpuwlHh7VCt1zOYOO75tYn7K5+OJTkreyQnPBYgLsRYuV8mOkGx/wbK2nwUtV/d4b5c6pmAszBKFGheGBp37CXMVfuH+n8XCcn+2puZM/FBDKBQzxxA067Xf83ViWpKx6VLqGFACUMn8qlE1dYividfifxGjU8rKLQucAB0YsU+pwFNMhncW7XlaYq7XEjXufaP6FqozEcj48hs78lMj/P1RuzA5yQc4S0dZlURtoPf5ne1znDhlS4N+x6IbW2XgBWuVjkPODJXkVYfrxEbYv7FMntMAgNHzRN4i99jaAOoxKFIiyv/8qBeSfNkmePkKXjcmCmooR+NUk77Rg4tyqSoTed584yM7iUOd+f/E/HX/R81tgjimCwuw4wxlvlB8sNiELjrWrWOHLJQ3aZ/dT+gw1tXtKW7jtqVT7tKLDtEYJ8lLKdH7+GAYvLO+hpn+lPyvnhSjW5WpoQ5JrIz6rOHe/d7/M9AqsHQtNSGoKxblxBzup0kAeRtB+78i0OK0X6qM2YKmeRVcVO10tB6+KESSun9qe8kpVpgEsxt3SrB2UyJHMPolKzPAhdTmkEG/1heHPTe34pANMg/yvGP2ESxUGo5RFb/HJ3UHXwUmYNL3hp690ZB71vE7ahp9k+dzZIIdKd//tYPOhuwhiNbSvrXUTH7HVcdayF9qohvwuCsFDVHSkbVDfpiH6lCvgT5xA5D8YWRiSae0i0F2vYJADm5KU+2oJK7Gj6+HJlG2You23/pg59v/Vbje0Yn1mgIIDgDh36fibfO/bA9Hn129f9DsrLRj7qqI3caZaCQ4OqWL9k23RxvE+peGD58BNUKZSvC8dLXx6Hlyz7gDm9d/4Mn6Q9Fy3qqxffufyG05q6EZ/4MJVubeHWCKMRDwnOvIb2ZyaGxZB6aj44bFpnw32V6jS9/ZmMBwArt5pRSBKhwr6OJH7C6vD7A4JdlXLWT7h3ML9XF3EwFNCIcitoA9fpXrru5XBLuYOqZ5c5yhh1tQCxoZDGqkVgqacoDdqsNR91NBwJ8F/IdhrFB4Y+OINC53Gx5R6jJ7G+ssf4+dd1SvRpOCxLAi+r3Rw9tgmQZ4/A07UsUG9m4gGddoW7lkmNJu0ttK1mLVk8ne4l+ZqGffgJCAwG3O9LgDF5WvTBQV2klYMQ+TLe5lyHhYlso32xberCL0ZPc6zG5zcQMwc+Y/6g/hSxKApmo8T3OXP5bZM8g2Osw0+3rTFboYYnQaMHuDDM+qYDV013LZ3BBA++Ts2gSn+UuNtImti7ahN45jwqk0w2lekjQvnl8Sbzq6JBCjCTSTVcgqaNWRsOLa54rFurm2htnm1jx4MRl7mJSLEtFFv8TefO67ZBIedmXWSwKyFQwXIvY+p7OullgtUug9R6FC0mDknghVyidmzUgfFuCOTg/Xw7AD29dEGgUTn2XN/IBW/g6g12z3FFnitlbrB56XPG2krXGEEcXAQWzPlEczKAmEGBLN0YfS0Jgn3VBVZNJa3mnoD3fKXFF6D6uG7I0/0PMCEXQ0O0YwEWw/UO3mWmsOgSqlJO9oQWUxMiqFPcanJTeWyn/WPGt8I2kWKRHvcVdEXUmuzEO8DAOWiiRPYYhNHW4VylCHAP08zkJB1xsAv9tHHZhppU0tJu8I+7NbyiH6TsnK6SVQpUTC1AZsUQAp2TNBHp0P8Rb24Shk4WWdh/1TC1eCyESeggO3HTEQ0rXyc/dbnaW9gNFBBKlLVYcOmMbYB8eCXt5AWXw8n0pKytPPToOsJiHy24394PKV3weKDLak9sgNpdOxtTdSWT9xEaVyXpPWCYr6GfL91ALABsQVogV6HEpKiwEwS1LDTzcwYdxJnFXFBeV0pDf/zU6p9Y05IzL0CKapVizaXBmbgyXRdNLU7y4XbNRNKM1AGXrU7V+8UutBdgubD/BsKgjoV5fTPFSMSwZNg10gCvMSIL7/Ft4QhgQY9j/D3nUKsrDKCiL43YTekhh6p+7o7+jIfOigJOJWYqTWvXZDgghOyLRNVWl53FINXvTbpsL4cspEbqjTYeB92x56XmAk9Sj40cdGwHMuuhBDQctIOj5b8GuFAcmpWoMObPRJoIhMc4SeD1LpTSw+LCEONvI5UVy0Phh0nWscgDYmN1XsvhTm5U5bpQ2BMEVEokRhXTCw4FaI97LYJlGG5eE5oucFqXwqiHDaLoZziDoVLoKUW9Qe444BU6VLGmMhQxwyrC6QEudZYvpR5TgpU3P/ZI9ZCrPKwkFr1NuWlcnJXzvlSMRyJjX9d1WtorT9Dhm7kVF+mK47S3Qt8wmdkHaTl1nzBtYSqhGcY0DeB+NbzB/WBNwUNNftcz6SujZcYBPSiARLFEFiO1UWIqgv80LSZoXQuPmfbdvMVNQflaICxFlcBKUG6MnHtggOEHDyPYsaZ+nKgTV1ZWrEev4p/EF9GVk0/hb8/sIditoTPrY3uVMLcDdSLXG9dVzAab0L29JmpVLEVaXGjaaTW2zfipUviYRq9LobqAhv9HoGALGC7yCZu8dUqKmCNxH46NWRaC9aBLpi/Bl7OWQiEiELxsUGhzszMnUiS5+uVUJcL/2jJCiCukcUpxkZZcUPa5LZvtGSDbyXd94m3ASF8jqBMZFuZ/GZxM+yzUn5umQeXKw4xLlmitOfR8DWeT/CYiYAVvQJ8ffQhv+mZcedrGBGp+wr6N6Y/+5EQqqgg7EeWLwhCwYlIA+7KxX0k3XKzDjzIEHmyC4ZYO0L6JBVECx9jI22rrq1JGnH0KPokoOZkQy+Yw++CGquye7DYfVDj1nPDTcQGj2zhs7RpZmKav1t4DlGlr9eqyq1JYH2GO6dsDpLFXTHbRoC6x+NKn9V0hK/dUKALqyyVwLoIlzXwb+Pt5rQEJP7l/8fC9UWKkpTnOxfjueZHEwJCyIO45mHjt8ltivUnZq8cBKd3q7Heg/KLQrBLSZhr3iSXMVxNDFRVgxgC4mxMTqaEME48yB96lDeyEhZTxQijnbR/cN3/KxPilcGPgT5BrrhB+fRtRKGp10FaYtWkCt6FwAVpcsUHBgdm2XDg6lC4RjlP24/NT3rowjcuNF6ylMUih7hIy4WjFC0udJEbFxZS3I9iohqAKvPZ/LD7jUUfYTRuyW17FwOvcQ53SXyN3G3MbQzn0Pw/noBZy+ZjybGJgC9ntHdDp+QtdFc0vpIk8mii1B/MK4ZJ7VNzRSBdWmpP2U6dKpFbKJyldI21wKZaHVDNwuiMmlMlF+tMKHXaduA+fHdPjCeeTbBtmwj49TGvBu098V55vFVMJtsAvt/d4rcm1MEmm42mddb8mFGVMfjReox4HghBBqqjHvWFtg+BfVnn4SG6vKdw1cDPADaAmT2PIDvebktjR1Add8L0UBAbWxRhVLtTdAUh644yZ50f+8RcqKY7fnQo3PXcn63g55K0/V0TIWIZNG6nWLdRSk6jftuKH6mC4CWVBPYJJ+qRUclAysZa0qcriOyhQCTL8ELSQcSTXJpvwQ09gybBW30ROGG647jhkKGohn8thn3hJQqwk7kJIHwaEA826m0WDoZjMIu6VOT9TAjtdbtSVe8VvjHwIiqckdUpzW3MlckJULSY3hbor30Z30IkEJmFeFtb4drBZjsswX3LZvmaX4O+wP1wSPL56p4f6xD0sVKQqgR4fRDShZPtqhTEuTzWIy57XZirUyokGeusXa+v/EX6NIYMoU6SoAHAam7gCx+2asqhrFN8W+91ie0jhE0YHFKOCtpq+aiKXGc/FER6AHJgVbf6kpJJLnHPxcGcKoZLs9MtA1q0QLnBk69c+5w0XUdv+WbiglaXEl/Y/HcCJxXiZGpbCcnolA6rbfGUci2vpmMaMCuuCf5u6XNKNpEj3vKdIPeiay5QyYw0+JFmkZ5Rret0apcMvE8zPTagWYefDNxgWSJKCeJCKZbkP1tNl7l7TDKaLEtFTwqGFsX0RC+1UgBO2T9y5idT8RNWqoRN+mhadHDZYOeO3fe7sE+SCmaUQTeuxAyf6JnbLtLVWTVZKLsj4ofEEICRufNYkvzi+/xkCg9R7sVpbDdmIxktaeuFRBj19LcMnbpcTgvspsrgAi8rAlTNbvXL/k2T4mt0baqZTw5LVapGzQJfnSQomY1Z1Tba6gw6n2pSdnaoMMRlLtgoVryEhozNAYwvk1nrtFVxc6DfWuwL00EYgsadcfVdp6urjiMsTBVi3gzMp6Ny4aFnkJOC60mdfzxclAc5dlDCcKx59z9kJ98/RtobkrGyYWnLA4CfYAeHJ9EzLn4vvqIH6xdqeYkcT6tyndBivlTvlQVk8M6rfKFurITFSfCpZ9o4j/2vZDBCqGDOoRzbLRIKhUP6RxFVq5ov2ZucRPYOfKyhuVpFu67RujPjduKeY4QhWV6kbdGs94PYGdkhYh74J2MA5/aV+gdaFVL04PKiV3YXjyF102J0+OCEAZeBcoaJetoh+HenXrzQdM6y46LNu9Yf1SV1BR46cUbcLTku74RxnvLj3lJ03LfgjexiGmTrwGE+giR1g+9000LS0dOmY0+HKQjZIWTJhfbKjMDhJyaR4yKOwbKuRhTz0n0AzpiNdHa2cy1zmdHrRusqGUYJsBWejAHMSVbgP9glUnZwfYV6i8Sk5eMqNcf3oAb8cb/6jUHapMsudEu5BEwVGnGQV27EZx+lNvJhFE0wWLWsZGTZkScJF77qxadSHkZIKu4ZiyP7j/U2boEKJar6T/rQATZcbPsJURyMiXSJowO/JIKWGt2EOiYFQ1S8ps+DpNNCUV1uqzF06jheyszaYUcp3UvWWNB85h3oz9seI1UtXRdEstORBoD21R9duLSEllaclaRPCEstNBEzAh4ciqM1Hk1MYtGTXVhi8bJmRNC/8byX8JYug0PZI3fco5vmnS73Ds20cS5Mz/uSi1I7fH/wCeXjgVo/xEZKIH8PSrkWKYmBzoM/BMJa6j3+8KnOYRsuhIT+wwuBGqXuqJRTjOvoqGkA4o4xjM550kBWaewRmoOfAdqRIBMdSnWRSSmT2RvkCRC4rKM6nHcBlLDP8c+uWmJpyoDf5o4YyAsHqc/C15/UeFBgb2+7xJ5TeqyMOAN9+97oXRhz9wUpfaa/Rd+jF2z+iiWg5v5GrcEL2qfk4R3uSmsM9Q/PcFnjs1Y2YpfFCAKNUGiAJXgclXQwxC+3TZsTMboaAlx2g+bMGDW5M1jaA1IVEJtsceEzC7QK31izbIHnVWBEGAWEWq43Bu38HaMUxHN7Tg5vsJNoSSDF4CvOpVgzxBPSZqlT88gzt4yqC/YDwPvG9swfhTd7mvOtRxRvamJdfCHGiAwAF5MPp/p74HezL56O9mlYPawzSMX/rCx/4Gl5v/2aT+jiC37aARjeTqbM1kCYMtljviuE/3KWJwThQEwj4rsWuWbXeqeCiH05gVolJDvPjJ2GFJS09pgDW6Lqa3IlE7qHcslDg1xRzbj73QFsiYWT5eKn8Z83JHd0iOt8rWv5/EPpLstQGUPZBv7lig6kyhGapnhfgacN1JLKe76eSNOrXT24dLnHaxuUUrfEGCtncOFqMyZNPDtjR1jBEBiiRDv0XuGGnd5+YXtnaPNaxT8kO0OEvhPyN+NS6yG5LeDi6vq68D87ukHFqhLvHM1d/GakKhnNihVwYhoTsvZji/mL3M0kWHdPaLU5j7Z0G1VFWqD1lWoO4p9o/SnEGvmrcQu9qa2a+1oHowBWc6XFfDJRNHyTM6ZXAVUVhSUlrosxuK1RD1+Ac0mBYqZaF9NeiYAMLqJTehMtSyuYY+aipEDezJLRj66qnHOyrxvb4sf6J5GHB5TW4s1lJghC/SqETyfwDOU1X61f5o2PlW/F+QxNTLEkH5s9gtpRTqZ7PeWinow3QJ5nvfP12WnNi02BmBvQtb7RzFiWpq7S2pdbSFDJIFAxdsNDwisFTpCdMbSv0BGIHzGlMJiotJ2Tx0wYJaASH8wHKKh02FcXYbta0skQvY00pcJPRtTO6eqZfMGCg5XDV8PI6q00kVqiDB/tcxoMVrTXZl6Z2xfD19AffnX/sw8tGC1rtA88qiaCcb4ok9MZsockv4me1J6NZ2h3dk0afAjMLMPlyBadfqXBBqQ9yofR+IT30a+3ya65KosRdy7mTXZ5/tN6YV5diRwKNGInGmGyUE7zJk3ojWZu4vQRbTL+lOFWL28W81lhH1wTYTYF2A8EWXimmamXtmgTg+thz/2bqwduq3ap4Q4pNQ7vhNJ4YuAlMX2oPodeyc8QiJQOXMdzgtchGkeXIFLj8y991uPJ6WKUFY/NKwXOYbKisLn/HRhMr7dGerbioIy2/C3iDkV9ZIvirMLFkgqjNQoBIcCodzRuzjjXG4h3lDlbZu4kMtHEFuHBw+R6OLxWsQK8pQWZfQIVlqh+n243ySQhX8m5VLnP8C/0tTUQVrcjzucbjIcB8EU6mRs8k4AxmgokXK/LQwRQOGoB2GCtTuA9kKszaAfL7ML5p8fK1/o8djqkOnArgdK7gNoeuUTa4WvHodRjgRTlGAH0kUBQhRcmuzks1sQCkEawiktylXkM9paYph0iiLnCJ/oY5UYw1V67PYhWE7Ty0ZJxEbYkmifIf6EvxXGtEKBb2DbueJvVU2BSLnfHYtZcfPmMrPD4CuBKLbsrSDcaY6dBd5POGOotanNKU7FHqleTXnxDz/GOfNLN7xloxAOwgV0W4/sqrjb4EABc6sJsyF/PS7k8SURcQs67ciarLUADXD6eTtdXM56N5Dy/AaMrFNKivvwrz5Srkpo7/iJwAtyrbZ0a8PRX4zBUTneRB5ajUotKAF7qremjtOUBm4E77cb45M880V+d6zqenAOzBn75/SMIg1x1BwjKbbbkPo6KyA7Hzeegc9hDo54WtjWrY4ZGEBTtqMhBhDXk5Y1a9OegnfEETaYc/2WKsq8gYf/vAXHuYxX6jmCeOz41zh7KqHE2dhYNqMXT3QziWtaSQfoFXvxt7jOwreILKx/NXFtkcbrSPU3fAHBEmnzWDL+ksRQXubNzjOGz49ulNCzIfk7rkMsV+lvIw3m638henLJBwqp1fWzFQ/X0mUp1QTzAq54AlZGOfRNYRkn4zs40Cz5YFEdVfDhQXGFmWjofqFSadEOf/apblrZ5NaquT/uCBxWlrvkbAnmji30sgWVDjjKhQnpy2Ify06VzfolpPAHs4bH3EOIpwB9Ew4/hTcXCefx8sydsrF5PEfeSxOlXrLKB8fx7wRuSBkSNCsfJ0ZfHlSMEY4tDUzhXmRet8Ratsy0goVKQuP1c6noIxYqtKZXmR8oz0Syna5279024NJ1LxLTdM6xZdkPBTpbOlfBS5c6mDEmdvRlA0iDx88uUkaT6XMbSTnk0EZN5f/W2Fp6K7ewKueHe0TAW7MCsM8bT25HbGqir33j752yrMCiz4bLvpICiIbz5j3MinamHNwTimUvdqq+MZ3Nt/4Hvqpz+stwwxYZx91O2zdFS3Q7NBwmf1+5g28rVYmaEMy1KNMYIip4OdZ3zfa2lyjAWzJcXizu9UO85A0ZztfUYToHEq+hf4VC+k+JIgeZlhVX06PuW72tYT76p1Kx4CJxGdXMd3o4VUULeYaJBKcJ9JvclUnm+eXFR+TlJFRYr/2qB9XaZfMtNfi1b1tJu1MjVlOgU9X1ZXWzhBiBgmsiKS0bGuI6m0E0G/ylp58ghFtHD+tijd/NsO0AlFpykX7MQmapIZ6TbiculPlk9pmbf4Bqo4JLHaDqSsskTzsrKSznB9b50VtEq10rIVmJURLz1KiNIoM5NFXwouXXj7YCBKE2zfpvY2RbvUqawNlBGHT9xkZRlymiwLX2ggtnqBvw7Goe7FAeTC78VKd/J5gz4ttB2UDdPJruPk1THPjeHa8nS7GQ8C3GXjAda0nzAzR6Se+Uf5JQ6K4448mblntqMs5Pg0bIYvQtcde7uVKJLshS5r7h/7Cxljh0btmQKL7JOgcrsqIWit8oDbM8X38qNp4fbTNYN3jc6gYZJ+1buGh9DST2I3rFZmx7+1NdBzZwefaokU3bzt24wzvILlaYvW8KsfTBHA1vyqEmisqiCdBQBCBYUxccvNVtLAKixGAtodJZuEh3qY3okVtUecyl04i4duxen1Ttt2DhzNHy6fZiQy1rWmIwXPfb1cAlIVr/5R0bM+Em2ijaGZJmC4UapDUDNKNUYU6YTSBjUc+864t0l3lbf4pbxOLJbCMOv8DMyqvepW9OwfFNyiNZuY0Jtk/uZNgKvHHx0xJRnA8h0BpLjAJDEEI/9IR9g1haIYg1O7a/cMPMkBLJxc583c9f/vTJmV3lnP4knyJu8juZXave4MH6U9g3V4B0gyF3PgzKagIHOxq59ixqE3tSju1Wz8unUSShlcuih16GEjZcf9Zwp5PRyAkGlqnA6i4E0yZGkmTjUJlJDWOCCQsW+01dUxnGyL09jVPUTp32jYKHQBhyrEMI8VfYCU4ryqgZvk6HamBDHnIUKkXCk/wy7nD9e8yvYepPA+bTVErurXovCssl1QrPxpbNf26XAi6FWPs7epN6WBtleIdnX2zzPwBZplPQ0V93vHpm8oAdMChDyi5Zx2jWjvexd8rdl+RAuZ8IPFEqTL262L1lIMaRp7W6ikCc9OtHeB/iEcSf98Dc4zPvO7B4olBYprlAk153QyZYvQZpJRW4ybtA/hkX+dtt2hBSH6FOLaJ9vg750DTzitiED160QuYnbXgasrQSPEzqXe3rh8ZTuImUketduGXXbMcPBOiLAHbN8zL6azt1c+6trvCm2Nka7C9cDYZr7R5cjFDTrC+L9AVhqulq5PKYl4q1vCjxWPB1BvszQP3kcbQm7RzIYBPW6jMNlB+lXnxJ50grrxDmwgrUj95tiRa5DjjUXZ7Cs9WZu18XjE6gVub7WQg6Sf5K/eNAyQxaANjd6OOAqzD8fVh+1MKE3fhXgZE+KWvO9khfs7yS8PZp87M1UYi9Sh61NcureQ5XjA4Mne9wY7PdPbXklyGypHLXeepjdfoWRGHo93/+6oyo6gFxRNPw+O5VfE//OAMkkBYWmaUYpa22rxMVe0cg8GoTM3vaONVHBRh6VVebYaqWj7XipEYCkMDHrH2j2sHyMtqVsCvrnNSpb7o+7yxSOTZfVbnnoFi4+xRPGcIAJ0Ex18OXkNIjR9Hr4pt9UIljZYGqrFUelxBE1HwmBCjhehc7jZAsZhEdcGgTELTLpVx9vJLYJ2l62+ftXLPqL86WX0PYbd29OU9da/V+nVwqRCtCkc/kTPm+xcI9MH5M3d9QoeAWsxf/sWg7DyZEyzRulD7WUghHLuIIxX4t/ouZGCSH9eJ9z8Rbzf3Ts7BzAB/rbnXQn4mINjQZHoVwiAM5kXKpXNTN7y+q/Pnm6aUyIr6YXLudDOxT1XUt47q58mQWsNEf8C8CgTEbxbsd4neqMdIkDx+e76ULDsJacWSO6R3xP8eJURLI9TqMYfX7DGP4ajx2IrFQuxugkTdJ0NxoEvbF3e5gUMd+655ticlic6aETDSbhrvjg9RKQgmZ6+NwOotFKVkcA9uWZdNiZHuXLNIC6ID2tJLedqCrsMfYakBCdSe/3yAx2qd93Y8dbNDTtJTzOOBXAIbQhJSEcordbBXt240qaTC7DN/r7RnsCuQQp46a4WygVK27CK0nTn5dfj4UNZyI7ob3VqagL7upxQcW7Ktl0HbhW4NQcFZvxjiI5kULBRawGz+PZyt2S+he9zSqR0gHILdorKjrA7jZYEMgbpNpyV9Op8h2S0rap6Pr70UsKqvmqdGgGvRETpyT64p06rKPsKsxp5aDlvqz66rveZLp6rXQ4Ae0nbiCkK/92buESXerdXA3E4M+LmcZ1diYh9Qbd5Tb+faElfGQCufu4vE0NEUsFIJAocVVmhGl8rBEBzXvjgM+Kp312heHADrmNatIJQlYU4W/VB4q3r/+0Lc8CeXH0HN46moW/kdB3hPfwru1PBlvcKP0LDAxWAanIxANIbm59jRvyLRnVTg+tLoQit7NVfB9mKnlDyxnlrZ3w27BhCTfXwL7hL95GQoCVPy91ARNWOdVILT38m//lob+YoZxIsxmo1F709W1fM1g7/CXgPkg97pJEMvCo8ZTzbo78XoD41i1a59YfZJwzvGVnXidz5OGDLyjHCeDN4rluddlrOGrZPbzgJz+3MPlhoW5vqBZUhTLAyNimLHT3Hp2wSbaBbrsipJQ+ubqF4p/iZV3efpZsxy+G1f/vT6POvbGxsqdERTHJrv0Xs6HyErOQUYldb6EIxfJ1LrxgqZV9I1SDwwURLUg19RMbu4OqW4YvPCY3AvRwZ/02Qct+/I2H50Lni0CiR1WGfmM5zggcqjxs29Soj/q6QG/MqoFgnWHUTloO1+xv33La3I3fqn0IbpKLMHEAPC/Y5/tsv/YphG4cuQ3SMbf8LJ8IYMnrvue0U/gbMyT0wkWLI8zpN9QSzRo8+i8g6rJAmS/gDG4f6rgHwW3X68H/qFtmk6mZ2cC386GgKNwNFAss1bXBt+mJe07UPqPrCirNFWpVfLXVfCVX/CX2rOw1IQDgZplov9Bg44Yd39A9zaKs0TEYhalbed5PcNgYQWx1Dzn2biKTKNirMwCVYuRaq0bdgILgfIU2ymtWGVvGUze8Ktq8jL8eS3kKMNh/eME9ewMurGa3hU66KUEW6Nzd1UZBuscsxf8yX+bqYe26kDcnaWPtK0TqOZFQfLcG3xUA9Hzuh0Vx5t7CuCiA2ZcLPsA4y6FXQzcd/YhOtpqpuCcNlqYiiPZRIDI/q7MmQIA411+B9iWb/9Y55OpHGAK8sxDdvjAHK/2KloyDWcPECJ/tTYHTMhXZ4b/kyOxlD1yntM25/4N/1SA7FZBV9E2xAt92mr0b/VqE2STkdJj8DKkJhWUMOBzQs9IYOuNbyoJbGHMEuKJj9VdKvGJB9TZfgt9alaeR1lfGM1HFvAIle0qPKANXTLbGzJl2bi091+6l4U5d8jT394mP5Ybp33J2xVUavbepPae9AeyWxsGLaoOVbUK0L0aMqAtjHV+SdAMc4N+gIyW8BsAo4dAFySMMEa1D/dF8iPkkyYuy+AfyCwfDKg/T55xP7CoZWZLisNoN/zRU6U97JdOFChCFBDVzn+TLoPP9qanVUBgK88nnoVMxWcV3l25TsGOse7gYscLpEwpTvgYq6VVzQBxQPBkIaivC6Bcg1CdYA6ppkNrMuRKjiADLT+ensvNsJwMjohIqMeeUm8UI7tvO4/lMzKGM9lvWw/BvRfIqVyA/4v3Ym+EC9EOCJspC2Sne/q009h10tygDltjrioSc3m7nkSIvRyl88k9yvCwizyUrhi8cvPmYdxYwuWeUldE807SjGngT3MCxOh6+ZHZ5cugV+/p2DWZRXaeRfvr4wNWgqLrFXnGp3UStaPH3wSf8MMEvpxPxoEzm6fuA+5vPW5SdivwCZsElX7OuPe2wSud0eVNuFlVWNs6DCNJ3jRA3duLYBSxQdjNK1OMAVPYGuPUU5cwT9Ljc5UEkjN5vspSPiTQtcl7wylh7q91vJwKUbhjYbqwDIxbeEGLlskcelU1qT5exs0hYWvYIGpGEV+So706HScKWh9vpmcshd4Z3fwRGb8Am9s0gGJQWisQW2cYrzbRP+tPdV0TiAgg1JLDoXGnFXDDzpb7mIiinHvnaPQLHp/YC96Pme5je49jlGCq6GLDU5VfJi28QqIugyg2RjBwPXSLj60/NdFM5xM3csq8Hpl8RK1rGMhkEq2LeFYytwvh6uzuEwnXfxlL9DsKZF5QGehOmPJz6klFSBVRMIZzMsMCY4R1PuapbV3mbJC9QPbRHhirDEiUV8+jJsniFJKzQo7by8yWXHuk8y8ga37mJmu8Cj1kJMfGGd4izfvm3mMJ1lZVbhinAZ5jtz43LpLdD5IwNmKywpfEH7sw61PA8yfBhIcWkNO62cxyIGYrlo/BO2Z9eCjLr7tBVfNpSXnDA5PMWBmm5XtBgJCHLyi4xKG24olyV1+tLvwsM8IyM2G5AE9EqwL0nkPKw/sTalO37UH2KmIlp469ocQLukQE0ymNBPkAuW8JDovieUTrq9Olc5C799+GvDISn1gzeMCtvqsWOc2uMD6rzCqDbOQLOF9DwSupL0rxqN9Hhc5zWqhAuIzon6G/NIE4qpqLBPcXd/rNl6gdd15QKVWMqbfBwRgpWTaTRsuuVlUayYB8nq7KywtYDCcOV8lvfMlduzYxsqvjWRSC3LfGT9Jhbjz4eYqVDcpiTOd4MTmxmGBql8ubWKYMIh4+jYBWyDUIlqiJMnFjRGaU8/oKKQhAAgYnyM987fLQyU/VQOpXoRgnTs4r7zsx8/K1i80FDiyk7D/IsZ3xK81qPxcWErtMh7dddQ/thQqtmKICaDV3ngjazfeRiKtE1JIWFBLC93deYl4fKqriEu+VagXNuL3Zr5A0hArav+FrbzRcFWwnaA/9+6Pqo+lHrkQhRupE4H/Wyvlmo8ySwXa45Ftlcg0eDQ2pVcRouKcNHhAW4ijl8WtchsLNSWjU4f1tz2m+xMSZgiiuhbDEY0sgTZoF9KXEOCAk/d+GTGs5+ddXmxSDxm9LjBhA6kuziHHE982PzQFzwYJdqmbEUCQTRIwhEjJf9UKHPiKKd8JZjQ+hLxj0vbPv3jxZt51lF1vwyBT6O/QSnnHF7Vthi22mC70Z50IxgaZ9ntCq6mn9zcK/jEhYoH6txoe6X62A4iYEuz9YxRyF2g0/07Yzg7TvHJBPXediQfb6p+8B+RcVAzwIuK0BGE6/bBh4Rt3BLnBvD4BXiEl9HLgkqT5l3Bf85osxiyCEOjyooVrMf7RymmfGSobzx8Ju2ZkgUf6c+E603H8nwZIjdWY+QaDtwGQrLbnlPAt6eFXS23k4P6klpIt6o3AXuAa4XCxtUnhp09SPUZFnukdkMKxxBngUTcTzG6fbvhCNfcahJO3+QB1jhNhC67Oc6hydcuE7Bjmwn63g+zdjcuHPs8fuZJZ7Q8wT93DFpD5KX1Jb3uzwOgHGDScRDFc4C6lunAHvxkWgZkj+lP2XBth45LchIGsgdV21muW7a+3JmhpoqKM/0GlyDfHgCPdMcJyBM4Wmx9jjkpfqKDxCRhr6bmUXtoBVHrsGK64/iWA8AZTY/5C1Po10DI6N+OP6QUtPCOfmAn/zC+QdMfaTfIZVVkcPmb7qfFPnyIguyyL876Xmz90Ezol2VxiFDbIrPV9/1I/Wy/RlIM34T1oJGd/HF+V2GKLKaAhysR8QTlUqLZxOfK4EkgVVrkptphc/Aq26Ib6bw5bGKDz2VkiCGKcc4ojsNJj0w4nUm9D2nssJst96spcvLLRcNmGf93xAFct+/YqUaFxZfHiio6na6IBryMPxPDPBVlEVeyQB841QRVEDw1diEJUAxNIQbHkgphMmvjEX1yqBomqsQRAFCbsfZvyr0NI8yTb2KBMDrRd1/rkVGytmUDcauZEdT2RFWhWZeRrly9TGCV4UoSoTQdu/LpiKSiPm02pQNtWfP6mFaY2kYJHLY1PPyrbzlxpn7333/Pj5vmxy7K1m1jriraOzuHt3jmf0p6bmcNDRRT6MGbbI3IX1rX1yXsHK8zKV7WYBxjxcFGAp7zYEcYTbDxjpCgCG5xFyKd2efDFqMZV9jNMAP0OW8I+w/a87lDcakdWPdN/+RyCkHKyUj+hPet5lYOrcof/1JUXlYaktnYUAWrjQg4vjaLymM9Pjnq6riw0dLxQv3YzyZ3NJi3Zt9UXFMkcae5Us7qKAqlyc7hYIEMIgKAnwZN7WLwuC5D4tYkJ/PZQDgm3STeziBVvTzHYUiXxTmaO/8U78Bf9y8d6nLxrjn+jVNHXXll0h3ViwroS2Ed6kBIe4wQEr5rXNeG5Qw+jjbCyQGJdiZy/HFJXvvwqkHCoc3ROk7lr7OQ5LD5Q6MAfeGC03wa3wPPvBYuD2cTVeMcLDF6C9qg6aMVNtQhrfKRJcMTWEvp0y7yliewRwfoSq5ntMxbl6gyWlQC3Qn6/H8FWOrIvFlyzo37w3CiM9NT6JK2i8MFWnXe3/fsiXOQ5N1OH3cuHFGtvkpoSH95EaIPT0x6S2z/S0Y5c80d2+4aUufnLY7fIE8596+mc84d4UDS4QVuF4ALf0WLYGFB95mbvMu0GS2Ks66mBbDgUC1q7XC0PnrFD9XGV+GbZWsnDW4Caij2/iRXY7pAIzf5JHH2muxkDbpY8k8HPiYBPmVs4QBflOWvyH9oneMU628WRG8Uzt+U0kHLNXFRCRJA8ttTJuGcCyz67JO4VEuMF/BiXqXEEfmoVkk8V93D5MysmcFgEI6KJQS1GGTbdDXHLTvaN9fIzO3Rk27yTkdOGmdu/zqLl9NJ9E9C+lhuERUy/bCemiGHfibLFMJk0ZzjINgPNjSMtk5KlRu3TUz/ZA3h58OuiJwshonfZb6iRWtqi8WcmSljqvnKC9a/IQxTpMwrjJZmrO8yOMB2gVOEkIx1LeRoUTbN+R/iycU3mT7SUAXj9r/fv8DlqMcmaLSy1AuOI/1rFedUHW8lxJ44ZqdcmMxuwgbk9I7+0ru1DoB3DnczdncvHv3E8edrcex60Ar0k83/Z4oYUGid8+BHP65rVsiKkx91j+R7496Z7Fexg2V/++vSGuUMIVYxi+fwojTsY9VqoP9m8ze2LRkqgXZIfRFdv1eTffsvmb5VDRzvkeEWlVDiXZ5meXMmk/6FL1jpY//xlmjt7aWJlmQSb8YhWhmYtQDBZF5I/7IBHnAx4vaVQt5VyR06F8AdYfcCyAWmk1UFRuqEnDqhQM6fqNx49yhsf1VNkmZvx4NUnEPnQY5yYyl36wFLN9vaXN7cwqvkSZDutpkq4b4mDSTi6D7MtK3ILSSoMVlNn0TQkygEvIHJdFMhMlOwSJ0BnBAPD3TafIT2YEMzd26SYv5RUc9IPV4QhLpDUZt7/2eZkdfOP8WaVAGpvXXCzoAPg0DMF/VesbRADblMr6x52vja7QIV6pxDgtCQQhNXoW/PAjTBK1hgaxanVc3US/zZe6qOypuyeqrz+ei4JUYHb6li7O3Eiuxfp7vQYBftH+BD8SkJkLkD7XtOExjDzLN6SSePS8OI40kSrD84K7999ygnVzpN6+pyHZCUMBlGhbXfcJ3QTKoSATpWj9AJpcHMsk6pbzxs9WGwY5SeylsIIIdRXWLMLGm8clyaVP/1bPl5scY9wfbWEwbvz1AMIYymM8O0Hm/TjmJTtvFvsabxOZTi8DpCGF5TIi9WYusCB/rG60nHWg5suw7WJcTQNJXQrS8oV0HIQzhLMEKFDTEgy0kyCNXqG8mKE5GxaDQkHTU0zP91JVywjAreHbqZJmVXo9AQnC69mMR13EEwFiCSm8h0k0N+J+iuPnxnLHFoj8J4vkAXj/u0DfXVL6/nU3AK4j1HRrnuiwjsiPbctEk+Uu9XdjPhKSReUNDUZfTLYkoWCR/nizVJPldKZ/zYsN5EJjwH6BAjyuc3n8weeHyyHksTbivSRUyh8khGKyX/V3P5GKaPEsWqOQ9ZQzgAk6SvpZmQjRc1t8Clv7PUKKark113CenfBS1XOo8fiouGtU+0MzD3aAVxAlSDSq7XnOmKDyz0ktjAWsYyfEAYOd/u7QOfyA5oD7MMktLL3kWTGGbq2QReTKsPr7sulCFRq0zIvnvbj02RNUkhh+haYYkCoFCYzn1Th+JLCC6krhqqRmkKNRCPyEmtFMJVVSdKhMuIy9JKpRHImvDJpIWuE+aS4Puz2Osq2V96xtKPzYC3saPfdjlsyP7nFSD3Q6ZU+LqQHz5HMmOd8YE/XssPLsUZKvcXY2XQ6C2YtlCF277S87Bi6j0ZSCcBSbmUn0Ob23eYhFvaV1OT1DEwYzhslSrmZOjnysIc5zwTqhJzsWEKkS1ykioOOMp+QSb9t6z8ITMmCMR1+d0iWBn1t+NjeAZhACT0dda8e928arzhGSfQHP6xTj4wW+eQJA5QlIgSCuaOLk8jV+oZJ/zvCyt0ApK8pP3YHvJCJsa4l4uQYh/gseRAuLoO2MMtX+/xEhad5eymLAxCEjnX+eWceM9j7IIA0C6DHUKmjnzKRhTrN2IYSIEqTbxPXK4EXiWXmCiKsv7iCFo8HcFINj+q+DzlGQgFTNL8Bp347ymmyWwhYSG5262QbnO7eURPZcDwcCk/YNcZnNUt4FD0aPxH4+JxuFjEjwcZ3PrqPjo4O52u+Xc6EBVjdj0DHxHhXdHHdjf1HkrjPBW1NM/deH8uUTGYxkDGWdm3cq0naycTEt4dj4iE0wLFHDOX4Dtbpq2xXkAgsAIvbW7Ua+xU+6rtYH88jjev97NcOMFzirKp4KPCniwnjQq1OdRn2GEe3i6QBQslWlm9NInN9FAKNjy5XtQw1dMAoXOJo6xytmiI0a1Lc44kra9WN/h7Kui0RRuadV3QGoMdBR2goBYTwLOm0K3PjYXkcE/s6oxNqSQXyjBNCWFHbVn6Vb/LC5iHwtrS9C5tIQxutT9WBs9/R3T0eT/0JfrLm6CG9Eoa1idWGCMclr9NayP4NHci7XLsl/9n+3eKnWxMwUXANFu2c/3044oKwI8zJjekiXlxnCMHdv0K27O3HsjubuRBh3oCopUyFCc+73c0/B8f47m5tv5kshNvKmybF6/A88i+ODYZy0drgZX8vjXB6sdJXFnLxaYXL3xrq8JrH+H+lhgwhZVWFGBSGTJxAw7KW6VqVpX3HJa1bGwygCxK5XCl3/B1uJKRYVcadaFpgv0xPdeRadZv93c7Dej5pwAJ7cyIsLn6LD4IadLXCGDmqGoDKAGjgHG0nHaRwZgY6ulNYOiPzJNxvXLF2XnE7aAftdJaCts/X0mmDaOxfDkxGhUP+pSXNTmFqkEcw33TAWzpWqWuxu1xHyQ1S4Tc0U2R+pop9tc+OSMOvR6YZ0F8lgNt7lfHf5q/U6yrBcNd/Iquv/QiNM6DsXAG2b/WyGBn6Br8DhpuVGAqQd/9UobbWs4yy35jO1LJdnFSPjSXobTXqKgHs2Exirvh2ntWwHMdjVg6lIXm+OtlFc4V2bnbn2HMhiyBn3RhcZqmKHwXRHo46BO1/4rj8MTl+7qFsfsNWHxAZhNXlJb6+gTKjpa4CJYIRAGViAhvfk14RRuF3Y2a/NTYAVukAom08VLjHXUexYdj4KGbuEYHZiRjK3h0qBKwsao4YZUT0ciaAxohb9bwd3ywhL7rMrAHE/HRM2BGyt9TrC+fF1Vh1TsM7J6noJtsMeF2jsx7x4wTKvaBh3mXK3GpZrABgeDRC+0MCpWPw4EF5hkcBE0ZflV0MFAEekp5knHUWsg0O+f7y1I7ljjFI43N1w/Pq0Dj4B2ujPxqTRjHp0trmfGGY2LofliXW5HVofwWulI7x1XgfkCbF5l4T/nzIBkJ/IvbvjtuaYH5jSB3ueL/T0XbKlHGSXsJe1h7jxgCDeND9pshaMJn8LahFdpJv/Vst/tSMgIOVxoXYM4RJ5krH4KPU7h8GwhDNIdVQ/Rmnpml2drFTpYTzgDTDx/kP6Uc16tRUsxC5XGpwkdnxi+k3eedEVmHDeLlM5T61NBAuKuqxTykZQTXhdYX2/LWbRQ5piAnYFrhEd8kGMp28xKFEfXUoqz0THty65ddabVDiiwJyaoVkZEp1HZCweylnvnCzqM+eXE/HC9JId5JoVLkPF2HWu/hgyK/00c3NpC6M8xj34lAS365LeygXaRqrzAENmh/xXWUkx/lVl46NUTj2u57zQ8yU9AmRPz6CJIAQbgIbpxjCBe2qfUwojAYRvQpxh8aBNlj3kLekPcZFQ+yQK70xZALIApb1vQs0OFkOc8hr6ETIc2rX9C574ubnlQX0aQTJZAKgZpoP5RFb8QZnVyV/Yj+oL97bY6fHE75eVP5rJj50IctkYi+iwT1BeDyB2G+xtf4/wV2eJdn9HAOKi3ehHMDqBpoq4MS4/4+0ePNuvv/zpoH8ZIBw13TXCBH+6VjNqzbD0oWgS8K0jqO0Ytqstkn39lYP/POM1x+phoBU8AHu9y0SVq1E36M78jSDhc8LRV9JrnfPJ42MPa0yjvvlYRXq5fKkPZG6RuIFZuE9vs2NNCRmf+mX+8Suys7p7L8FuQqFcahtswjIqAGwIIHwag7tN4zK9F4NZ/vNu73GFsj64SalCyTUcVUFAqVVdxDr3zY1hfXObfhZwdW23Paop2QV5QiKGAOIhgCD8txE4fyxg4B5GTnooJf7YfoRi7gwxb6B0wmrGOiG9F0yGN05zJfz9g97H36Dum+PeovKdNRhllH+SUofoPK9a1JIY4EeixgQ0KB36LfqpW4EG9oIGBtW9OfCtM9ZbzEiXaceM1VA6RMHQORAXbqLFqgBKtDzvOJs8pTSKq0rZYLs8ukVnZBKjE5aJsTWkw3ES5LOjNbWqgLpvAsKbJgr2ym7wKRFna2ZBLCfPhUsRIixTwmD8zmyq9L4SSyA2IbksHa+3EYxACW4n9BCjJqD+TznfuN6W/QBcDqABb87WPNGKwUkLJkVU7OENSz5DCs4vaRIndGz+6tWt5eTkvFvEI04yQao5Vq0M8RKjLT3OdyNVEm7s9WOVtGT3r/lmfBcxAUc2dJefB6IEif771FneT0+aMz22LDbklVs+AfegCgfUrXNRtf/eCR5A0nfyBErOr6MeAXuI1MSxtRQ+vZuZ7ICqP0eoP70Foom/wZ8U3D+oafKXh5iYFAUCRQh0U82Vr19EsZWuBjzmRRBTSFixxQBie1Kco5d8YzjP1cWfPLKfR4ZZUKtcbO4ZyuvBLO9ZV4wGEcmKAaZyEQY2VfRVBHLc3zlKB3QjX3uhj3zTn3Tsd4ad1CKRWOIkkonor5Laz4VCsGoipFw5zhV0FPLqYpeTvu7tvhhIyoKXn72GQ5mu32c2cCKl0Dr5aOXPyyWKqNGRP1rNf4Blhjj2VKYjgT/Abf/vO6OV3zip5HLy4Cd+gJjULJkJ1isuFg/YpuLD7ExZH/tK1W/Sr6IUQTXkdFk5WFQkt5FOTCLYv4eYt6lqhN8R7cY7Yv00jyYbOGD/WQjqqc+hCmWrbLvyF1rw8W7hGKy0K7/0GYDvae7eeufeuC7i51r3v6HqF4Ku7f3ydVH52WrijNh9l9qoi1CmCfHezW153VVtHrloesxMEjBT63q1LgXqk23HVuhEFYhQ4Cd3VfV+MA1ZOD+LAtpygij6JVVZOwOdrhflwQisJVGbfgB3+iSiHWAZEcg3FM41tYKIVzUKwPpWvNp5VayeE//W+NxSxAxe3pSy6MQ4PVfapXzLtZWkFtydb1+7zKUyEWZvaqVoPmeCgQEmau6rcHNxbxXdvHG2WOu3WbGA5t4/dEgyE62uim9E6+CNQ/L++eU0abJGvekbA8AXqIxzXh2vICguTqsdk5XM/aXrXVSVEcylcIWM9ttba6dsR0xkWABGX8L0GgyiandKcF5QmlCzYcZyzqDt6j0Z16HqJuiVn36IOG/ElssU2ZbSPLqQfryC5f16HueJBfuSSHAH3Swe218TajMsQSdInjERtgjwLerDbG3H7TXZtKe6D+RL+CcddRqnC+uIzte55FW/McjwpOQZc9WbDNkH/NNJVajWw7NWRpS9EDKBueq3FnqgxzvtTFFyxcr/9bvK5yIZ5okJtwyeKumGmYUViN14BT7cWeqiVg/+GpjwWXk2Ftk3yrEVYmJcvSfvevQgsN2229qnAND8iC1LxSCWWvecgUmc8h6bNpUczEs9TxBy0V6/9jTbzQVZSqElqcQw/izplTEb8YCp0ceZHhceX/W1ZLN1L8yMJR8E/3vwt/0BTzg5EWgqyhH8t2jEsI/pwIFK0B+ZEwep5yY/vsbTR21zPhmkjGL/iJMeVTKGklb4+q3n7YMXwCOUNgxw6Jgedo8on4tca4UCsbS4t9VrrB0Xq9foaEk/+Ecj+Vb3bS5z7WkliXgobAKMpz/lfQHqQs++Sdx3Y4rGoVAzg1rvAr0i8alIb2hUpJ0daxpLm/GNHODixOe0Y/F+A8mKqoZl2MuKRIZyXAV4zrRVrcetvui/JoBmnqUdSKdSq6t3zwBI6Wi5zwRQbkSjM1Ia1BY0n0/ZpBd2dIA7fKtLGqFhLcgYlr6Yk2/yBcueo+CuF57SUpoDkxUrdVbERBPNO6TRH7GddE1A6ZoXypGTRrzEARrCcr7ka2PZFVDkOpoRLF6PyvpoU2l7EkKdm3X1bVrvrOs9NC03134wJTSW1sYIU8oCqAHlpYaBoXIRlDq2dWJGSwIf7noVyWt4J/nX4N49ObQ7DORII7Ugmqz1vjVXbJGiTI5ZWyHSj/PEO7LpW3XhHC1DtZKbXCrRGee2vFpwCzhDfCH6cwnF8dGydm8ocIwvpXjEfAd57kyUjIDH6yWxzE2t72TdnklGbNJoOw5dDGbE8GVsoRV2nt752XyFxfZBArfNBrrmdHoXJNpcIb+fa9Hc1kcMxxVEfgX3AxFMOz4cOa3VVgNwXPktbRQXRyyBsFtBj6ucfSVT5RvsQQ0AiuVr8/P06KK/yWXhc/R0CeQt5cROWHoFah+vZXukeeXGKzHLheBwbkp4WyzQDgHol7BU/vEOIgU6DiZDjp4yoqx/lFfMVR41ViopFT2dNmvSwwFGI1ESj4biCn1TlL63SOwy3n9xGa4XONsVxUfpeEH+qDQ4/SQQ4h5zI/Ah+OR0nvDgXP/z/XSZJ50m5mx4FvBFh2rNIUQxG7qV7/kO0Nvwmg8GLzUM8htICvojGnvD6VCrCv6pq7WJV3DobUvqiarzlG6+1pOvthEJ36WLYtpR7XQO3K3aGjnQ+4TvUonkHxYPt2E2I8nwSKKX1jX47WbfYYPL9LkN5ESSCfkdHwtuzEvQpNpZic1/9q1seg/MRdaf9HctQWPhc/o768slwckjsCuBSpxohf3580gz9uHjLDRunzwOZJsxkQOSCU9mhGnh5Ed5Eq/mWNNgVVJNBoEzfwUOLtiPGRoMns5WrP49GhPkKGjbZfUQefHSyYXrZ1kfqYVwLTebWpQLSDqSVRH3w/c0PG2D1yr0IL9B2ynkAvTMOuErrhz0oglre3h3v0xYeO2ffGrGsJr1SszskoCU7oGgBtHcVHv7cAkxY4fheQgWZSQ+r45EJE1dGgpaO7+V0kmaN46UHJA4vQpDyjQmC1qRWI/+c6QzJVtDe8SZEkUG0UE4/RlcK9NlrDcr4tpQTRZpHUwibyN7e32nupeeFgTmaUh4bC6wt3JSusGcXyko+a3286WOmGhld/sOx31j6WEgWhpaJJaTIfbz1xRPhvTcn/QxbP5Ht9N7Q4QMq9HHrEICy+388mgagfAtfjSWlnp2r2ueiZ0exRLJZJt8fULWJ6uc3E8Ozgunb6r8XjnTzCo3IaxZm66Je9n3r+qdJ9HAjFxqJ59HSORB628joLfQwKzAo8qxUM5maFvm515fhNzwFI430kVImERz4xD7c7aUf4GspOIeBgjRb1odxgqn4gvqDKiyNWD9vLC8d3fmq33a8z37W18G5ze3XJ2LkeK2p7cAUQJXm6h2mxErOEjx4wGAJcTDa/B4QGAZZ2G2g4nddibqJ4MIbPGBDhzgKz04Xp07x0lzO6xel8pgd5qME90PhOW79XdYhQ/f4n2P56Uc4dfcs9bxkgmUsHNCgWCT8XbiHeScSowkb170vxOhlX0YSN0YytNUt6FuGXqyc6dMChc+snmVzTTGZkPs+1t1CpQmb9g3x5ssw8vLsNIZVaowyr/HBhurGn7DmW5VMy1nkE9refNek2R9vGJuoPv+cgGPWXEI841QlOfFhMM1Yj0CTBCcjxhjKMWpZ2YEMFO2CezyUeldcN1Ary8Nj0S1WEhKCMYeI73y6VIThyTofZBdqhWT2jX+wVjtAsCeyDFHIyA7B8aPzIqJ0jsLBHl41UC0FsLO6D1DNweCtQgmOIW/aldqJ+c+k700pAmgSPUdHrTw2g7+J8mJELOv2/DobytAYpbqe7MfnqmMFgC7mfHbjXP4H8LXeeRRQ/guzymzy0CY8nUYPwpZ2cRFwASq2UZt8KlDW9El+gadW+HGWB/1audw4alXLga/oSLmS2jXPp643uZnyVdSAeLw+0HtTLnFXQBsCSQukKBOent3ApdIRLhxCJyU0OviIWzghOXmkgcVgbm0tIxjVvWUUlJTXHVm3hInxkhZLQVeD0R0sjBPmRPe9vPnZVGZb9pfBVq5rhsTQwi3EtB/0Ze46ARYU7K8gj0ooR6B54hC9lEyhLBift6lOGizVtbBtAwUTlb3oxhqK4Gq0mdlDe1mTu0gso1qst2FzM2zNtR6WYxvPW+rEd+31dbQ0fMPoDXk+W5vsjKWAWpMULvdLntAVw6jG1RZz+RwECg5wb4lHdHGjjbvmYFVuHo6TvNygDLgEQTc7rp3zmwOsD9D8xbEQHSeo3gX8u1eSg+U9pyxzEXmW7ic0BrbDKyupt7H4Z83uSA1tmgFuXbbez2vTbDuDYkb/UhOzubUEyAxeGMb+3LEB6TBEm2bRG0lCHdjQrOwr0ZZVxY41SPIe5Edn3OI+wbI3HeRgrmsjKOco7Ndb8uhAq4Sg8TmpXKZLRF0zxAuA7Kw9wPIIZMy7rF1OZsnEdQhfYwLXto+hJtZjdIeDz86IR6DQz0pddGZjgVuUuSyHkdjNjzYqnX8DLpGatBNBMqOZkHu+E7dfdfD/G2/Xp/e1I4B+hlT5VlSAJSMqnXJWLP+N6S7/N7YfDnS7uR/LlzIoWIylmlecDhM5S1QmxsxnXxBt74O1KjMIA3wKtLaIaQi8ZtdBfDXBMXUz212AHi1jzPz7L+zy8ZoftwtSesQlJWIE7BVEwAPKQO6/Tc0GPNwvLNEMhdOuZuvfyeIFTctigRufEZ4ddqqw2vhkQHfu51oKDM/Y5+PQTM/9ZkJLyXE5XAEvMVTCIC/SnFfaBVamGf9t3kUZ77d/AtczK682Q0A9n9aLnn12NXu/QtEhzG7DIkDStOjVvVjzRTVo+aRzhgcef/TqYaDEz2/+1uCLgJeaCkv5S+S9CNBAlnt24iD9LLkptMx7mc4uu76DrTPnMiUw1rEDl2FGiwLb69ukDpxklHO6SV1Jw2YYfYH8koK+rFNqXcTl/E4xLq/ogSUVoQxygWkuTUyAwIR7wsDaBe6KfjA09sjFDPFIVO5JPVbCxWareGWmF3ConZzq0GpcMU+4K8CEf7a7BtCrehvdl+CQ74JR7qCE13kPTOb354TLvztL6ItKnp3rdwT5PN0pBrxCYkpwnTUTL+xrySF+9iFJAR4bup8eCKeXzQKKIFB6MHVPakfx+noMGmQj5U7JdkfHRxh5nr+8MeXGS0IDwN7uPBmHDe5xEJuNdHOsigGTH7Wj9s80tt2itI6/g4YE6r9mvSIegwtIzZ97+/6yZK4j/5/3lMpD31cLCa9aHfIc52zVKRAHT06DgO7p8XH4k1eY5xHijln/JMOfAUu6hFPpvw8FToIS1C8B6fZ1IESreXBCeDy7AGUta9ZEtLCdEZaQ/RJ8f0rujQwDYtcFBm91zb1O2ujeFBtgfIAgkvqGPkiGdT0rNudkiNyrdBi+HsN0AmwToQNC2AS+orSCMrPlIihZzkkQeCJkI99s40hk5KgeFjzMk5QIRrAu64ZWzMtAFjEnpllfQ+70H/LA7FnX6G66u5r/d9tPR7R8SkryXYt6fSKumS3gazMzfQoVDwuDn5mFq4KA8Hk8VVn8Pon7DSQJYx4p3u+CO8/8QQY7IX9gGCEE4ay4z2c7ZQVhTFmAwzfF+K2L0s+13QvayX8/AynXYDTuKR5Ro/u9/RGaQJ59slC3vOG66IVFtdein1YgICcR4LvcgppXi0CW+XW5sTc3tFe/ni4G6tClIaWi+vnGFmownOac1Iv0rLGN0UKyGvVwl3Lc4WpoPtnwAXMzTKdNn5ud3LGohWmfUWioqjdmiXeDIFhgpqnwZWRn9LEIwOCb/3c1Yb6MowJN5n0ySPDEaQ8faYqQvbCT0Yf5YqToLm5W5RyVPvk5XMweRApDuwpMNsV280zTqATYwWYz60qHd6y3NcSL9jwuqWQqDXVWScEy4S0C0ojW2lfxzR+U0MxenNhb4SaWpt6QG4kXIGfyJOgTYBotWassLlBODA35h9qjQdXRSW3beGLrT0zIdJgf5BS6rWMPzNauVACJwJQAvE1rDDMfieDGnQr0Xm6oMu5jOz+nvh7gCj5Bx52aJd2dIZRnzE2cMT3BFAVBqu4+tZZEFtc8S6wIRk2tGkCK5KvSKP576PgAjgbulzH4gpkwWO3rEUMBo2HxNNiHLQ71CEk9wnG1DKcQswZvTZX7lREGEPCNSDqxo9BnWvs50i4+ijndczkZuwRnNL1dCJ/wg9Prb4Vl8y2yAeDKRT4goNLvohc6Pp2QorFxfooKlr976vA3UcSMTpAKccenb/9nH2eizSkU3mpxiHMI3hzMPx+TiBZVE4IzuZw3FvoOGaq6up0PGVV1Nu954WAQJgtpKjJndp0h2Q1kx2vQFNnvDkfXoHA02CHCgZgDpvszekFuz1Nn6wfw6jaOmJjhKOxBnyBImQcfg++PujMvIRafN++H5Bt6h2R3PJUqJvdYOOeBIQubOyv/gs55RIm6Qfiu95V66wfJ/lyElTlGsFHuNgothlFlVgaBqJO2Tjwv4No+33rSf9mdMl3Kw3PmOAs9lsTlMMyBHtQH8y3BInZ6UmZE1GqXMX8PiShDSVgnNYrSGlydvTm9tc1vQe0AbajmDqR0Fbli7Sa7Yx2HPwMjIE87LNLj6cuUKSpqu6GyeBFSlkr7fZXT7kdLlGFbxXKVcSOULfST3drRLsEPK1Fxr4elfNXgA/9yAhD5XFvkx/TrqyWwcmLiHzuRQ+I8YtajpAz3DPArno2/WRAFLXCfjHmlNfMZXREqdDNVyswhPrwvmWEUKD0JN+tfqDD3V1hOz8wVSebH6AjJxtDSmB38wFpC9u9oKYHZdm1tg73aFbHjhL5y4QWljsgxU1Vf/jfxNJog6FDmpTYT7OPC7GpTnEcr7/YlmYNLOLjBtQ5ipSCZF7wAKBgd7Cs5sjJ4tFTuLaExKOtyJUAjXTBX9v9e0g5fzlO1n7nrwxq40E1n7JFSgAA84nhafJQOUjASEq23uN8rDgcPIAZ69DY3YhFEyKo9RUUPTghvODYdHjoEbvsw1SyDkDupsBm4zQRFp1OrvP5SD3jBczwbJyVcC+VTcQlE9MZt0WrD1cBzJOlhMUziZpQ3n9hTDbobciCTQv5PdVDnEZCXthB24GyQfF/tQHUCRReTjd0ZhmokBBJtZkV07Ih47mdsafMmdFyc9Mhs4HDFSAb1eucpq8hK1AKDdFJ2Chl4b2LIW8zgBA5JG2ewAFeeCq0wX4/ZwUuZfE3VFlybOmYeKoMhkcVxMj5O7k0Zcbl3/b2ekBmnDM68wjgBZTZliomiedXjOXvMwGGLJ8PMkZl0wSHMMa7GF8+z1b3Qvp2RKkrs9B/SuswhLQDcTPtnmO5Erub5YA5X4Mj4hLQ7NDYtrDA5FyxMRO5lQS8NHHS2cwlADg0646XW6yBvDFsdKWFMNy1B2kvpR1z9urS40qBA9RrG51nzGjlFOZBsGv+teOS5HRmiY2I6Euzpq++vbEryGVT8zZk9i5HN4weN+sLY3p6PV6+gpqpaeiDmDDI8KdRwX43WPZxqlFhQghTNcfE9MN8H9s+4p2nopXmn+FdNPaxAaho3dTQvCva2G9Fez+83a1K40pdiGX8qnJE1buUd+nNajg+fv2tNbqm3bdYgJhQC7YXD3/TCthtp22jPm0FWSYAg/+n+WLUyoK2rifkFclu520W9zTL2BUxdMwlyhDuklWZvz0tjVNASfajVzXEGP6UhIWPVGBdp85vq2EVK91QY3tgu+F238pKm3J6nKFVOfkHB8MuPph9beytMWgMEALHNNjdWoUYI21/1sGdJ57oTz/8KpIUqBEVGOjw4pbJx58eTSSGIiFzAhYADT1maJnv/gFs0esdDdE7fAnRNBk9VyH/MQ4ARwzOAglDzqoM27211jlB2fTezt025trUZHrFKqOlOLel8N/ANfqDAoCkLxgqwSfuA6FoBbBQ+Q+tvbi+H5aqZ7DDND8VYACpckO0ZzxnYW56jY8fAu5AnbuhnwkNj0E0NJj5bYiIZEPp96dz3OGZfD0qkzntftxojXhigWFgWgX4tkRdDL5Ry+C+t77VKPRFPiQglXBM8m9oUdn3cVoLFGSd8Es88z84NQEnVJuFQ8LzIKBKurkU68V4/8kmLg0aVMw7hqQvkFHpByPEKUOATlmu+ybXPNxohBZo74UqlD+yHmLVnvsjfp2u2foLJoNDoRLSV7VeUclWEAhPCdvmQ37l+RjlHqUb24DJbwkR4wh6LoZPQHtLaopJrWg5+ZaEVOMT6WnP4GVgY4hlthS2lB/FSLyBSzly+DvsP89WEd3Dy+QIqOoAG7W44Cae4UHt5R0FZPY4N1/lb2eZqFlvup494VBj4J9197Dao3iUscaEdcZpBgRqwsPhKJphlUdAIusbI6pHe6/PNzqeXL4lJfIpOx3o37wZTp4fBiLA6s6vAF2mDEksvN+6LF6M0MW+a6Mh74btoIjggNvyTpEg48fyhTbNsh9RaCpYTn8jaoxclu8thfoaMZVhZK2P9l1y12dmOBvhsDbIi0Ga3eGIBMZVxJMSWotWIGh11plxyc24Wqacu2/s3vdm98rm7Tm8oQFm8LILJl6YOPELnCTC+KL4EVdhgLQJNIjrxXmBXV57m+vtVc2V6E2Av17mFr5TNHnRv8RyHY7vHS7el4tnkKd5Q++r6Zwl9hh7gOBwd9+bRlhdnMpC8IOCfhKwRIGeC13KNg4ZsgTxeNuU5k3NG9jEcejArqS9Wt3jiOj6wg0QbqFvLJFii2CAJfUW8ySsIEKO+PnMNbpRkQA80/MDfRS2sGuyLUZev+D/9fwZPBNkka+bXmDkI0V4iy11kToVZ16JmzpjmYTg9O8L+7ZUUaZwfZF4ZydfJPcGn723bIKwB1KIbuNsMzyfwh2d7pvBYClEhiiKu13UzS5ss8dfneBPezwRqpY9Q1ewno5AAerwiMtiTu6GgeSyhBt8JKWgzwCc4GWqY6bVAI4WLPSes+/HE8pA/NbjdrZ3Zi21LpSKGnm16nhtVsfHa07kITwKusj1AaGWmEPv3DaxblnpZmtPd1I25SgM/gdCp4gCjBHGE/9eBilMkPbusV00bktAnNoiUKjTb0og5AzWcAEpQcAmn6vXmKS3jdGzY1kf70lWTHdEsZKVEfI0gX5zUenaaCBMEOJUxXNZkG7pbuSxPFcmOQAZ2NFmdiKWlWpas/klVkX9qecxMv0xoS4xz+EIfW2U/XKviWlPGXkVYmT77I5hLsOsggHuprCbP8dpnjh+3IfOrsNFpJy3prsZjUtjpHWh4aWJKoAYHdAAFDk5vuhRrCExzx8yLuoDNtrFC0e+y74tmGg/kMh0fRn/KJRqM6BtU9/sdwPGr1svwenEAvYFaWJ2hOa80cdaQW1BPGioYtaxuvLur/2sHCyhUcMSUn3chg+kX0LgD9gg2PMM5R17DraIbUmZkJvXk/2MdKLRjHyFk4oFJ/h0fGswx4FKJidJbZYr56U5zt5tCM0VsOhr5bxd+sYci4PyByH8/2Ok8ehjEtIlaf4knLzZs2KjVcRcVYBq06+QJaEO8mDGI/VKKuhMfXZTjk3s0tgBirUostz50RsGH+WNS2974ax9lQvRu4a1NlT8a4TGjHUfLaB0KdLUmUF1ZvDWWiyJCFLPEJQ2GcuY4e8tldmHzqS4cP5f5exr3rWv1WWzj1IGvk3ZnM9UZHCC9WmJKmkitC7rtkVpjC27rBsIIJA2krYb/se/jcZhai1ozqZkSNX+bweCcKR4IIGAtmjdPlhVV6JKab1WCfiYtdR3Ts6bOPkljna/HPhE7s58ZkgnsibchpOmq/SJ9GGwLmLgW40OHqAGEFr379mhFDsD4l1PeRbV3xvyPhNrmeYLS2X8kfJpV/jRCVvhAAjgD9L+UlRhuvxZeDxWvJ7GKIqfDWW8n1GiOA60k7G4sR91RsDR8RB6xSFeew0efg9zyV8MmCQvjwCiTS4Ywjp2OgJI2F38eeCZaAzMP98sXaK2xbO4lknDUoM9Ar8pKHG0MIfrwcku21qe6RjmLX9gJ/wTVxz2jBX8OdM1ILgLe5IkVwkXdZgzoF5OuZQ/RUYhdsOluciklvzcRnn/SS4LK1NLfa9mOxA9WS6xDxSHrCkwAfEcjDrKulmjVJUVMvhkWs9JwzmipBzOPXI3+75NXPqUrwDHsG4vegOWdaVwix9e3dt+nJtep9kKBp/VfiRIBzW5fjHO/YMmkD9dNNQAzefYrUp5iyi1SkQXeh1KdsmmLX/rc9G4FtKHaWCRz1h90dUkLuRBxKSSxyvFiMkfa7ZIUR/bl8kXD94whThebxHHs2uwRVcYSVJmUvCrbzAcCqwI5uPsVpKgc+rosHcd1GwJRK65sQpqOavFiFEjCbVMY3SdBwCUSUfwht9f2rWClouhZAZIS5ntMKvRsJa2rg2FZhPy5TgmzSJF+u4KeSEcVaJ7qbVADkIyzayKsuBW7VbF/UGoKLCRju8Xr4IZHoD751E8PTVos0UoGoNjepkh+bO0OHAYRAQGE5j0WumAuC5EUlqMbjljNwEl5zR6htxkHPgWRANGKWCpArYCEg2yVkJFKmNsv0othXK10aze4CvGb94NX2A0r3AElx2JVTJGOXBugwC/lQJLvUOB6Ln9FQKx172/bpqfbjEhqfCpn3GaQWyuHZfyl15ZPvt1pXm4KBKTo2UgaJOCcfRLOooATyLXDJx5SFycU2Df3dzXJXpZI4KfKiWCgYl5ckuNnmz0kHBna+V8l0pf3CkOvsPzMqr+W/Aa8lmMFrqWJ/HYqnru2llOxVt1F1lksOw/AlWHQwtTa9fOm0E1C0Bh8KACc8KT/i21igzGylY7Evc0MsZegPKH1sZqCiU946V5YjT61r7A8P8XW2LbkR98wv+acgWiyDUnBYQnTdAJio2IcdcjBlKbJAbhb7vztsPHT7OHKS1HMc6eJXip8aTOd3Y1WZDxGgT2HapOMOxcouMsG9J4S4wmBbEmVeUAq7WySCvWYtbV9xSCAq2KN9z5/GxAl3COH2r/pWDs4mtoi6agUC0uiYAmfprG924OFVGTlWJa3L3U2De2iXkmt57eIYVQTG4MCeQE9jXPC2mgo1JvEsiO5F318e5Il0A0N5i2h0NJRW8TXPv2Nse9go24+WHkxog7ysS3OLiCZfdafGRopqfK+VzGZQL8sy61JUvXUPBevYyddBIUw6ljIKAiD+7hTl68SyoXIgsI919AmHTUJ0bx+hVumVkr+MGQ/5XbL2oMjp2K6xd2RZLt2xkX60YmJoa5tXopLImFeov5Xv4HAB+CntWAOqKArKakTOdnSbBMd8xeOKHuJnfwPav2JES5mkup26wxHrFcHUGW12yLNejR2bUIC2lxB7aVIYczek92PrXZhhx/577eauX2Ip/VfDNxQqjCh2vImlIYWA6cvgJB+8rez5RsVu2vLLrMKpVqwC2r5+WubYDURFcu2wdor7II+LNcEerZR1ABiXdL8yYnEbL/gWVRyOC8WmJVSVfOc7a+5ErRjcQEoYPuzByaE6FmAt1Bbwa5sTERb+Ljb9j2va1XYqRZ1tu3/xFRZwUPJ6AAU4S63nwOfF2dkzsMy3GKBhZcE3FvAgd2Pq+pMoOjJvhmy8ZPqxvF1Rbf4K+icxjbImxV+4ZHPmCCXTPI90TvIYBw4lQuxpeo/W5BPTQkF1maVI/GK6ag2XEX++052HJ6Kkcz8sPSqXpeGDzHBjovh8BMxSTtCk/YLEUW8V2naoK7S9SjrrkxXVrkaWtE507t0gQpchhFqXB0Fs3jEB+BzI6Ul9EjQTWLUpGwAJi7lbYN1RMQKM3T+vmUSsIaCq20zjNlbMbf+pHg9Mgd1wXXOmmUfCHz3gBm8tzrb65d6fjqBCULGroIeioz738Ab6cHN3gU46XmAFg6o4HkUeAEJZguGL7Fs4VNbEDAWQOLZLW/cTavfVTeL/oAWJaXiQUr//mMn5fLXenfcpYh01wHhHczVdvjuThInmJ/il6N50Db1aPeElPjwTpyUyGVtQ/b5NHTD3MqjfXPcNqN6SEeJL5WErJ2YEfcNQsAsx7z6HsbyKcB7CC4UD7xGnMfvg3fmw3M03fHRVyCXCK6HJ/eZp4WgWUjU3I6tlroBR5NvGbauqAA87wDVsj2nmZjjjuJR9nR8CXcNtWKq0ZZJluqWpT2oYgH/tIkhgcSGOrCnOJt9rwcXfuESFF0UC4/I2i4PSwZ+Y31aZYj0gA9IeCD1ncrxld7E3+h/zCax3lq3eyPyzAmtiV4OMq7HlmWqYO6gxHVsbxl2+1eWhERyORkv5HdYhNd/7bSpURE8Fbx4E6BAdXpvb9A523AMRoM1QgzIm/ymPc3gK6vRh9MgUckiIB9asxMpnLcAMmaW2U1OGe3frklr/gA0ZdzK4CSDWg4EAudSiNUjM5yqMmuH9C5E7UzVk383Q4ipP+FgK7U51P2gFEBG93GA3wN3jS4khEgxshO94lIYENhFhzFSj7n2emk86SH80+pgMhaiLzzVcnFG6xtqw0KRCk6oUkLaw9KVjF0+S500s6ZPTeFE7Aq6evIJzWUDXlsg7vTZ6nFguEkRYaWzhn3p/EDRwvPYznUcC5iET+1e20TgDswu8zeaLrwOPzPftWCxCg1JYAApe+Q4TbC/gIUN2UEhAsbNgHERtyNkNkiraDFJg55UjsoUIQAFqgQtmHoMjuvAy15qE1rczSOyKFa8iSK/nx5oBDbrK5Xid8+A3xiFEPCc9MpNlTB/3+y0ykDhLN9H3R00BUvmrQ68gRS4Hb1OWgVWZ1fQk5QGlbpImzuKmAFUe9DlVryzK36OUZxsKUwTtJX6u5QcNGEvnSjKNV55SHmW64PlowTp335Fon5SAJRIrom3CFpfgMNCyYwJsp13vt//lVNjwkukPuTwg1dtlqo8Dc5KjrmEvhfHR6nge/VX/MYfDQgodEMqDeourdO6FNSFHk2uQ6A7bRwS++rP47SQ4+H+OMaRpd93XY0ZH+aFqCAaSZtu6KA5p4jGAiZCSAjDMnDxYCsjlAsEITD8VorQ9+wHyBsOCI2J5Ax8lnDkv2uof9iBY7usIX2ynIUWY4XY4BxtkbQzohOycJ8W1u4jv7ahxeo+jfninWBN/tdhMeqqe27fYe7VrwStdQowFQeRdDpdTdqt+3X680ZOKNb+4gOWO1QgBxox7cFSjWbEes535r2espzWuLAbBQVCpQZwVyORP69mpubk/mJfZQ1WtV7an1MTRA1LxZJ0bs+JuLw4ARcsm53sWdHgZJCHphb+zdtUQ3N1a8D99wsnunm/uaCZ7WHjd+jHCgZPxkCC0AYsdWJYO5xhh0XL36495E3aR9ZgFk9Eivgw97kz+oqS95Fiux+K9ePQuQ+TezamVcpSvjph3i+Lj/ihq4Jz09bqqldU0jPy8D7AJetoBBS/Ss0nRA3LG3cqz2/xbqDe2fVpg7tUMup07s2JV+D52ZahaU3Teiy1egubhwJSAL515um6b7Yau6Nsgkf9a8T9XbsAgD76z9QY0AwteeB+eFqrqK34KycS9Dw0sIj9+UmAhob4z5u7gWpMKjiRobvIkK5nvv8MwrBv7gBcAnHrkKbeglVGYqK9Sp01QLaqUxtH+6Y27/kqMUL1jH1nThdJH2OLmfMSZu7uFUJ/31BJEkCy6Cgd9Me7JKGykVIVvAOA88AiMFaCQ891mXeGkWKEBDLQwkzjmW8kLjY245N/ht60ULSGY+SkQakNioLwQdkwt3KgC7ltvm8IaZwzmRfcPuTcY/sD4EIUgaISQjGp26en67PCBWvWOMajrA1LoeW2VNf3by5jydLZdGcBcu6Ep2toZdOLyAAcHQErWQZifaX9zEyBxhNaCr2AfEm3aI6PH1iF78MfSDDbL8MSnY0oyhLPaCdh+8kivPoQJ4CgKdAb1SRGug2sqOVCH7srqI/5PZwi4viZzEGdYmMJtCyXpGhmhU8TtsoBLqNzoEh2yXqp419SMCJwcGhj6NqJyijv7iOLFnxysxkCajDQRDW6P0xFd3qNYxdQjpZSb9pzHt1xzRQaPfoYS+LaD2H2X3MEl++2L68pSD8nmyiDpXbuncA1UK9pKr/6RkL7xGEAoEzUACMMUvmWy7kliBrMBgfPjJ0owuWA8kG5G4GzNtnaPY6Rlmm12jWw2Co2PN/qa2F+6e2NXCoph07jkdxhPaP75T+kgIZuxaWrEf2/ehomzIViZzWelilEmKhkkPn/rbNlPr8uhR703b3/DHQ4RaJZzhZCCfrelUk3AySI7I4QyjRyc/tIZAfGZOcv/0yMsz4hwM4tR7vsnquHv2u4N5XKeN8FH9PUE8fKb710hw21K5eAoQBefwbts0fFs/rsujsxqSyVdq5L8PCnXpxFAONq/lg9AePGr0tD2Tr+0wAVsdPiWZz5lyHKLYl9ksBXk/maAqb9sqcsGHbTjYesWdZUNGxZh8aCSAzR6r4y8QP9Du/LNjg1ebp/6bVXfNl7box7lFIuTcREEMB9T7f4OHsJp1OK91r/LdlB4DIUT9mvr4oeVSiZZI9Z2116I0qtTWo9k+J2JNLyq99zaDsE61/nEZRg+F8vBzE/yDsqV/WdemNdfZVIl+CnFr6lyxsyrhmFCFPZTm9DWItqBD6abYEdttfnyU/17rTqqaqzvx1EqSQfNP5H+YjOd2pO1uCxuMjfHPiFDLPY/vPQaxYPeYJwo7Wca0KtW3goiAZTPrRRZa+1s1nQGk6ILHR1W0TfaoDgaSAqpMSydAZUE585eWIp0b8/xnHuA0Mc3fYNry9z1vZH85FmDv1auhSVrRqDrQ2v0kApj02x1XZI8twOrvvcaKM77BX03NQ4Lolz2qQ1i9bk93A2o63LAs8TLMpX4GgOxpdlCHgAVTLzWc4Q+v+Y/OkkC6gfkl1Qt9cDPdL1iwnG+ME2h4tbM6asRYCc40oPDyqDHHjwHsfi9mF8nyKKLpTgbmKEkVkXG4HkWTUM+8jx96XjSDobT7/p6RbDXkBwidyC/5tBMyLQM0ZCC2cmQxacL8VRnHGplShncC1KaA+LmYMoIG6dqooYTuUfhaZX9DJZbTL/qp0nlAIcWchVTGGPyZ1CCHZGBh0sKn814a5lBMInej/2DwgTm4OVN+7yloAtRGAhq1MZR6LLdhU6dNtv8BQKpwdUZBtNEXkguAW9xUPQMKYinIG/ZdiIHGHMkHgRGFqt6bamrn3SKaAqFvanLvSiP27rkZtmGV4zC80p4is6Qa0o3B2H6xp9iFXZP8UbzM2JUV3vF0iePcUCV7CZYRLHu+e5teDEzdhVa9GbSvblOQAOGNb2dLDYw1fPw3KJKdly3FMPDuWzeGcyaX1a5vX7/Tz4DgFHZAsCnIuOSkLFt6r1I6pew13zZ63lRLFWaDw0PJOwh1xrHGKFa0BFxCAmE6ldXxUMedX0YrBIaC+ozvbp2hkOYhJZ3xHW5b1E+KOCCWJTZDNy78bQhCTSx/rNQZFyrwAcWq2yPmKiq1KU0ayP1Hr5HGnaExGeX5ffRc0Qrr4/9J5KC/Z7e5JEzjmoAC2LkeaVIXDrqT4usvqfTjGz7P7cty8fABadDRpSRmwg/5JMSpzRxlXZvAxke+7HTwP3l6GBJ8j1E5zx8L/Vz9ULygsellzsQnG2Zq+mlTX4yTYvzAN5znZ96X/X/fGenTVXndGID0vZtnO3yDDV3CYjMucTvaBWRS4YovIpQxfzJOCj4RbhnbP3nKL5Q5Knz8l5nYMNrWDsbJ2/hNUOTB500rW6aQS4qUraAsh9Zlyzmv4x/5zxHkn6lu/rIGY/dEY/gA3m/A/0LNTqDOusBTT50TASUCdmLMK1SYheJFJF54+83kPPCCLa49TEm3q0pIegQw37J9uq3Zo0RIe5XcpOA7uRhiGs+nyc4EQL4rPS85QUzDbWSXN6PCK83SNJEINyZnDpnxSVpZZpQuTQ9jL0wdsYcp1guFtqg3ZYdOPNY8ijjX1ic+L9FV/vl4nSgI05ZLMiHoLBJJJz/G4P1iMEDA4OSy0UQj6geQKdx5MD3tfGXyFUloFn3+S7jco4IIYS/BJNeSVavOdcmXkR/ak13rLkRfx7YVxd4wQhGFlQcw2GmiF7vW7H9BU7O5xbSvhYkf/OQNunwfgAS0UwCdh/zqazj6bgUS4K8XPuMV5JzrM5s31RWpM6Y4sBa7KChRJswjzY2ySwStdULCbyBPoJzW9+uXVDcHAvTEnQdJ0MXaF45CbmY5mduMSVFrU5U1XsdfLpLL+5W+R4GlfkjbdTUoQDXrLMf6DgZig+DDwBW0Uk9jDnQSkt5zzW4bX3CEFXBiHFKLPLjAeKim4GnnZPUWZtCxO53Vp1KZAY9DIhVrFguyh660MHO26xEGFJUMcJCeVTBZ+WaMjppFS+U7edGfWC6RwZAmVHbAEKL9D0dqTFA/e3SZDkHMsDyfxCAh2RJtlukJgvd7R4/dcBuXGja6FQ4wmQKql6bEULTfFDRrIJ+Xstv3JAgaCBrvoDolmSSdaA7anDSMOnfx/+ke2bQ81xn3anIf4EXKKq/vxsyE0WfzWig55KdQWn/1BkuZQmsX2EkbGTq33UA6Bvmf53pfQeNu3VKRWvUPKYc27RQ7FCp6YXCLMy3jp2KwRyz1cySabcQN3EUc1iD0u6wMSwXnbOiStAZpA2GyVrFklRlTA1sv34KgVW+osuivGZf88yOEg/YqSLLMFsxuwDTqZV+1SkcYWAML6S16nmExre6LWTjqS11XJZpsbyaPeLGOzPGHHlKGDItDzqlhCv5LXAa/Gu/ZN5iWaqk2RUugJFFex9V7NJIu+al2k/w0AMUwnrErtnCd3cFJVVkPDGoYIK+ggYjaAq9hHOaDQ7xQ69et2uBna3ITZn2BzMwEiiVdbgLWg5MjP3LwAx6NOv/EJOcPPqa9/tx+S7UgiCJyTKJfOpgkBEaSgK9lofngNh3gIx0ku7KkhN37zHIWVr/jU0MuQmNLp8hffOgeXUwjeKPcO/KHvHhHq+t52RAQVCNASHU5xNbUALRYxZtezzR1QwK49sLPxGRylYmteY2tw3EfQ23Nv3GE63e2b7/RM98SqI44zwDSPuhMJjo8j/V9UXpD6I5RxVwl3ugvmfWbbBLrMXOVp8+BYjObBBKiVZQ1F7j75vg5V6VE7Tw613DxrbsebrCcpB6MrqT60+oAhTcgSvGkdgYnNPVemCjqV39mRHiSudYIW9DzujDJxixB+iY5tB0ZjLrraZJqr7iByWf/5SCswe7RWoDT1DcRXCAxXc4gPk6CFtKOKfhIaB0ZMTyYSUadk33QxTA4Wv2k57tk+X1tTwnk1MwUK0ua9I2cunIm5kt0GQyML4oDvpmoMdzpcggD0PrY3KgGsO1dt3L3cbod+6Uvp1F3Ac7+JsjFSCupbVa8ht2uD/lEEKEMn9yuYiFHdxod7rUhHT29E/Brj3T/cZORK/511c/La7DpbgTqjsI+H/5u5bvOYDZyB7OQARCnskmXd0hkt0FLzuD0qbM5oXf0025HVMH/E+6EBLxUTUvKjP9UZpKvL3BF/47dD5ryajPSSY2aqpHRhv3H8WMFVsb+PHCmYBEbszi8YjPQ+dptN9H4Xe9u6GLtpRzaKP7IgkchIxhmZBeCdkNcnwLeky+W8sr1cuB+COcwdSEOu3a86zeZ2Q25jObCFKSMzRoTYUIOTHc0Rp7Jffn7uZHttirMsFzfytb3hyr9Ob8tLbCQqYZ64DrZyauzF0z22EPL/NQii0vWVYqn0Ky8Gl4nZV/mTVS9ed1PWtIHtrdp59SjWnf8HSU8xDnPw1tCUR0ZfBXsbrD7Fgg1XcpfTE2Q/Cm5FGDHjLCAtJhTK/JAA3OoLGNQeAQASus9wnqU039q5ci2frLmH6NkuKCn7KWtbrZZWh2RleanF7pYLdQRXXexBm0J7xmTh47ehvTiOJ1R1VtNobbpsSbboDXAmRaFNwNP2iBtAs1m7ciTryGNN/PgzPYpIhBC9tI4QSS+lmJcIezDvoPI+DKo8YtVX0qN0+6FerIo9x9Tm2WqYmMyDoaIUdOS7ftu0p6I5MhuqHwdl5rWj/lcYbsGX1i7qzwrYvmJhmbGt6DpqN1fMDjn9A5YgxZOMFCjRzrLIwFqyZOFS+MiGZkYbEJ2BtGjSE6AmTEa131uWZXRHISbDsLAKCxuM0PFht8XtRbmX1kBc1vJORNDsR7u5tBRHFl3jFiapXeXA7oiip/zWwlPdM0YuLX9HCYqwTO/Kpt+CgnfFH1Kq05c9Unu1AlHk6Ry9Kj7JfDv6/FlY8wCEV1VBUY3K/CiuLz/SHdTLRnZi1ZiPfnEtrj/Hj0hIblZeKPkrGW1nmsSx3L/kFFjjOo7B6C+G/I4pJSGFGdprKotYFODeB3O2g8CrnUTFGvnNKA1t1jYk6bxAQmVaixJhJFBrOdusWh66RGvyriXVPhBhNE/qG/juoILvcsosKE37720KMno0qKX8XU0oZJlbY0i5OMoNT8G2G3UmELtGisltGkuwXvJBd9XIq/S1VmdM47oyO3nLjRRqnOIQ186o9OcwUWxDUMF/z3oUBxB0ILolB4o5Aq/UVzkig98pv4cKbeF9jj2QsH1TnTNFjFUfQgVLREX7Jwfr83FGUxIn1t/g0hG6CceWh+VGa7YUX1N8PLc7y5FPCCwTEqZDo/bhyD2fCyj1ksjmQxGw4XOYDrlnYQg8JX8YWDytrbZ9f1kmxkYb8WSyoTcho7+Msx3AfVk7tKvuT7wmTaV28DlNr7jEKeoWXrlHRcSrzkWfhC23CovXVXJW4kMAbMAg+lwNXIxrpEDBk/LgQJ1I3Ko7xTw55TB7o9eeNPyX72cWX68WQIQyM+2gmgOnkNPhfyoQPb7GUW++JHM0hUNlUbaOmFIv0SAF5dfGHkORYIKmb0Sl7LGvONiKJzYGn/9E0fIa7+VuSBcRo0ETebMmCcNVJZJJFHCuiN0xRwWuHR6FEgIGWBwc9GlOVYVcrZi8D2CPM46O7Z0wZCQvZbyvTrmOZCnUpAV6PszF2jUnqbngL0gYziuMkkWLIvgD/1RgNXPbQfgnYnUOVZERulZ9iz1o9CKR/387/XA1YJs3QJcc4fwHTeJJTfTf2PMKsx/z4kTAht47ZEsR/oaBVOkri70VEpLg2cfdpdxrbQ0PyCotsypa9xncPCZ77kNonUOZ2NrvAMp7K61HkgS7fuerkdplsVw8zrInpT3qVtcYqA2CUCtBX44hvkmDNO65WRLbX3zkC/2t6I3Hc5g2l33FTa8gNaKV5LeoAaJnf51sErn83HrtQlK6s72y0MHoWJLBFLniT2QRnfyBH81LSS/gh8hAHrdETiw/nfsXmeLgtC8s5z+FvE4TykzXSkaOiP312U6GDtI9eHGjR2i0oTqiV3neJoERa114jSBWewQg80K2VGLeNp6LQirU1A46ba2yGJVbc60vhiOb6z5J86WlVeKr+SVlNjlvNDs7WblYRW/G145mR4GiWL/UEIKMypWHj9UE9noh/a1J3UUxgVlHzt8A7pcAR18eJ8MkiTU+2eE1kZGWxQy32Oz2KBZkvx7MIFB8yWo0wAq27sVvWahrdMXKIC31YbSFqXBbrx4qqw4nEm3/nLOK+7KSbdvBhKbrGcIBS5nrZ6aKqKSySjgckSYt3qs+eukm0v4/Kz0amdOuf71NTKNpwnwO0hZJW90khL43vq38K/uD6hglQMaZoS17VceYrSnkJ+j0umLWgdr/hOl9j61ErFlNv0fDmRKt2VtQOkWjOgPccJH7hRZcyNPIKL3y9n7822HNLMI1WmcgSAjcSpgJNffx0/NC8JchzpQMo90b/7MzEhWUP1veUlI+P1iUeq41ULfwjZIOedOff1F2NabgJ3kNCpEW8JnGGZRJWuu2632OvERS7VIOUtK3RXczb9jhPjawFQg07RCjZKkn7oRafZ4SjWKux35NkYRm51+UGMq9O5ZAOkOzIL/Mxc6ng+sTTQOlHAhFgz7TQ5WsE6p7HUqZWkZCsPB5SE7RvD1uGalJp0M1ma7IYECVUyMc3JT28hqshhYGlwPls3OtqdRjy8zGn934ZxqgzIbnKUQew8/8Vperc+6RX4pRXm+ay2UzeYg4xExHW4nEP9b7Y+1Wnrw5t0/u97S5fxyh8WBHf36j01KXNy/sAa8barKS59CbuUI4ZjdP0P+wKh0baB3w1eF08GHImpgD9Y/n8MFngaij3PWsA/WU4InihXDgwMHiFRbVSiJ/J+Zsu0mmMG33PKUzHYXxrQQT2s9onID3zuRD4xVL/Qinybs/ra7MNeeVfTbHssGO51foBoi0LfhrCvP1SVlE6xA6RMSWkQJtponXQtr4ZtObPtXDUfzywB8A701gPwLet0diFw5yBrymKlHVdqJ17+0c2bk46M/29pD7LrlFcWEgYKt9Q2+xy2OQAG3yCVznVJ1luy7Y0xvusxKxe/dqyWHKcQe6fncoQj9m0O+E9KqLCDfywhf3DDyg2SXIHGhASkEIK+hWyIGDfZz9o/O250sbwZ82WITUx5G2sYUdHOEQjTrwHrXFBIm2/nf0UwH0nqdm6VjZHajIntncl97oSd1XS6wB+rXw0sp7atI5D2I4NPa4CtbhdGiPw7hhqXDxAmEk6xjAZgP0tcb5/3XKLOaMED/XLZz9PrfPO+PO8wk2o0TZ2etG59CWz1S636ppuBl659xxuUlp5n7xvSZz/L79F1YXXPX3TRwWLlDU4YevKXjkggncwANXHK6NKZFnSi0/By07pkqz7s/UGYnwxonx+htGr9mdGwSQ1bF4ROHE8WjRsHDYukRbanC9/iD8YFnJMejL7IqS/0ZIAezttlzg5AClhlvYltbP1Oz4RhWgJrIe2/bt+wOI873W/5ZSk4igNkWS4A3aTvVTs/ltLo/yuGM47zq9QeYFhbbBRFd5NX9W9PrKTfS/Hy2tR3c/2lBeX+gBzW0dfFgF0sd6lZdJeRt7ZoItiMzZg01z1w7Gl9hUwpRQsRgPMJPv+iGYLfIoknC/EsCIIsf+rq34+fGYXW6WHE2VmLlqmYQ3M4q74WB2P3iwWcKL7zGR0KKLrmFVSd45VdYOMrW4iwBofKJ4YzT7K9Qh/q1/3E8meYmVNmDlOUt1wcpmfeRlTqoFFPNhd7BOKZ7ZJjyCDiCVKiFnzlsrrIRoElUS73bZWdpDoQv3Ov3OXdX3vmy52otP4mX/d2JpKP0/eRzHubM+J31Tv48bxQX+X3u+hBzTZoiSGdM5EX6kqv2XehLH82H7iEob/fGHKHiKuAM+UU0+StKdWWj601zuZs0SEHGQAVCXBm+fJVbaAjMf8zvEM5/2r5YlTijU+S2vjLREJU8IbTA4/iLfF/3pYJSfTM8HIdZlOmN1uENg5phiZsv59kY1wR6zcaZbCFqY6dIT05t80aLxw0ciRg6qQ4vnN1mXvJ0ejeMX7XniyFLte9ZVJiAz0O/izigcpj0AXXAA5eUOrLNmIcliDvRVlHmUF+QN16PHXEi3FkftBa3TQJRrPM6tVGadLPfAE1b1rtjyQPZSkk60ZrRcKhkxYTLjVVVXt0qOpq+DciO5coazeIMZgdhDhvl+wTqcJkK4MqpUEpBY+OKvHfYI0xEl4rOq7fJN37GvGIFAeEJL8xuynSjKjinI0oQnhiIYw3HRyAf/0JXsR2fNoWkSMHas3vwk+tPgOXeGsNdW7bkJqE6eR6VOC+aTh/vc6uC4u/Qc8isnwdF7vIjXo4ID7rcSx85clPZFusSDxM/tfU2zpMWZRAtD8KTWoHod3eEdw+1R5ZdDu1jjNq+XNteW/Dw+p99Y4+BPpuYDShyCQypuKk8TnAk1uD7V13TyAtan7IsYupcYtoq67vkf5zI3Ve6nz+LZVkdbwn1OTrVdhKBPDOvL3iHBnwzPDFS+GvhORsodceicuJpT64qgb6Kppw3D99kfiArT29xpZ6ttX37bBg+gzQZ7k+fvjqLMyjUO3JQBsI3Yl/fDMaheBMlj8WScuRBU8jghkRoFRjNvuK3CHE97YyeJYTCSVnsT5A5hR1NCXdhK6Z81ctPgKP0yg36hoH3lSGwlZFQv2KeEfe77a7jiyteVGV8RByJVzx6XnEG5TSsoBt830IP2U5664sOuSZVEqgU2JEfIYbQbaR8x0A9CR+rJExoa8C2PpX5GEsdDWvDCDyl9inuAGsFeuKaGny77xvHY5cowXRHQZAqzioTIV9aT7aXaDN5CZ+56qjY0Mg8HuioviWj9MLDzRE1fQKtZpKLTYzKuytfn33SFn9JndKWMqWzDXbAGXn16m+bZiauxPEaXoZPhc08lFqJM6mvQzY8qZ4IclK1CPam0YefZZnHWnsslr+XrOhpDs7Oq0vshupRaD6XBXZRduOH5RzeN7sApp3Y2KDxXzoClzU07cRycJqwCvxzat7S3FaG3ryFS9aVEqlDoXiv1KQBpLFSMHPDm9Dk5CSngT1kevbRbn5pIatYVND4bHmq7zewh0W0XReThng0gZtzVahOrdHfs+IaA0sAkSH71FQapUpbXMHZyhw/igwWoFsQl7IdAUJO3VD8BW6Rkyho9z5gOntz0dTcyugNxnBqzlrwybSD7fplVivVecLlRz6BJLUplvG3V6mPllp+fVk6XwDe8EdzBvkN217iZV48K56hc57zbxYuQRh3tsCO5+6/qwubkMoWHS/KMBI+giB2M1VTAyUTLt1n/BNRVicnK5THKqJCgH8nnyKoj6+bjI1zlg6hPaxGnsr4WOZGdgtjFFNsgdpusV5MqKkv19Tf6OcQZej/goCwxrsDHprqcj7fi+KRoF9mwdVsWxM4hZ1+dJ1F/ofQlb18IKBfaZyToUMy35xx4GRwxZ8MtoTt2NDXSNoZ2NkFCvvdtGuc+Ac98NYxQkG0ikNf9Oa3gPoX0ufTADyXpiPuTtmcdZVHzt9aaph9A9TPSPX/Az8EBNqBs75Ml/FebBzMYda1K+tlT5rsGoysRy9uNjETV+bVkz1iXIgtlf4wceYcTQf1F0Jz0M4R7mtfRgcRz8Zrnly83VJQSsCsPrjSu5QlvImfjncQ3/A4pR9vRVnD1BI0+qBYXs+LwgBRrGPlrMr+IdNJKCXo5xuVGNDd1eBkc4matjNSmeswW71DwVJMPHnD14G6Xr+O/saLGaxll9iFPzzTONx02G7QmBY+/Ih32xbaSLxp8uFcsmH9mN3dNpx51RF5iFe2nGnfkAb1wyFGma3CJMxqb7JZIrLVmWhkJp77ueoYlDKYtfq9mzhleixl44DtOg8hH/cgVvaNhxp4fLjk9DkpaCLYdKOqNPwMpDsKfX1yLARgeHOyHZxfoB33wLas4J5WfUiPRToMewms/8pw5sWzVa9bsm7txWVSLUeUgFHlXGyFwCZV4lnJ4TugISJuuR60Qda/LWEAPWHtXERbwyKKrrSE7JCLruGiz2HAGvtv1wBI9EZAXsv5OZbtfVsaKCgnCULRJlB3qlDocMUgHQcfvy/SBAh020Fby5AP/6Lo2EdCtdjtfC3f44tNBxE+LqeXAXP191GZqJl/llJds1/a9i6CPz8olSuW8TCV6FXF2I2cfYshG73weaGfYdvDRiGESoPB+N4OFe7rdu1UfxPVNOiaHK2NKjHv3lxTk4LKHvLz6SlyfXlEjzaUW1PmDb964dVFftPQKLUjx+ULJFZOtT7eWOhJ53PMzoMT+DFj+27HsrBlBSudmGI4kDPWqWKunKHew4xdMoXueZF2SxqPw7ozNVR/bt2fipvIcwfbTUYMY3TWkjm6uRLu0XqcouvUIa4vTGmLnFIpAy5knZ9ot9EN4Y6wvoqFuIZOZtBuhHZdkvsO7hX8md0cCA2qWtEt417UIzMmIUedBYic3OFx0ylpUiNNZC9LfzojZQaKff8SB/RzwdvZIJOk5tj59gJiHf8rJb0H+O59fNI0q12DPTe9HG2S/4E8K9CCtTVtDPaEMFgbCq6WLIfSE/hU6zLh/QUcMbx8yfd/E83+wdrl2/e4zOlKuymCM90FPhKUdc+cI+tQcl7TBxMoPr9wxrP0m4wQHv53/FKvFWHUGR1JA5pEDVMkBNXYHw5TG874YyEqB1jfAKO/x12qrlQmQslSWk6cUnLs05K1686/L+y40vKacne5ams3Y3CHMv7kh9rGp1gJE193S0Min3AeB1D+WyrD41NmbYDTxXUF1gYqUU17m/0E02Sw+7wrvrkKXPmjDhA4pu5wBnCTK7a2cx/fHjhKKA23SRNcSA02LrNgmeGRKVyLz6nrq+s6OCgnqCOVD4khbIwziFcEoeUgVfCJDJV4UwheeXfS/PwkqcSmsgG3vJUvZZzs12RMd5ob8thgvFHtlZtOX1LZjlY7oupTr21DKRsvJnLafQipil2ojF7/5jpYdlnW0begGLewP5e/oc1WWObWoqCIEal3WDjfeELAkRWx8fSYJPt7Mb4FhPpQh3ZOiiFy+YcE2SNLpS158Y3k2fjAVxexHn5WLGov5qv6SsIR4c+zEPs2jiCEdu8M4UlEbAK20dBBeHP1IZyYcvC4my4EDxat3qEADW/cLNLpeg+spC8t9ngqwai+69hYGSBZGZO8NHda86LeJpHgay/YUUSPBHqJHOz3psLkAmPpx5FcXvpZF5fp4bAozPwTRvD6JjefLGHJ0HijvNk42P6zOuMTqh8DyxJYut5ofDNCXxv+4M2l/KQ3iuI1rdtRcTVUa5Hqdem696YwXFxSqrJH2YEzuVPKucCxpfXIArm2wH9zjDdkH4+EX7b+2zdXdH/cjoNybmEfPpeFfiQa/L/VXTwyoFT3V0BXaVSKbMrqzm8bCJXvmj1lJ+qD9sKVXu/E8YPNURyBj27VJ3O0iYwV9ct29BuYmfkXBD4ItkX9ggEjUGCYP9guIrb8dpNXOX5x2hA12hzK9TUBdaCfgsmoSwf3M+KJECFCkzqrKbJ+vqhrrLCSE75ahHPqRG9kPy01dAGbNKH/Puhfj4AXY9iaFiFkH+AYXHGyypoM3hCHKr7RDR+TVitgSZLtgRvoRRpBsLSBoY/wRlTgyJtRGsbT1viBkIqIPaXmVgEQyacooKr21If1ECGaBj74zU0wUMo0qK+XDMo7NcnTltC4JmJindOQDU4tNLcZttASShSUTqNM67eSN31cPEaeiIdYCEkVulK6nvNgA29CxPOP0sjJtqGhJLh4DiphY2HGKYEezC2cZn2DPMW8O7uZinfUrRPTnEumoU1KrEVaymyGzRPGXM23fMSKmO03EVzGU8VP5hVpfFzh7A57YeOaNyhGyIIXBz0dIfYFzJZ7lGPeNmRhUyvAEgW4cke1G+Xj2tCAysuKS483tdSGN3QY4dGE89JBVx/REArIFYA3c/oOQX8ZJQQ8IambMZ3xZS/ySm2/IPpLqlVSuBYLPn7/oG9QPkJDlrL5W+xGcaa5bSLQTpnkz5y3kDjfRsaszhahW1tSPVx/TKe7uICZNg+DombigwCyFv9Vtl36tKEtn2V+CgeYIuiEzlVogKJWlVIMxvyrS7gGKnr9IF5SERY/0rB8iwS0XhQ1/l+DS6NPy5VnwdSSYVuVrDYuh1Xg1HSLVmuxss3yEuWwdtVQNKLHBrDaUMwe/43D98OXcpf0jxRqrKKWeqF9wvS1AiRjB5yiVBghmjq/LsUmqA1q4Skr2+2lmLDiT/pom/PJ494w9L7X/Vx541KVUatfR/emnS7BEW5cRj1qm3si+1+8qIgKjW9gcSrVE17fXYMJl7Z3q0S8ZV0PZ/HzT4hpqYBpU1dq2MsZI8TVxKqEy29U7TJDj2Jfb2gCpzzobqsdm+RklKgY/LTFPGAQRHhD1v3MRwHnw5YOlHT7+Ps/jiFoQ/78Mi8HNImUnCo5Y46MS7HXqmyhi1phoGHqbXEdzRTMwCAg7ngdDzWZhglgTc1+OR/AN6kIs5kjpZpPtSKF7oaohanbW2Je8Bp2xVAsTna3s5Iq9+8TSfBxYPIIgNOZwvPVyaJbMqoEoWOcBKyt5KlRUgPJbyEOLi0qBE09qrgnwZeD/Y0WYSUUsgn31VPzvnSr1SNhpnaR5U/RTGVlhVByj6+w7/Qe+uQ7zUbXD/wFUaYCKeDzw9U/JBLXTPUepFc2H7PPn0qFYqV6xjkk8GvSIPvHHTPY7RvINowCOONQjQqjnmu5SmDiwowIvA7zW85TD0dq4YKN2m+QTrrSzaTEgto25ij2o5tdPRTFoa9OQ0czYgXyjFh9xF5wY9eoDPNvIRYz9Jv0iCl35QNl6EFgMdyUd22D7fFzeZOt0mUiUfOADumK7mv/GwmO6u/GU0P5ciCspuvoUobcCTFzFGmnXGhglTODmgyqGKflUlzvfOTvnejkUVz/sd56JM4QTDgG6B0YfqiQR/+1kqeyy47+ibTAlfEaXY+MtCKvELT1WaxlwEvOe4BHrSIL6NLsPGG3PeZz5JgrUtyQxXmSZdsCBbHQKXwB5X4obFrMCotuHCElPAL6Cg154dSrLCyCRwHMw2YtxKBocxZuLUiM8wwNt4y/Xue54wVAIA8jajYNn/Ydl+CuU6jys48zynyzNvUMPnLxwAD+6MJGVIZFEu+bGLtFWtnHnSninzzrKeuxs0wyklvifybOYdayenEqwKFukCIaPbWnfNQjyRT91WT/naJwC+L6Nq7w1KdcZ6GiLBxor6tBy49NDXU05e9Rtp0ye1xoSRRhjpymEaN9j59XjpWywm54U3v5uR929FhuxOX0w4D3fvnnlGrvpVbMpHxNXfxBXXkp0FdvYPWxroIv8T6ZM168KHqIKrtGuJR+Brptbx2DV957krb9FHPCQvZKNV69lOPqR2xDkFcSCdisETkKkoAfhzPCIpfdcNgKOM1Zi4RQM920c35LoYU0BfltZ1wVs0OArDrcL4uXg/hX68pTTCYyUNvuvXTQFN2FigWDSu4Rdrq+tgU5Edxn8Na/RTMzehIIeTaMTNirMGKt7niaEVzszRV/zh+WRD7U2cUezppoCNRe1lO5Tvp2uHAdAhivOprcyOL83fV5pXxFBweTYILgZhXxVMddMfSP0rJKl46OD+0p89ekQo3XGVaaZcV2wPzkQ2iNx88RlKE5tF5NQU+7WRynPcLmIbHAhhiBfGjB0hdlQtx+ZWTBfHEeL7r8C45nvb8mQWY3dPyQroMM6VIu1mRnsOaWOkSwd/dU5kbWMQ4n+gAJbAxreljGKJYUM0CtZndHp3MlzhnAKcIVtTQzSeweIvKK47ux/isQatQvQ9VdudYu6rcnPNiYmDFvFKiNZ4Tto83pI5gI1Vy18xTYovwQokMQYwNFkbAUHm/wV+yQYfDbILX2ubX803SOTZPAi/kIknZ+z075E0S2uqR3OmWJE69JcBMuxVVHlL9RmUxcGsn/s/sjlndHmck39QxY0AIstrgkPa3fgkq00yyFG8ZUZneCy3JN6vNmwY1zGobzq+khrsYCdCMuIrHswZaPEsxhoFMPD57EOjLaClNBUhpvdT/z69XOrAaOsmAahFOehaKbb79LV3NqyED+wbY2efi+BarZsV0BqoyR9FjT8upY1+86JG9MhRtJCqlJPqmolFHwO6ZVAgbLqRb2Yzgj/Gw0bHiQeByxGrS9Is0B3SQzRJlsgLQagYt3YVIomsm+GAyVoJpJQdhdMj2paomAVrKRXTHL5ll3PaicjFGtnBbSqE+M7gS7o2eWoShXEBaJ/TXrKxPM0/zy1LSUBR/p9y055sjRRa9mT6QzuCe0P/FA+QngQKsyPgygv9yVUTyL2MgVEstxeRWH7TntvNkOar0E8Qr77unJIeovC18cxP9ymKuG+Mrgf40Vy+jcLoOAiwNipWczAkwlmx1d5qKZFNg4T6xArdMCysdggW4USpN5uWVIZnODI1qavyZiiIqPXUwDdFwvsPaAD/jYiB8ncqeQCx7s/41ftQFiuqv1q8L/TJKxYzDwjZxQ5+/ALesCpdykikjlGCHJTFT9Qc87l71JQK4HZi182v7DCbnFupzG+RAf6+bSHLBnuoLw7AwJWt1FEPPzmi5Dcn1PzJHSHPLhyNL5UPBdYR05plMBM9qTxWsb4YZwjlMmRxDkGIafLR6qMbOrmmVLuhjM7bVsn9qCD3ubB5qwB+8L7ThE8toOS6hn4eBNTukTDaLVBkvXQrcdMJydMdVC4j76KoI6QlcQmVtmdKvj4tLG8xF8U8dokg+7XE1KUPjjUZpfaFuECBzVe0uoPECKCKTvIinrkGCLN/+gu+roaEFkWLD6s+G4oHhjMNkrQLIAwURi9wHYV2KbxH8orcyP+n3FR09Q+3+mfRwZSaro6tUM7vZLC15faJ8UN2c5x4mFQF4xrga+wr6tl6dATej1MygvfPf2lJ38hQXZlKIOuxX0wtth51IslPumOcNQAt3ea1FQqoj+H77zOip420+wPQaoGJ79TrPjxey++Yq5lziJqvcNpUolMs2Y34A1nCfEDSewspljVaEjZQDXc7Yu1HnaPIMdPZaD5yrWekgrHLh9DLOdHj6zmy1+VFurdDNl4MfwfCIPNilLDs3k7iH6m9xCeYGz0SuFo210ccZkdGE4EnvKGlBivsbGZ/tssHFd/AGibUW+ZriG9FDBejAfa3hM8wHmllRbuhQjIwDMb9Ls4T9a1KHeQzh+ZtIowFbZ6XY5st7qrR3AuyLtOyoEMds47vBL8W8PJK/9QE22o0rSS3L97aHL0dnUPeFLBIsYrQbdNT1WCRA46W4hOYS8LM/P6uzcdyPxfkxcZ9WGmvDXU2Ik2RcLhXwwnZ53LGAxSC9C+0W/7WLzbzpJQbkAEQgPpr2C4nD3oEP/Hqu7dO6ZZYPNnJWylRW5lE6allpQcohNJ8sJvCa41Le7icqMae34pxuaVvpVSy2BAhyYKNPMXU1ivKLQoZ69UsrXzYtkK8B7B5G1LblK6DKmtJkhJd0p1UykxYVQsAYJej+PQ7DQjyVOGs7zj0hBd2nWINr/PZVgTeLiP1jbxj5BxN9P2+KHc4gwFdmK+DddEi4wDOv0KNcmTlq/lZO55WO8+QP58JRfURjJ3kEDg+lgqIpTtSDNOiH9URRUXh/UwOR11hJdMOGxwnBlCDajgIBKpRBkg5d5zK1xlf3IfcAvuFlpBn8SNyTc+fWH+Qeqh93AJLqA2F0g++esrI2Z4ZGVSYJmxJ4Vv/T+aPXOB35AJpmfPQbhVfYl9quX1kYFqU7Ifwg5xmmlxiDT6TWizAsLm60TFxDcBtb20PjvV/CJsEJazvZkumXRfOobWCqZbCalMg6qUQdO+YPY5U/Rmu3iLo2Sb4ZXUi/BCerAhu99ZbBLXsvnk15/oQkiHR5HSyZxaVaNQ/c9Fj1Unlg7+3g3LmCZSbLRSUK9uJfDwQZePdyI61Jnucs2s7cqbWjB7sCgDz+rFxKkdkTCRxqK8E3ZwwQbcChmuWHnFF7n+3aGWDHnisor0uivd3SyNZ693AopN82kw2IJ08cayUS45We1n5CsVgFrcBC4/Ind7ICb8aMWPtckNrTTOFBCYYWmCLlHZb02gSF3gX5TdLIS4PgNLhq2nr7nFG95X1WqJDGPrX6Gr/6trt3U7Nin8frpmd05NtsrxR/pAMuQY0kLDJ8IF9ce9LD6m/PmXFr6ah6rgzUS6fiyHAQoIJgPHdFZWJisePOnQwSpc5kox+OB5QgJb6Civ5DP5rC8H/4mpm6yRXef6zaE2U6NWBfOpfqLDlW3P5hk/yFt8y2x6K6Z+BGg11Sc0atsB2FRoZVMhvHNqHakZRIMR0V1hQrlQjqDp7GZHmhJyQ/CBrDaiF4plfSsrqFHssF+b6+l74bMWfAzTn9fMJM5YY+knyzzCBq7GvqzNuSb+eFEr1XQydrOFvlXLXH5RU6UgR3cefqfbdwjyhSFBGyF0h4zL0nOMeTYh1fnjsK6/HRGpBJLael/17zTDJyThu4lAUDjZnxv15/qEKqcmZ7VQG6PzsHVuqQbxhlkEPrMwoLm7ujUS2/35qb+68xvGW2h4s4rMeFhHr2b1gL5fPKsNfFZ511n89s7VqdW8rHF9vVLvahekLNw3H6MzG9wImgmiwhn9SWm2Jmbhsyj2GXnytnyG9P4VRlrUTT5IwPbDJT4sHU61Mr0uyTOAWvHysOb8L6483f8mbcZ0F1S2i1n0QowlaI8yeSWlUZWFVjTMQ639nzbrGOqnolWVixwKRjS/zcz8JBwgARSGtvAlYbrzQnC8MTzgIGaEpvprY9vSXq7lFIKAPtb6ol9zbTrOyXfDeo8HunBbj8jyO85NmnbWMi1Ibkg/6M9qkYO/Q5G2Vl2LelkcbBf8bTzGtDicxVN6niETqa+4lLesQYWN62csJICZa/6Tfv4l6fRxsx8Wh3e/pnkJUTNbXpt1k6AFhYEaVxiI5IajtCFAlXU1uIugdGqsi45qJLpfE/z4xPF2388+/S25YkZDgAFvb826Krr0Q8lsQycIZHtqK0i7enWuPoriuifqBSZWG48zSqayA3pGV/Gy1rhl5GYdgZiWt0He9v0n9iuFrLyjp2v6aKBWR7WKPN0x8MMoI8NkyGbvUWF4iPo76DjHJcvcmqNHVFUeQaZR6bVb8m+lAe2SOlF2GbwsE9hZ/ppk4EJpiSfBf/bAi++aMUZ+EIH43nxm82sA2ttSjUNzYv0RXRO0WvIMzv3RnzVMhZMw4K82x/mkvmfr6LHnCx0nHc84OZPW45TO1Mgnb+XS+Z+eeuwQo4Hd/dLG8fBQPDQM4pdTNSVmnofUV07w/OK53MNCroRarRtuqcVWXwYb3Hw/dI7uZOOP9vzXHu/ANRhTZdVvaCbEhKUyU2YYiRTfDs7JQ8suRk/F7n7xkJIMUzkJ3qje1Hk2Dqq7ps2BXibl+1BjO1QCRNN7u8iBCG6deHdU/eA8ySh530POYK7p8TlFuzxdu01m/8xVAmDJZghVn8egIO8RjBeAlKK9xhST17YudoRFXn/PgUKTfvjECJbn6NLoxLG/rYMz+yVVvV2+YPAdvg60bxHgJfI+5uJBVvk+uB5WsrjhpFpPXjYD0QPO29CubZZtDpJqAJXxE6oimaf67CiOnh9OY3ZQh9f4zTl9VY/iWuThNCuXctxSIUhT9hQrhCmBE4Kykh33AtWiLwLiCjQItxyVEg7/+VbTr1lfdzdzaFSIUnOTF3Fu0z1Q6sWF2gvNjuwkraZVbOeaKuHbkfEEXfLnj8aU/DBSeYWdo4oov+eoV1zCbsIvccKOqSA3cW7lV5bynPufzUVb8fjfFizKdZR6ebEZFCNE77VgBiGv6UK2U5WlkhyLJ103iqd3Kr2lIH8+8Pn9MZHCupc5q625BKad2FBqbO3+qGLipDv2onG4dex9I1HCy/1t4eXCXybRZ7Rif1hIBQUMcyoBeyW5wyTEiUTjbB3XFq6IKoKj35S9rnRkoSsq07EpI9FYZeJfvXXlpZsHxM682qkQJfQxZihnRnI6PRoFx/R71hZrYo4kryDnCR6Sd4etxBfvNtNIhEeTUQZI8XYOy2A/NVMrKrm22LdmHPM8rZ++k4vpnpKBmnQjt6L8u+k0J2aH8ChZhtksFdQfD7MnoAZ6CjvVMwqar58ZTr7wLJtOXM2iV1gwCPt5t08H2Cp4vIPE5mZDGmLF5MPxHU5OXxWQFNmFzkutJgyay0of79d6ZAshrPKqgFIuUktJ8IBRBfXNV1zaR2u4cRgDyZ/BLPTYtqmWbDDrPH3VeMPkP+qcTxFI76tzXAZKFbIGwUOyh30XQiJyLHD+aUTJjrArZKaOn16BqRBJohEgC2xtobgb8RUpGrSbuyYKt+QjvskoS/551WON7Q22ZQwLv+kirrA3/TzGRALPBX5B9y7V/34LV3gRC7nRXal79FDtY1AOK2wJDm+UjfVvANEeDPzn3MaS01m4hq0VjAfGhb5BDRSghiLX8GVt0tTc55yo+Tt6vZjEWchS1qSizmMGmUD1uD6GvbqlyjmzT0JHACH+WKLrgYNyhebXYJKlYy8Ez6PR6TAEaknqtaGQL6R9MywYnCLBmQ3Ir+CYPqUyMCd+vpct5fEMD569B9cWsj0czYHmtPmqMYaOY6kLIx1sCjvzZbtZoiEIx86iPWE+lBIuhwD8EW1bx2+pnRgw2Nntlglvr1Avn3tSukhp1LfQeOu88XtPp+uIkpMIsWLy3pGlQUZf4uePeOOiK9jt4vpD8ozo1MAmnWn/YbqJVNFEBQUp8x0IBViBgn/b10MJSTAOS1AsrYCCTNZJ8B7ZGx7gx/svzixulJfRgrGSEjih9AuvoHa+zLIUMUc1uzOtLl7wBql5CrnKFXAVFj8zQDXhqOHeT7h9Sx/0jgDTyRYb/Sjnwb/XDwtYmGkEjb9+jAjLwuqoLUHnHe367DW1nA70jmC9Ufg5jzC/gySmX+6F4HzgpjrwZD+ZVU2pQsNHMu0wypZ5XztOFxj/Bh4Ox3Z/RJdpdQ5GTMpLn368LItoi/qFLGohuuB8703Ov3ffVKHsbscZ5nNZsw4lhrFhbiVJb0t8YtAw7bMg2slj8cjXj5E/xIApgkw5x+Ah8PdOpA6Npa0IPWQXeBWYOFkcriZT3WPdPrlMKoSGFpSIHRyUSxJxuluuB2dCIpXV9RVO+gzUe88QDvSZOwKH9fiqrxhikt/pEWz4nV4JhTDg0xpOXJ5dyb+2wiPTqMuP8nSIclmIkReDchnEa7lqA/htNK3zuwCio6wX5ooqjeYOzzP7TUO5peL15pUP7hDy09SAwNQXo+d8fQHGsBILXK6QA+F6juRiEStc9iuQThMBRMx1bTXeA0JegqsCHc85HU06eRLe9Q8Dz3VUQgm0ZLtRfyv+znx+3BFcdTPgCN3QfsWwW8fC35orK4RxlX3w4GH3OY6RE9pYHa7siHV10zxNTSnBsnbeTQSoua1BJ3AvbMF0E+Mjkl1B+oA9XxTyYDq4wF+bI4JNWtqM8oOFo1vpIyX9zPbf+PK2cF7+jR9TJ4nRvzfZxKwkzWfj2K6+miuEqKSYNHmb+KRKbQvcx6IFD+XkeZ1bZP7lkOW3qZ13+tUAzwMg9gOEbXEEGtUGjSFZRiYHWPqcASzQNWuiJnyJdnFgAGfmYlHkuEk0DXII3h/1eWjEECu+uQ7e8MiEjUVj4NGDqwHBzIDc+Bc8IkEGqrxA2YXtsu328jgAfwmKi4jEsrGZKkB9XNDnrcnTFNDP2igzdzVFhh2UjxQ01pHMy/KSlxg9rAwm0rZqR+pAlE7UDTdHIraYSpXJy+y+Zm3ttN426Eql7jhVeTnhauTcpDWLwP8melQ1BpP+MOasncOZ8LPpUxr/ixJyvSFRYJ7/n8bQ7EDnAg0hGcccRPMA1fB2IY7qxKJc1SFv3xa56Z+QjjZQhOW1PdMDmV4HqBiyO2B7f2FgTQYoWF86TzFRJYK00zxWxBhBlwCv0ZbZbVVWH9Skiy5cn8GyJ1Keg0OxsES/UU6zqnIxCMIJlYJB1uGPOaVdM8vy70UOhGzKWwiW7FofD9r24Qwvl7wZwV8eDfD0hPVNmzphauMyQuGs+viggOyfXkB6yz9pVrk8Jd4RV/NRrg/fuG33Dpeu6dL31e3mzEH6L6gb0yrVj1qvWRwHI8ru9pthMUiJwMcJUUaBpsxa+fEcs9tSFg/Cm784pqWFZytF7VgYZFghYHHFv4WkGKy7qz/9ZrWQWy2JfFpPBNjWXjmmaYOo5iKEwxuwIT+AV390A9xzgEj2o/zqB3nTHfyjalVBJqayp+I3B2kH+OQ9XZsQrvQxWpvb/gPCLOVlbCSm1koo3c+Eg7cfU5R5OSQ7B14Ivj8Vsd5oafjlnQ1LZIsYaUPxrN7wnWwrmlV5UkicNBTj7mY4aGJJn9C4qp4KYM/WruPulKxZJKCmYhI2/2MRWCmax8T0wfiMtvrhBF0zxSB5VihSl3uOzBrgMYT8VNX4SSmezHpWCOMSdz3Yam2lgtpvsQUNA9oQl3mrDLPnawcF69tVjytbMZMyi59+JNzUw3I7gctHD7+dWBvpI8gcmeC5Hnob7HqvBiuEj3rxCoN8oNHIq1S3g4XtaLr9sB8eW2KRNSZnshtX6ydM2T7Z4Zp3nhUSHWNNKC5YHuft9KxCXRuF55n+mrno0SW01r+YVm43YlF4sPzihXT7Ti/BLn2WAF3oae6C/7wfl2wRC8kRupvepyMzeKsk9gHU5bzQnQyyxOMgvCa59AtCV02VzE0fN9E5xeOlIU+o5JI56kXnWl+7B3+3fI/0Mtb1kVTSe63ZclE1hubtZHF0XqYsc7KORyjA27q1DOJToVVJBys9OD5w5DZoSPn0T/7Yq+0THaUbdKGNs/+Oeo65YHa33BH2NIjjpGFPfTnTMoEPSVbirrOFejA35gQdE10/HRFyhSP5z/NuwAey1KKagkdNF4GPmfCKUwfOq5QO2xUgLAZEobF3lGD5Pfn56j25bFMvDas5JRojUt69TYCNxO+1inENVRl4idByD8dEPONj0KCsoQzZ8mtxbxV5DS3+TCD7zqd7YlKKIvo74w7mLj4fpJwa94iMh0Eje32mE8KGDuMgyhWRqFS0RlSEZMDNAv6QV9mRHlk3zuturDWZsCvDoJT4s8kQEqDLHnkfZQXRru/ic6+2+FI8hxiTBXzcNcwHA8AfQYaVxF0vwFRHEsUpzW0t1N4Ypq3w28NVqOAG2+5OaCQBSiTHDETgilK316F/3js3x5f1O56uiqwFCzoCioDP1P77II5zdb3XoN2JToEJsa1/vs1ijbkLSPfAP/+ZKnBE4UIVEoMzuSNU+0PMAIfHq3wToxuPk2dZiJoneTbmgaSXcCGOOG4rKObi9b30NjCjj0fKaSsGbj5O1ZUjL3V6jC5cAeGZUB3Kig5KstA94lU63MNj0B7j9HQV8O4D4pSY9h3kt5c3D/HX7bYKQ41vMEgdXnosPOGaietJoYWg9S10eYWmWG4hqTSKsSV0YBu3kdWsFgfz64U9kH4f/hR82hF80ovXsbWLrJ+hhl6MuBAFB5PNfSlNWRLlAK/FN9xKACftjtRaSm07RhmFISQQLoOLPLjITMnhC4F0t6Dq1qcSTYgqvBQZ8XYxOA2QVkc8pFXv9PiWT6mdFOGVk9jLGe1Ba9q+kx3B5QudsFgNh3VJlP2RvGVga41PJeO7Sv/b3xqqsjhfBemiYjOSfdU8a433tolw/D31k13dX/U0+pccBf8OFg5xBVI+e1+xvNhRMXSxMgNMO19tqRrqZw/iyVuNaROi8pyDmsI6yhRcTvs6oNGYsRnpXg9Yz0EFvO1THJS4b7b0kKZ8HAxSl6JxUE80ec0lAU9FiwKalWnh35dyG7TZYOdov/i8TFRRtqrw1lxnWYiZGdiAiGxat5itCzEPvS7QwF7gQqKrn71+SbQbAgac4hwkXHonjwp9KyY684MAfBgNKxbN6WPBqO50T+5BjND/LuAnciMtIcdho5N93ihauAG6FzHir0ATJbHuE3HQIuCPcuoOG25d9XPIqxe2qGVA7rGOudjqZWfru9PNPJpQgtZ9m/aSyJnyPWL5SmOaQJ0dnJvjz3n/RNh9+WxSuszqkTasth393zK/UfYnRq6yTIhvp1NuErbTNXYhN8BYKhSGIWmsPIBi5Gb/LcU4vYE/+98iE1+VC+1Sh2S+Z45evYfpuEu4MYT7NTKhXU/GVL797bfHzqZqpXZuUf7uirlopY7wQiwIIpTPMJjirhCWW2Z5K9OyvkFUsAj9oIyciZE4w0yUVw1NtxOpZAEQaYAnQYN3ZYxpwOGeJ3h5byjMMS1wsanmp5TCVRzqCcqqU9phjDTRBSmvmdZNnTPonc8oLOQ0Gf1VNofinrQ5S2JmWJpC3lKMQP0Ng0Z+X+39+nAQPdN7/QwaLYC+I0FA0gji3h8yipNGPXfTtMHu8MYpVyzmmvqmjJpRWZh3XXQm1DXeuV727mCzi/kiq9Rac0FnGUUpgnv20H5B3gQKgveIkbGHe8JUe41muorXW1YeMRFkxMva+VoUqTm9LklzcYU/58Qq5Wk7XQXlK0BDTMDP55LymzXooQChEMvGHL5k3IRY//3arale9c9sdMMUM6Bx3az6afg2djLlpU9FymtnaMrcT59a8WJjxnIDage0NZJmlLgXc/Ue42Wm0e9dITMadbU5V5sq4GBAx1EnYTxTokTeYttJPU+13sIAG1jyB7gCHInUa7fLaegC95Q5rcsBDpYzWguurXCOtWzTPD2uBq6hoz2sZQ8Mn9csMu2mInuiUet8qxulapnRg3xqnGH2vXKgK0mUaiFAF5TPoNcFwV9B7FFEzkzlaWVJ7K2LCX915dYepozOn/QgOXa1/N68g2DQ41ayKkNYEjvLZWcaLoIFFURUIXm1eQpfy63mvNoWPiqyQeS2xyUyqN/lx8iTdu9IqGTXRIJQv6m7ckDB0EUtqOEcYie+eIMmiXk+cgN/KJ+rwJAWlZPYMaS1+pm3Uz9dbTzpq4vSrms8JZ42GEBN07JPW2/5+JHEDdIvkvGyJG8suzivcAqT3eUhsSIk7Zr3bVc1cyURwwyz3IiO7atzfOK6rfUxhuGbE0/fqUKie5MJx7CLkCyoIn076nA64ALoMortLIhuL9gblzbKEL8hGIPj6MtxSVMci+z772Z7L6ZAyris0h/houxgv7WNgm1mJZxMPUjmVFAi+m6bCxykKyb7q4UWVmamrH5DGDUVJtE381uu6yHe/1BNSE42bHxvTrjWuKnklDoQBDEdExlZ/+oGExm3W7wgswJpIZI8HzEWEZzijaL7eaAvnrd4HINIyKWdXbhFTu4026imwInayvzFVyCeqe+xT57H2Moxu50+EXowAOIGE5dMHscfedga0jT0q5PlfGLruPxguCrQOsrrT3LNYhooI8RdmnjGjI1HNHUQoAJt3yJmHLr/VrzY83b99H8sRX+3C71zyp2For7xnynRcWxwsb1zgkX0ySmN2v+Z69pEj1lm/mxmKvGzcX4rwnazlIfZsoeSV7WNSRc93mN03FGFOVJbRA4ZRB7AKCWHMxNKlcdE6FdOXzWDaPAgmJbrJqTD8p6cVEvtE817hfwYOQJVrg9bpVg9e2iG35rfeU55atHSUKK/t5AQllnEsxnIpaxG2gASGB0MHffO1BIXMY0S89bbUyoT1XKu97DMilmB1HhfAZXQqxP2szpiQ592P7c6vFe6fWlWzkt83mvmUTRCMBKTkIYwUX5FvgvZT9Mwp8l+Mts4/jWJmt3ZxuFqV74axYEzk3IErIYtC+VRR7myXf1QMeD5Au/MinYFcX+G9Iom9CQ804uezkn7dyyofN1CPc8yQMJLE7/OO+Orc8j8wNss2Qn5p1PD+hZCFpBDuuziTYdVYA8avHkBE/NB+4vk4ZJyJw2kA8UO03zKk25mYQTDO3b4sNufsjaZF8nLOJ80NlwkCSoZ2qHTSCuDb+f3nqi7663fZQbih08rhjG1nVuDGOzvJ4ppwDIpXuLU7wOOiern7D4TecBGvBWKieR9BBxAe+PC+2XkOQuagBLH8w4hl4oAPXzh6Zn6bQeOPNXecjaEdxW+eLTY0OsohVAm6I7qOaBWVIqrJ5kf0LlQjAmXRakY1HZgDuxZ/SA247kUMYtg3weClsixmjj7CL60cdfFkEaFtMJUtqUg9FF9Y0rjOHDE5ZVoe5KbNDIjpyIW4lkHqVwPd+vcuk1TBn5kZ4uzOlohN0+EUVzoLKnkUX6+fO3oRyvgT71W0lxdxtKuoricFbpMFkgV4Z87PmnE0cxoMcmssWor3hXbc6iqrfFyFrHOIoAAeluaQMjBD5fe8yFB1IHn/qPImcqpPiXiBkuujNZIraAlu6YYAm504P+O+YU3s9AwasuW5GtlvMGXTIRVwoJ4EzHHa+dLsjJN5f/ohZVB3u0v1jOaJjOdo86fiBhiOPCPS39FqXHSp+jiVWs87VUgLGusFtlAJINJUhxvXoQpI8VWd5QIC6GM4DZgGi6j/JElSV2OmtXj7hmJIyuvGMjvjpp0KbTKC3sCvELbgFkl4ovCNmUyXaUN//0TnIkwNL3Sta8gw125NtdNVyIEfcbXUMszfJ2DmrQpl6whPxy3Jemx3SPrkm++bDtHOWFeb+m5oBbalN0ktOaHJZJvlcv6eM/xwGONO/w0qmIrjykNNExa3jrWW2wjVmtlf29YtK7E1c8wCEOmWp1Kk9Ikes0M9x4oBmz0s3E+2H9zUarpm/xivGzIs+7VRL0m2XsV5mFk+DNY9vCy5FiSAq5Ex+Ma3ylUzZfZeaknNQEOvgfG30QRTcYSMVKBTlPztADAD+CgrTefDBRCbutwrhIcWj4/AfrKTtBhoo1/6aUCNsPhYJALL+C8XmH+FbIyo1fa9jt9gU28t4XlXBNglWScnm0jxttNbJcpF1SLUQUeMWZJdJ06TfP0bmQD6+PEUsZPBEOt7nbow+GHDmUfMphvEFxgMaWf2rKj5qwaA0luL9qzRTapGW03NwxxRYkC3U09wvb5ZlYkHDoOZ01DYfGkNHiyANZBhWBerBEELL/tTXSWhh6cw1poWFLwTiqDTGYPiwXMVSUiDXcqRb+UXffl+ubWHjhD4s4jxTjstv9tYiDG+JvCHfUNm4iZmJrvEifUqGMU0683YuLDgGPyKr8AP83nETviNqMN8HvW/5NFX0c7ePOPPLlU5RBtrdqm5OV/QM9RrixpqKqNipx9OHVNgjbaF5Y8gxjMNlbYnpYPTNcccZRO8spsbHQt6P5eRSXph5HX90k41RJZ8qNwOLfSpViiDk+DuFkFpuYAPqv8IxjTtu7B/y1I9FtfoMmQtrXb6GvIStpDFnzwgFbgPjO7c7uenl2VOCo2l/4vyIYfewPWhjccrHJ8I3qCqU+XP7+HYugQHmizRzZ8OFZfFPRZNxsFZ0u3WIAXAKbILF/5xd7ZLqdebHu6shpNm7Dd2FqGRBsRC1iG0lE0B1pTFSTQaJ0ksfa3h1O5kBmHXNPcLvBU6qLzZLnRrzrNw9be5feSN3vU6UyRgaUnGoMZeyW6nh1zo6qLqVfMUP+uI1CvvuxPptJQTkZyk2VmKf1Yl+D7x9/SmQWtGy8N6LslMWMlTT5r96FRQvgKuYl9QiX4eTQzsEmp4popRYSQW0TVVAYODb091G3OWSX9r61xew3D4ZtfnR2Ivl+aS0+zfDwoeEaa1LSWZ5XAA4wnsYo8mbWX8Muos7HMEPxdMq+ZxS8E4tR8EBAbOZFUo/6e1IDWWFSsmoYsdq+6tEjTdRsEsxQvcjyqxGIVyoas8Wr4F0pzILU28G+q3y5ZdXsCbHGQKXYTr2gOlcdyH3atfxpPkmFZo6gORKV3Y6ITMb0sYIJCqdBj6HKj+Wb+Bt3dJWDAEdV8o9o+vVNpqXEVHzbRsP19VBVRACsPAxSoLpcsx39hUUOsYk6QHXx57H3T2v2zC136cizQyUl07N+y6/VGgh4IHdq0aRwxepwjCOmSB0C+dXF3JtOVOwCmeSiOthJDonfa5q2EMoDv6AWg4ruVjE+zBJbVr2xMzdxFDg6dwGlq79qhnG/3QR+rC+tcwzhC5m3lSVawlY6zPbBTaO1X0oqHZYGrEOjb37iabR+afswvXZ7zxo1aO6jf06dGVl4raaVF/sjes6XNMDWIvGk3g8AOozq/8PFXGPkilXCcwoNZv3y2CKKl8XYenRFpbSFgEgu9NDBVK2WqPStsmdaADvPJPB2CkykCWPj6JduWEDB/tZqv80WnsvTvLvntQNWusGKc5eMydTOKWBt3d0bcKbMvftSuqKjxktD6MrGrVo7Ghx0n24ImEOLzUwBfyVZbW8umcbRV6PUkvTFDTvBVnj7S2UeEf6sAuE8aScCogZRsv97JrCf3JFmP93JL8B0NYCrp/JZjJjpi1cBuGctzqYSANmg57qu1MFfGrpUSuWSwGxauivnPy9aM31g4k+IE/Oo8VGFsIACTiDp3BWxP6oEAZtllre5Hs5h2Vouh6SaoJ9gXZMWi6GTMQdoX2u2H32IRf/jYL7WZHYfCDhlXrUDsYZ4BgvRfMiQn2+NC1w7kNrDQLU/ofoJcjE6jmziWCsmhHf6a1Cw88stmGt80Z0Bj/r2p0HHg/u3aSsEDY7JpN+l3PCzoC80jPb8THJAmSKYLPaVQ9A1OR1Rr0yY6TnHkEHOWyNVTkV8PLkfc0X9Hl96O/B1WHELECUQkSFBfNIv6KjBvgjXmQpP7YK4lcU82SbJ4dpWwOU1geqSdZYnawEQgDy5MBo+sGTA/PqKZ9nQIiW4q0oE8p++WNOOYZ0kL3v1LiM2olmJbVY+rYRp5GQZ3/nNcBs0W5cgKZiR/pWl37emPME4f6Xprw5Vc1MHxjJts+RUs4N6qewNht1a43RyI2AdSTa4RuDCE7+Z8W4xstNgIIwhkAL/2n6sbAPPAEOEvz1x7uOHKGODk9kyaM+NKJHVAcX1R7Nl6hSRDkoqrzEXbBCHrFEILVyUvRA/W8wgP60vwQa7zVWJCKlt9jfBXYQGAyW5t/qaMpSs1AwoQgZC70+LCXLnovGSHXVvT8+ECI3a2O/ddM5hfvbcRyyn9KhKqlVhphLk171LWev9KkVwphFNkzSjrfFuoo9qFP+BxxgLSX/V3rFKL7QE6mmErqOi1BTUY6pFCf1K810Vu0vEFbhc8SiZSPV7ZCrJuhtaWzFdWwfaHzARWkg6EduwTl/X9VPJsJinU3wxbrc7UxgZZzQD3h0YMueyk+HasfyWDRtk/MwHHk1WseMsijr61se3tLGo+CK7o6bPT569cfP38J6yoo8ocIpVa8TTUuvNgUjjmbhxO5bsKWDhVIPFgfSb8OV1xegQsd3xjzmPXvfv6J3Iy60XxzKc5ppewJGv4p4/iEbz+GiOiyMW6CNa1noEKdPU75N1Br3s8hlLpsWukqFjHQXFS1UnZArMJx2NgqXnvhmM2sp8lukP1DDvIqR9dvT3lp4YEsy8GI82W7OoMKO1zQYYOJ6nq99mgrjb1uEUt0/mjFBiOVTpRjCNRV9PYZICfDDv1Hpvf7UnR378WsblQ3TKkCZpH1D2J92DC7A2vdBsxq3DXFjxMt7fjAUqrXW/mMTa/0IDBwlPCiorBg9if2DRcQMnWaMs7iEQHIieFT8n3RSqCXiNlBVf0x9afP/fJFAHw4SinW/LOdg+pB2Ko1UyI/tK/6uQh3J02exhtCbgggvDvW1hO3/NmQac0LxChtnE7VVCZstVuqVlEcGfWaUYUFoQ0VMEnw61aPKoumNYdq849biVIG6kEH5m/Z68FgodfBgxP5Ro8i2OsJqR0YgbAzHnU0TEcl4dQsHvTO13KRWflULk4ixKZfoJNkCSzvw0mdt6cVLEjjt2PH8fHMqNE8cVYjDoCT30p6En/CNmN3qSskBzJAHqqBa5p0FYw0mDI5Li9e3DwII+dMdXkZ7c+2MpL+GcatxDq7+5m6WAGJ4aqEGDRtkCbuieOsuUg8XJggUz4+AvJvikq1x3fQY8qPIdJUkejgQbMixCrSi7N85RRJOMFmN8V0a7gEghDEMGBPhdeeYlobpDqT28bhtnE3a4hggFhGQjGDAyw+kfImYaWimEoHBR9W4r3MoSUwag71sTPGVNqvE79AsMAlAZh5iQKSZQmCCMhtGAcoiEJxbk09tPbYLYoJVn/HkjqV8jiooRUVM/acLKJjHyGrI2/Ujt4V9Q7elj01oBTIRUMjT1xJJAJ/0aXd8H1B84prJXXoF5/BoQ1z+xLEbv1Rdd1lnndbnLuVxPhRJXv0ZLRszwtzFOLqLXofwK3kOtLV4e/JPjKuoj0yvg9QOF6bVOetCAvX5QVf+53QCyQU5iCIU3Y3doeu2+lKpmT/TMVas5a6CLyI1z5SdJv85TkSCG6QiSeUZdj5oFDVsq6UpY0Rjwn5kTOWZwEJ8hm9lMUJnoczZtm/AD5XLUjfU+Cv4gPJIRHvtizv2QTXdDff4qN+6MW2K4Ie7qkRtQ4Nkad9UgOMQEfvWYXdZP2GoySavxMpDw57U3vrZCV1uPmYrRYjRrDNX1v0HhA5hR+MQA80rZrgec9W3x9soI8B4Lx+6MRILvEzGRHhyLJlt+ai+JqzCunLZzYnGbbLqimvzCpwZYPQRL7+43FiSwl1958LKobp6XeBXdsVeyJYD2ClfIgZwfXshN4O5GXayY6ON9vN9tozHCP3zHOxuAVeffhn5Q9qS8as96RWDu3rlZ/nNUt10WnksZnFwFXOyrR0Ouqh/8W4SZ0A9VIeJhkSl5SM4vh9l8rwSXZdWkfIE9FUt7peznhyx96iD1Hwmvimwq/YQ39phDPcmZkrT8+PuYwd+eDqjUC/R3vUL+u8D5Z98/FHdwZpPClUOEY8goHXz0cQOj5f6bUNJfnF9tLL8CNmDmhmy+Qcgnbookn1Mkds0qyHVN8WsmrwnChEos+WS806wj+YbRYxnQfZnYdhzLwVrbiqLpDEnTrHo+z2xVu5L+ol8YN2I+b1Tss/k92JKF5aJu0pOef/kfhzDHKrq/pSWTBNKzJlljWYVIISlLani8xFjiuHSkaXIDQDccJmmD/RMuoqipDKfrSIKI9aTTQSH7tuPCxhIKiLNabSTdybu9t+O8EezKhZNS10IRimr/UmF0feCei8qIwS/UwHM6H4sJgXwNzFGzubXczZtUL34QAKs9WJPEdRjUXbM+3b71aO38+YU9uEDGwNHpUBBwNQFX4WBTuB+sJgmgWPTb2L9SNE+v6tUpL8M/EZJziFDPU3DKAu2dwn7A3bC4vPxLUy0dLPzSoYnNXXk+8ZhUJmQ/HawIB3Vj6mSBsi7Jl3YdnXNARMeTEfqSZ4iaSTQ7D1X8IZvQLCEokPZ8ktT5wpUJo96w58+Ckqf/K/YDLXX4n7ZFORscQfkp3YFnv4POLBwPKSwl+IFLXPmzEsqAX0wm+E33YZMncwGOVRYyVH2Ib3ELCjGE/MC13Lulq61sayd2JNqPKhRomrOJBKursXt9F0CrzfIzKgQfjkrg+U/qVpRZRlaUOfAHoOZV586ULj82l4MWgYyUKVjEd1WJrJyBZQl3TFmyCHRD7k+x1/uShNtpN9PL8U7jSlPOB6ISge7jnPyf+QGvhEybtEeHKdf2dNT8XJ17XdTsRDX9wVxNuIhdYMB1ahz/ZU4LG8pSKTsnat1IOPj369aUl2pZRYtG0kJ3268Rb2PyzpicsKURGhX263YHl9AbU1ifX0cS0UPKcRJSjETcoTF/rX00sovTtn/vui78Rz+nXTsHispZPaS4WxkzIC7qdxXRUjEN+DxfmeVcxn4tWDV4XNIblpbCvN0tQ/mNZB3i71fj3CM2gmeoZ24T2lcWkZITlVOCFpHuHDydzAS5BgXhLLAIUKsOowD6+7AaeTqY96hxaZvWbrF/MtgQQPM5DHHWU8L+6wOxiGOqKI2D/hxBC40ZjVhNmwZbBlOXIBY8z3EFDqH+C1hhduHPteeIBZPW91p4QNHCXuVeyXMm1of9Yg7pYMTHFzSGVTww9lKTzLBzkSVBzKZohEPDr85F/NUEsncOMTMzbnR9rRJNNhP66cd07lH4RXJtCtvigLoxuMCUXzymIhJT93htK7BRhJc/5UfxdxzJSNNOYvMQfnQ8Pdf2i8zFBj5xaYOKe3hhlepXI8LHt9SDIod92tr1dmMuyPdGxOycM7c8ECfksdP9r3b2F6jkBWeirLKQJxkDJfRwa79l2jBQNGXo6gyXcyZQujiWj1P6Gxm6upXzDPbp96qNFR7E5iOveGtzmf42zxNw7QTBtF0ByEhF27t2sAEdaqMMsmZ0pkyMa4SaCG65ZWYcrdImPmm14NWti2CZHGfuybMQ7TF4wLdypbJUsha/vlquS/AJ8YNvca0l/ZM517GO1YOgOblMd7qxPdJaM4Q2TRw9zxcYcUb87nK6e9CUUfeNeY4IGJwm7uymJ4GJLlsDNIipPNNAeGG1VrnKnKHZLVF3Oz174QiHTu7LPpizTKMB+/0npVOmIShla40jQaqCqva1g4nqBijmlItau/bbHQjfAqXZvOThq00aSVCPc8U3bUyOM3gluL4RcMaK8SmqV8qRWvn/Zwqf2svQaqTQmYGhM2KycrUP1BysGFuxfiKQg0cledPgJcXuTWa0itOjllCwoCgNsXQwvBrBnsO+5TMCxw9HoXZG0+V2Kcg7ES94UAhd7ESu7Qga00/gL0Zkyjmyx9/APEdg/D7RVkbOF4gRLt67USO9SbCxL1D5ZMB5oAlxNQtzTtSedRSi2Nx5oZHWFcAZvuTdssmFzFUYNZf5wVOutApH3J6DXYbgbIjmuCw4+yM6X37Pp3tpR32ed1J18bpB9Nj57dBlPbSbQBHOBUXw7o48V8AzoTH6OdNQOtCk4ggKsFVwer5P2sEEQtH+BaKpL8ISHLk/JSSNhmSa0Zw2w9+HY1n7DLVM76vXafOhtdatmyMQmt6gX8POc9aWmiDnRSRllNcreQizYn3/UnnvaoWBm4Ku6ZZY2h2cssQOm7TKPoJaKsRLpEvsmJ58IZl7RHmX/fFil7H0yQHZBLuqE4RJuWUU0sq4KGEsycYFRt5fY25YFVzKMVvhAglist/Y5QzY/SJ8Ras0rwtp7B7dZtB7/A7Nm89HkiibB/cHujbIEO0VXxD1Z4bL2mJH0Eea8/8L5jhBDsay/3CS8SgnJVnZKp7TAFl0HpyH4y+jklj2Nj7lRslFJdqz8h8yHzUTqgMvsvF5eyZrAu9rhuZI2SQi12qJL26wwJNJiHWyJ74Cwy5SHKxx1h8RzRwjhfsvMXNUPuXTXGWs+9UGOXGPNK+QSaWNarEEV4Pm5dlAz28GPbn0FSLSK1kY46fugvEiDjJBsYwkI4uIHo3yjHSESUVEPvmZKCM/3c9fNIWNHEzBsEc19fPKzgednaOZs3pu8qLTwKsiryQF6E4dULmwMSJZOnwXklBoE919cbSYbvPW/wfmY1q8bum0Br6/L+MzD+bQxAoxkKCzs4+Z11iMbwiX6cNoV6JGYSxvUFy0XTsII14DbPdaJj76c5cnsYO3e8T3ZN+X3Tm4yNtQkDDJ2RG1YxdMNihO7ILOBolBMe+vPD9UR26TTCehz5gQEtTYBnFCVOelIjEl8JCKG7IGDS+Cnu7h/bb8SQFrRk/rD2OR48qAlrxTEbeCkri9sOk0YjElgvGgsx0G7xcjsLKuUNAhWPWN7ZtGzQ2ytRVVveTFHB3TENA2UjOxjiq+dhNKKbd72yc+ZgUCS7xjJU3mwk5bwcsTK3UOZ55VHY30OGTmpXzJ1SwV7eK2fcaW2vVyTW1Hr60JpIhB8GcEFmSdMnkruOP35Nv+7SN+NxWTtdqidw9/erIxiXEZT9949qBDpF+L3Ixlkfbtl4hQ5kTftOu/QuxoP4kxMDuUowjSIwR83rxvPwbmpxYVZ0gPHEln0YRoAR6MFaQx2P7X2THaftIHPu2emwQH43FdTJ5e4XPKRcqAEV6n4acyPK8EQE4fxN98jZIJHeUrdXa68XnvZ7ltnV9/lOBQaioPLRmiCSV5fWuyiFf6d2jq8NfoKl5YYjdNwufLYbiJp9vQXZqPqH9bxCOleQp0/8/BqG2LIGtY8k3vKWVUOFWBW3aJ0vJHgn1jemBei73ZMbfuKyQTjmTMTXkrfGEmWSLzTD8bWnWuQtVeYp/wLsKL8+Zw5y6gLaKTlWEyT3gUWYyFrtSVwU/6aHVsNh675pwkFwAARBVbItb0hIgYVz5pQxV1nk0+PrYx3PIrGB7BIIbmB86SCx795mjpEWcZ+Q1CQAoJWDrmB3Jv6YuxRICORIMiUeMBtlXC9w/A77nltwoehIjlJd4/zKXM+SlR8uj8ei7T/y2OkldAV3sP/PRS9xoZwcGQEBKKtmvyjtgH+pyv5kKO5CxAb1OWKaMWwhh/ZuobpCe60M/WE7qkloP+bV9XTakwge5KXapkzDxYaAM2deO7L7OWJFLoN6UYuNIy4qYF4UEoRN6ICPrnQ4csR6WYHXd8b9o2MyRwO5o3R3y9ynTBCmI/zVsL/jQoNmjr0miLDWIsSxDEwFhGt4jag98l+94rfgcc4hivLt9vXC0inbYipsJ9AneZZilNM0Fha22KYpIHD34YBTEvYm3XLwbbQzJevqIXkmKMSSaGtxvDbtDfRR/Kf7UbriGOsXTOdXowUK+Oeb2WpFRKG+b2g335+efYiz+kFaZ373H0G0fmtrYN1DKX5jNZjpL+0jqeddVAnRmn3UTmNDW9McJaoA+buniqlHBFf9mMvx8KTeaNumJrqTlNSZiUtw+ZofFO0EPbTWXMf5JMebY34qT2iC5AKAGitMHSlV8Q4h56t+LaijL246mFhPAn+MzPkjIkSytICaCBRgfzraKo2e7DQDAy4FpLoe+vy4EQQ3wrHplqV7YAm8NWoAs2TEaXBHpKXrCO5LQqC4m62WV4zoYnqRBz9BsHTC8ruBvM1qcjvimnMoWrVNbZQrcQHYj2yHmBB7H/fhU9kWw5LbegZ1iDEcV8fLLMl646CzVnEyUDaz0Mrgc9SOhctG3QM8/dyksGGxQds8FFNF7c5fxqC+AyiZlpfc0OG+5Rh/AIo/8sE53wwl2g6ZOUuKqHEQeBBhfwj9Mj5hNwKWyxUKgQ/dH+68VbJF1QoqwhQP0VCYlw9IFX7QUh/tduD32d/cUuDbinh0QNfTiQ5sUng0lSwnRpU4qzGoxKpfQhxapI0cwlLwDTbmHpFf/hxDy2U68QAvmazXANEVJZXdCQoksHBhyiMBUyfA2oN+uadbp5x7BgohCzim9vmFHsHPYa75ibj3jfr1TfNi149eWz1jsGMQOcyrqxwGv0e5Gz0rcsOBW0ci0mWUzPTi/7USb63DgeGR4BIMwyZ8DadYcvfCo7xeEdE+YnP0WENjNACaMuif6iWNbnFmUUaievnJ0/Ng5GNNK3fQSUYlAbLSvgekykNLgo2DF5HZRVRik4tqRehLUHHGVR+V6Z+m+PARJnLBduDeVlv9h8alodLIM8LNDl4K6uk0Uw2ycKMIanetuTqVHiuHc0wju/I7Oi+ZThv2Y9QooYuog5JcdJYsoZjtgpBFLVW7VaavWv0nXU4LF93twzER8o4wd8Km6db0nBm/0kLOSBb+X1YMeG2Ko2YGiEA8EL/gFF3M24iLMAQ2keJpfk/ytENb80OG5gMYKlEzlEZ9SVspAlcHXG696M2o0V4mM7E1Yf2MCDE3rFrhoFyZUHszsaFx1KkjldRF9hdUpwN1VxeId2YS9jXIaIKjXCnuYJMFTGS/VcfJ151c/zOixyAhfRC8rERT8ZfhTjMgpV1HBGmCItW5L8VtFQmpmNxyf+Z8pMj2Nt0Rf9N7JLaPZFKPjBUWGZKN3PPaxtTOCElIzom6//plI0Ds4IyDq+LGTPahnJsgqHNVBwUTQQJCcheLwVi9972gIgiPS7hUYmMiPjZqxFmE6CKF0IP0jz+AY5Pgzp4tgZIALJoPzL9g9czhNIc5PHVURwyHHEorvXh76+fEpUKxy15TtE1iuI8xs80wT2+/a02C7GjJxBbk6eq4mLPybcsxopsFz7OnIwNGPUuRfLelXnhFuUf9L0oADqJwyMlj4x8XItUdTYwlGcMi+s1jtn79jr86ZbD6GXvrHB6CXZcJYWlMvps+zOgdbw/B/ggULboSr+0gYDBIo3xUVUyL6H5c6xFzwgb/nDJZ4YpsZoz1bDi6nBxT5i9FfSoLXxC/2SlrL9t3UudsF11capCrqvRhktiQoNKyyUdMXfnAy26X3YCmjzrUi5/lEhmhjLmBYHH13FwMUZp8UP0Rf1ZKO6BWmLE9ruTtIn6n12AG8kqIDJVOd815MniPeuQGnjkn7IPBr+S9x02OJkohuMsX0SGXFhZzLsGVI/igqXTEsH1Y8mpkMrwizBILQsOh9BL9IEIriNU5xQ4IEafn/MVLCkJMVs40Lf4qMfiKJ62jCbTWZJ9IJ5Kq4nivBSEbpNF09RevoxaLinN/85eAVaBRU5SHPcxLHKvH6mx/kiGc4F5izDlToswKyKzy0V5q69vpTBHe9DsyPQyz0YTAowRQlLa9spylkNgIkvCS10HMbGnGTBUbeCsDwmr8LPuL4NWga+I7h8nWInEPrJlQe5TZ8y7lpOMs8QNAf21bHsTz4UiKPHK/zebEN8yF6sM/F8lcxIQW3BvIPeIgiUXKR1+YnVdY1NebqtwRzNNRroI6d0UCijTFV1zKC29ZME7//hZ0lIJhV4EVZW0TCLwryEkcNYTZ4NWhQA8binodk63IudbVFPvmux6RFMRIX0SJwyXd22zGO8u/oDgQvkeLZhtjJzDVs87HWBdglTEAP5j1oBOPQ3G+u/R25p3JS/z5kj8U3FEgDh6Pp5+YQIrc4akulylds/liBo9Kmvjt9h3/b8eEOo9kXqnEW1RC5pTsxaL9CW1TpB3Pm+XtdRTsDdlklG6oEQ2XtkgZ2aTfYFr/hTHgTw0faSww/rI0rLdJjQfh6xY9ETXiGuG7VTW9+mM5m37/bveZ+x4xt/Iu77TD4ZLknOEB9LMRmHgEkReK3ANEkEu+qjmdG1vKZsC31vBcylTmGq0hI4z9lg9sfPj+IJsPX7IhlTOy6WmXtw1WoHnsrc1d91LMM/uP1x0IBxOKMUoHum8KEu+wzRPlJUc8MRWi8yr8Xp9MzOXeL7975Omv2oGlVKm0E9M/Wlit/9i8nyYfL1Q28MMvGxlc/gjMvsTwHQk5Q5p06mvWz1pOyvMu0guPFoXvyBQ4FJMjuGoeFq3mUWkjKufM7PssfVsuV34k5BBq+dKyy4heJylYBj+sWRFm0fzay3DMsV8StXQgJ3p1v9sNM20slTf1p+pnK7eSfQobNwUL6NYTGEIa19o2Q7309IeBUdq7bdXuDpishN7WzmD2d9e8KwQflhoXx1OLY9ER7fQJExcN9QYy9FjGeU0OVp1fS1mYTpRQX0pKQHeIO7L2reuG/REkS+d9q2RNvxD3byKDoyXqxVl4HopBc8sQprrhjd/f4/SKePqd/7iJEpsC7Cq1BVnkkWLnxuo6WZHg1Jvu63//uFgGcKVSA+6iqvkssyxjTweP1UNsgRVO3jZTUss4t/Ehc308zLYmWxpj4+bJ7Wvz+XBKhzUEXYOJwXrQDO60pPfgcYdY81JyeGvz34r982H6UYYPci4vUVw3DjC5ooJdraCkKkIcXMpXt24T4rq2he55kHlLPM7nfTiE86v6ycO5S08DcbYCafjjlocxDcPSNQK6WnatxUNXHON99X7a6FUWQAtiQ2tmsRAe5KqT1ZZPyfJ/i7TmfqIlUneH1Ul1i8kLl+ozLymy+QsWbR79HR3bJ3Ye1GNVSfhPxCZz5tx8LdGDTFVMEPPw3F+eFwKkEMTfCtaDNCeS254dxx4/Wa+09tOonNvdliswmL8WcdY9h50Rr/u9/mNwezsmO8R0c46RLwTYuZ5F/arQNPX2oJ2wuKRwGIIWo3+U7KcOWMAyIokNA/S5IUNE4O6ldcAtOMaK72lpSJbHQVkJweLeEc0D//fp0OhE0nOJbrBdcQHRtMSf+1GApfx42PXWALK96AA5KlQWcgNefEhcNMdD4N6hzbeBLutMpcpYuDVIjQEf9UD7KohG9RBPN4rP4gAPw4gQCX8tXBxevyB7GeYuDGMjHYSLBm1sqU+gmWjIMhMuXMrrGZaof6eQsIx9FvZw5+gDLSi1Wg+zC1ycZ1nAK5D4/2SwJYmfmzZPVDusJ9Wa+9qA5eQS1hYYcONCcf7SKqEYZhWLZhAtjyBPi1HR0y3K+ThfgXgwsIMVlPYk2sPveZNLSamIAGZdOHN13zwPvkQk4egV11Adzpp1KmgOzGyx1n1XVv2TG6nyd45h8mpvpLb6jsSmUVHHK+vNItZo6k+PvdJArNysgy+9W2/NfDdKv95FLfummK3u+Bn94txWcXPIgmbOyRI5PyVYB0V3t0qAUW84W40DEUrE+HfQaNIoHtHY63heK4fzEwkXtn58z68vY8LRBthAmObkyZnBOfaCQ+LrdKLWXK+QYVr6moYaWT11rgtb9ZpIw2aUxmfJlz/LZ0+yeDQ4D4lqOHc8EpoWAeBk1CjgtDFfh2sTXA/pxxDT+SRNiFqCp8kOu6B3AV/L5ofMXa3XHzAgm2aPAue9d9j3aiSm16bwOCVRM1cTclOqtxxlpcIyWpfgc95PJi4f9ud1W5kgsDaqljw2z9lBmozWNF4nPaP0f9w99FuVSKAUOKyZUNakNOq31SihRwyA4c26OKEft24tnIQK07enkRDoa6XL49T8NjZLD+/vQzi6C2BRNB63ZKpzMCSfSYqT7TArJC58qhpD+qG0UFMPVLdiwE2D9P+yHoOMj1Wj87F0St+Y1EqIg/kZr9idXqTphP6BPXz6kMiNYqlSGk0yxFy/eHGOuoxeOxjLC0wqClM6N8m65+Rg/dC5pyN7y5j5DlwPtSx39XtAOGbc28z3KP9MJJl5oV0HXxQXCa/roPT4B0whaeUvob8deHePbKUx5DqjGuD/+ydZjz0NCvu+sQoo6Ru437B3aE8fA7jb17JD9DN5o/jHx4/lgJ168XgPGn5iBxmppu8PbAjDXbzru9whJrYL19FN0ctRai6fMzsQPIedH1MaeGZNP8sBz/Tq0QXgmisngAedOtSE6do9+OPuQ+BbWr1qnQOtiDMkx61D6bfeRXKY/b9EAWLOZAjQVICvp0O0/7gFpiJcOW0eDQzLHYrW1UwHDwW5bBkjT8prSCI7HudonVZxJhM9v9Q5DICsnq3DpTDAZf38qscuz/lAKJr5gBJtkeOdU7hEULZjLUOtBWUWLEWGQqmqetUML+nGJhj3HuVi/td1iEbSXmfilRO3ViT+8GGjyaMk8EAqVrGpMITbTsVPZR9QciYQclNUW53AZmzLX0ndzCgSC04Xtv4tkMzxePIQ37nh4jlwh6AmJdeQTsDR1MHnVu6/XjiIszfjdQY8nMxXVzfLJ1mtXpMjhkliNQapDqTT/c5ZAFP2QvmvNbSIvJY57SoQUP6pkzviDHUrONUG1z6l6ImdtxtauNSRHVBF4FG2tzdA3y25SQRvmiXdUqpZnaouW2K9GR27xxk88U2ltmxbyG1Q9Gp0h/O6/AyflB9+y6rGm0Z2DVCh9nwl/GUC3mw4NedZqWk5PH3jso2rcSHTe5o1Kb40WXFd06+BhdMkXBwVcU2fzQoHA5DoCc3rp/Ylx66R7CXQFARV0Clew224ry1KSPprhTiDCXzdrmh6S7MW8EGI/6C9rWy/E9zVXIvCQGLE4ipLZv1uQzOnGp3knrth5SfStMygQnCrWUFE6PaibjlUW/8+42ashQLnowo9uMZZZqNbo018FQzRbgNHavPa1xgRtG7j+hAshxHRRBkTL3eXz0qJzoUYx8apimlwvyU8rbTHvV6fx7vgVMBdpQbovVSUturVVFfamrQRTmoedfuh0cKgZha/rft4P08XNNCqXW6QsakW+QA2lc2hpVsJWJopsWf0JeNB8DimE0DFnkDq+go+73sDBdFM2ssf3er1yTe96B4z4ocllRZ8DfdcIaQtcdDAZK9cVUNXsuiA3dCqOhoENgXutUXthnXEdekzisK17XWnz7dDz2EVfFQ3vS2C/2Cu+XhJLmGh1M2KfdhZ3doc8CO1g5z6QqgE3BGfC79XUD01S71wjjn1zUVgy20I1ihH4Xd/BmD3srSGduZwvGhTgakEZbghpU4hAOG8LisF+Er73qr1+O2nG+/uo020VI/qvRCm8ojelhcHCHfUebjf1jWhbNVkyUpVwk28viuLLqI5Z88+/FSeuA+Bc2NsJXEWmDOZoM5bLPOcw4OWApMdClWd65alaorGvGvuDidpkaqIvhGPVjA/VhGkP/SSHB0/V9N/IY7weHoPgLY5uXh/Mhnc98YTKntQYFPNbikl7b43wgPSg1iTSDFMWHyXKDYaOZd5aFv+/eOKquxLioUsv7EiBoTR9FSzHeHxhqFgo7a2IwCH/8ZXSR5ki8RPNKUvsuGA+GLNwzkVEWdaRgkl8wR3wFNZE064XU7Fn/JQPFAB8L8W50jexYtGTypQ/gXjNAdGSvgObUQeESTb5j4hrnyrY/p+zi9uLMwd6B5Z7+W4gYxS+tZK1FDlMjTk2sHW7Wg+yRrasCa+Ghptsc0gvw/1bL2wvGhnGxSGRNFJ3U9eckJg2ExJHrmv5MQNZozG/NBzefAPFMK2MHBjnfpJSRUrM0xkMfe+uysPwAb+8inLLXFXeow/J5Ndd9ss87sBROmnkg58bDRgVn1J8nsV5yvf0NiC0N0Wo81YLsQw3gvW0b4NgVg6qmq8m4JhPX3b4HGN9cLwgbBiYRU7XNLDeKiX2k2XIcOHswbkezcyRmtel1IRnlJT7QpbEP8zvwj0S2yEZ/UopboC5ctmbfSU0JAXApQ+7Ex7rBNhew+nm1jHLhfHewU+AEib8Z344YpVyWt488KqMr9QyA9hRsPJTfe2SdYCC/4KFpyV5OnawZpldRtowGONBZBt4bjXZnxbtM7vYf2uy31Sar/53Ca5L4wdoZUSaFJIugBzEJoDNZeMkVCJpzynX8Ao+idvaJGEjU/F2b0vvn5d6MqVu8PtKoH0PrmO+Zk+9TK/8CRjxMZCy0sbUxRENcy7GCpW0vokjBKxajkr4AcD9Z8M3f3F1YszhRG1NcMjYkA8UVh5knMPn6j2tRjc4VliTTi2n+7dVPckrLoeDFuhCfI9kATIsNqiFghOZkuzhCmtkJedO2NcLK5EiZXURR9pQHounk+QEvFK+pqsvNHe+BfxI/qEHLGG/QL9eRCFGA9BlQP0vQO6hzRVwTAVHbAr382+ZbY00bD1qnmT8c0kUdW7NQPZ8aVSVkz50EOYxbtyn05xqEM/q9D/jJpanL/wM0LluEyzbaoKzK4tezH4PEVisa5Z5Upwht3F7aLafR6SyyU8mlzmWD0Ah53Z7Jt5FZZV4ucc32VzqGcdWuLBzV7jgf59kTyArgY9jcQWj55MsJRfoMu/COeISIASzWVbzfGJu5IDDWSXB3By0FBDaXoYLZLZu+pJIR2U5o9rL3cVryNK7GzmIy11OHO6Txh8Bzong8z6Ik9OI8kQLh0x191/PvNstEKI6R8pptbeUS1Zgc/D5zQaKL/hubjrzXXKZwjReIc6Xh4zWyGde/YxWWUy4IUHe9SjR+mWr48HtBjGol/xgQpc1MV6ZSFO2Ehu8OG5ZxqDDrTCfF+MDG9o6oeCEtSL8y36p3xxfekxEJc6KA2p9YejIw0eTP2Uk6lwCTs8IT1MyT1tiR8/Evp1bbslYh1c5BlLc96r/SqNwMvjN2SJhp8lxf2dXw1eUuY91PmYkczU1edV5I/8yeq40uI2Gkj4vbENfFGQcXRfMAFVwlgjvk2DYrdy+AHOrPAhut3KiP+JfXAzS3fuwyuEYxoK3wD3Gj2iYatRPsfe/GhJDk9tvX7dfU1r1T+pNvqdmem14jsb3xvnYUPBv0n71phprCs9wRs+fOYosfUJ6pJ0MPN6tQnMs2M69SVM6sJc86naH5VsT8T07Cbf7nVzISI//oyCQbY+qnPlVEbmXFYbRINw05h1qbyuC26YzaG+WreZ3Sby1ovnTlhVcSzfYlSEl7CtotRUVjomNfA2ZXdma3jgfhETs0Zs9WMq5UV8LU0q8WluV5qccx8OVPJ+6MXOz/MqZfCABA2X4Nxrt5JIMaZfSXx0YhuJwNLXLIktsuMFLnGdSLMwDAeZxcjNGhPTjYmqNWwlbusjL/z5qIL73Nl7eJZLlHMcbGCHnZG4Dvt6oevf5p7sdLorX6EUm7YP+3KMeNx7z8hk86hvfRUUG1vJuLhu7arrCk3Pm2r8oI/oxumiUOXWIVstgpA6lczQI+WSjHG8xsWayRLo0rnRVb0U10f0bnCnZhezSl23XbpBhfsGnw5iZUuBexREbxEgDdsborU+Bxa4p0gXjLm1U3sVju7N5fOcduxI0FpWb8CKOc4AsFLs/I+Z+1RW834s5hIIHrimvNxzM7ge3zvr8O4OrvyLDFOaLGk99rwWBKz6poWoo4AkFtTIPpccc7pouIojF0seETNm+qh48ByxGlIULn10AhNOy0hyb8WlpMjJwZ/fTXSQN348p0onoCOejJYW2phPTYk9ZLHv4ZOk6NdJ/mSm9x+hJBu6UpzCVVj+T//+8Jt2ptqUETIsnMzg2pegI7jwddv7ugV192d7iWfmU3ZgJhld6QCxoOnaPpTR0md1bI2ZKzzb3sSFo0X4NkhTXobzFFQtG1hN9zj0zpbnJDZWVeZ+1nrsf0Zs93A24GSqbTqOWlfCfTBOuJAwZauLNnOC3JwNyTb17fL3EYa68yv+4/YnSzQIO8Es+KX6Lwa/x9MxIW3+0Xy6szlc5+qbAmDlgda8gNQQZKW7DPfdTu6mD/b+ydBxJRnsbXr3P8pdl5l+T7meDWrjsJ32Ase442SKkSIYmn5f6/hD8XUjepiYud9mfxyLauJIiB+bRJwD+FGN7/CsVcitPrt+zf6+2EQrIvqLkK1mpdO8oAT+wlREPY+Ns42sTd1bF2AIIX156slTvh9bWxLrUeqXNeJ7tnvWMiznPaM0ifqGhYXnN1wKyNRQCgjQOGwjcLbOnl/zn3Rx2V/6yX7PvKa9Gv0nkQ01x3LF9/CGRNeeZkFqvmmdBaCDx9BMUN2mUVNyv18E51oqx5ucntHDHbwlIIKPqTcN/ir+BskSzpV3e/d2GFWr++oFkaZRu/3veKKyDORVCIm1GAxP2lw0TsS0A4lKKWHCxHTQ2JqYJra0doC/D5/HvYv0bVvH/FzYBe+8Drx+BWPbNArkV7v6WGDKHazCDUGpB38i7AvaffXkIUBTQtaRv/IE0/fz57q9LbXvnN7IElbSNtnFh+IWfFoTjERzCrLd54jWd/ZaChuqJ1z1cpDlq08qpjuDOng113NAZOzGRapi0rjLFSCKdTF/e20rTMfOae8fyEripMlPGtKPctGX8WGH69OjtCPbZFQrVprndfsn5oTR6AKcap+Hf/QJS/82NDGtC/YQl8f46KrmGe7VlkfVMFh8UcAUIq5Rlz2C33Z467CRHbx5OF8BdnG4ZblxPNEmfGx7uUIkaC4mbzcO/2OIUlSMWXHq1fYCSAAXP/hEOSGXw8ZLeNL1ajB70jVBvcVQBRF1sP60y1GuvMLNEMa0PfInyhRE9YAjYY35W2O26ptRVMM5hX2GvhQIbNC2s+ffyTLPUVdYTd5PYuRdJJNC9QeTY8z6I/TG42Tk1AKk1dx1A5EGXWWyoEFx/lAoc86L4qwVrtp2Ku5+GMnKQlcZtNMtm9WZMtC5sohMbkjgnHOZYjJ7uCFOa4FG95F6hxFoAIC4JPY3atJmd1Yd7jiRLMEOCLnqtDH/0YLsoUc7v15uJHQuFn1AKy+UBrGRe8e/YSxLfYUO/SE/rg2VqLMSqTxyG63+lWkEuFhpkaF+cLMRjTRcoKtPJOTTIKH1p3rUtfLAqfOxMPrvsYkpnUXwfkBhWuio6yMJnNKvTGr6Oh1N5GIR81ZTGfQg40dSo/Nk08ch5apR8R0O40gcbpkOs6aKX8UyM5gn0hA/YbSe0d2CoNkiZZsCpmVMLc1Jpq4Bmtr/gcPILj/YZoZ8YoBSOrQ5pVyVPl8TePiPWlk41Tu/FKqSthBz8CBRoQWHvbp59tyfWwvLyhz0Zm7ZiSYT0NSGWgiL6Dpb0LSSzWUfiIR24UmtBdcZye3rw5OuJ7VguZTVB3y64eFgHTLdF/jAcYI/68BU/5ElX04fLiNKlOWQQDt3iKd2mj43ux4GOtPfjWsiTXyRDoph2gw1SoJK3lXO2jPjpx+BqpMa4Pz9ffj5r3qdZOmocOBQDZPvEstaVt7O+UuiY1ToTyDv0UldHNAZGhr0BQ7C8C+qBkrbY9pCSsRfTA8cccFM5jQwe0Fj7pZc/haicu816MwCR8884RsiEkuHor45/lD6FdDrJXXjA4ZfwVyon+k1mMHW+NADrSnmWiz+Wb+nrYNYy3CtmqqmHWvERyqPNyVQjovVe1doU7VfVBgJvdLd7nuKcVH15boJ+XGWT1fkHZzmc53MRLvxj/kp4Bj4wRUxN3fTNf8I7VUofAOZbg0fwScRae2bWdLl42380PUqzhwhHr4SVXsNg64YiAVIyUpqFtIqIEiLDzjzfQHi+I6wMR2cXKlgGYW8uFMZ5St+MrBuhfGy6W2c+MOjOTfYVZ/b024ySKsMA1ohx/eJlnUaz4DTB0wgmqaL9DwTC9bNkXrZCE2pwmxhMBYfP1Jzo95IJ7G/CEp1xe7rzV9i3uB4GanBtSCb0ql4rP0//dLwJ+D8ezOo7pXFBMLQCoopxBJ+GPc3P+ZZzUiA+KhOMb2Qii5KRPtFlPgnuF4+vuon7I2u+6kwpW7TsftYRsf5zTo4vk3kOvN/aru9eqMjeIvbJuo5ZevmAj8++rsezCrtwhWD86JNGoHUA/fJ/f2AcoYVIDQ4Bj1AKnQbo+E5JFwXjSTEuVRIgNnkmnWkw4mRy5fB0crRCUEz3c0AyTJyUN97jwThXimxWTCdcEzgvVSzIeO+sR+jx8U79hYqfuSd4SvuWUNN49aQNXUuCDFyEgBsmg6f+r/Z7cT28Z+eRy2TNoFq1xdQ07jotl7mkZr+BJq9xUVqkDZ7ATXva3D8NqRg1tpz/D9NXkQegfErAv8gkRenrLCSgBn0n4LyOonNiyLpd/gTGult4paZb0Q416tSj1EVxo4ko+rq4TK2STwc4tOlaCSVgaOviCGg3xgAHSrKUoY8sO1bgOvRshd7ANaxV2Skv9nHuXNOzPAqI29+xSbdrBBhygMJeQ+2Q3/al6X7vO1j6J4sC5DOLrpkt1Eum5Khaeum3BunRrSDG7dJNfFOmS5wG8LZipmEbzDsTwtijzJe23W60pniwFOJ9YucHhpHzntD87Mn/MvCrfBlM1BN/97hff2eAeTbJu+zxdjIPFEDKJC6rz0qe923MZWxEKcTkoaDDUHPiwRPitEYFdqfr5N1eEWePgQiFP5YGpWI4EeeRkAswk8nQt4fcrXEWVQqxbq2detWeB/7FobL0Yye7ubY0LZ9D0caNHnpSUTynOF2k26SRKGbNlO53p5cY/bbWhz46OyKa+j97P6s5Om5yHCk/4GF/ZnnY+rf68P1tWcflFfRWK8pRUK8HiUqRUt/DMvo5QKHg5fG/6sFHxtQ80304yY1GaNqppRs5kc45T74XYrCk+B+IJ5sIe0lAaqbkOAjuk4DPFbW23p7Ywncbqndd/LVLEV6Sei5I+Uxbne6UhKDQRqPLbzM2Fu/vh6jI8aekzPun1QoC2Q9Z0DJu7NBnuAH3ZTpTcOF4Ov9KwF17NwXlDUbt8A38wuXTj+3imV9EZtY1RQZp0X2K2YYti625tUurjjCelsGhT8KqkUdnyDySmsdiLSLny8TXKWhCcbaAimf2ZIewUqd+ALZLQHOOdSBm++W9/dis7ZOoy+pzqwEjDmlcDu0KeTfT3ieHttnDPrkjTyV7ROAVB+jaHzseY9Hl/GiA868OvUXUjsYk1CndDJe4YjCXf5+UZ5nRJ/Tl/RoUR29hTVK8JklQNdXdB6K/onXLNnh6K8qA3uGXAmbvJTgdZ3uhKYFkUnsKHN6M3G1aEru4QkKe8oDLdpTzS4/hJbOxyvhiuN/8H06k5Y4IEQ9m5upP3yjwnQO/Y6ssI2pcolC9ypvPcX5Ya7qum/BDTNTlCbtdGRol+vrT08NHloYYVtSfuW7DwJ+mPSErRZ3HQOxp3mu95V88zt5GU5Sjd4MVwJWUAZ8OgTgWHGUTVNwSA47CsZlEM2VwRUseZmaZzWp93gqZpWK+bBSfio+I+rwn0CnIDDv6kHKZlo5HlNE9OvDFTQWa5587/YTYQDa1pXywnJw1h80eRQmXZfRdCtEeXqsS1bugLzsVkPrY5P3mv5KnIrVUgi3iUP/LVhrfQ16lYaCpuc+gY2cQFA59wtX4WrLT5sxrNrMvMxpANoT6CCFqdyosOWF62BZtpQPYW47bCdgksrFbBCCpfvGju76iG5MMs0NQKAL3MZ5UYkg+jaTHARYy9fEgKtEUppz4iPJC6GA2j7KpynPfejS5E4SLiRAcslnEIVnBBAv9Y8MkZLpEhhtYyVD9c4vPENvDLFgprgF6zPbQX+jyb/CbtwaFngUluWmzlbLv/qzNzZP0cMPKq1iKVS6KckfLrFIWX0TikPlJMqzvGALahZsWSaUhFwMYlXg0xu5bXhhXAnM5l9wq03ltpE64TttD0u/NzxqwEuemp7boCz25q7wsyodzaTXa9dLtwY1sTdSe5ywfMi5BUjZHxb3xkm4JiSMwue/RXGgOsMNCaYtoSdz5J9E4Gy0ZFToGNy0rLdzZ3GToLYvwukCM+/KZmfGi4NR/JGdldVeAF0KnmHcN673N4ZLVMpfdtmtCHMRS+Y0MN0mhOGH5FfRdd4NDykATvsKidTTGfqE8uSarTylNAnrUmMLYvqmIAD3pTg2M9QaMfOdTgQO2Sauqt/NJIFaPCdIjuPG7ChSddxWFRdukbcnXOfbWffq54TPzPjm4hZla2KkgbpYGAk3uqO3zRGqIBGcV0KkfXOHyknjvGw+WdIvMwcmM4+iFpigE8d4UYW5SVui5WrlemMEusjXT9CZ80WmaNlYR/NuH9u/IQYoo40/fYjZ2TiwVmrDVGOVuS5s6d59BXMUW3mYt1Mr94zVm5ns989nq77+vwMy2er5Uk3e+LcLWyUulRGAg9k7x/gi6Afb4J76ynVU+ZD0e9eJyYJ7WqZ4EC62krn7hd3CeMTahnTWyyEUcGZc0UUshG3vyKAAJ7u1nNbTiNawWrxnP8XKkKyjSte7jdFrY1dwLkrlcMRfWNbGjsbf2BE6TwMo2fdGMaIinNbactN6+rikxbPjRKnbewvxs6gLwJe14MMLoumji+mCXijGirt+CikXJNfPm3/ti33t0IQmEDHHrPbLf9FVbI45/1LglGDojWk1ljHZJOH7tdCMB3qn3Y3gKkysycN1yH43+VPo745N70fq+dlHFgJr0g1rqJMYSp4mZHMGFnJZiHxrWMt+bPuMpV5Sqo7CGWbrqGu3/WNTGJKJ0bZhX4ND2I4tNwUMyEKa1VUOAFmDwphY4n4pYhPRAHwhGyBB3dXMcRteZ77Z5bFloX78iCfZzFbIct+ZPhQAp71qaD1IN7TYWM4pvFTxYaPv5F6OV90qobYvyR8TjAGSZnXRqU0v5i2gJXoXLorqEczcZoZteYsBKSrovEIJ2OZOtn0WyWvo/+ldDs5+tUZ4vtF0B1i+9lmn4dMATi/eRwFNeELKzxwqxNgAIzlMFG+SwnReFLFRW6PXIhUoLY6ij4cdl4OtiAZQNQ005wCHll6TWfxkpPYjd/zItdKscBNEiD939XxzIQc10rMXd3Q9x6c14LD4IY0/KoWG+RZApJd0GK1uRHIGTnIC3+t5L1uBahApg33Z95r37dhD6/vqYDN1X6cmSkz7o8MbHXf52uS/zeBTl07t0rV0ZEPy1HZ/HhavZ1FxJjo0kvA+t5dvGhEoJ4AvJbPIsp1NRiZp803Y5tMz6LcxJcrLV4Mc0hSZ2nCzgcZsr6gDhNHwemWCDqY4U7m8SknPETh7aBl0ig+XqkeR9Oh+nrcmNlLkDrvWqD6W1fA/6Br/kPDKIWHI3rJ+lkRlsELchuX+zt/8NuCTpztQ0mxTqxiHz3auw/KQiZ2W6w0yxBiJV1eNClgGu9pk0kKYgeHR1AcVn4KYh5f0G+uy4BaNXEZv1nVZX8MOeG8a/6lqxfxcwxCplzG1XFfhQ2FaOn/otBMi0yB4QLiOIVE6HSz5lvZl6CwreLrLsXPxy/5Ia+iK9DwuR48cW8YpVHkwPiw680is9PpaSIiYmCLU5drM8Zhzdj6aPmqnBTosbPMpQUUuje7ql4Mi9+i9c7DO+ZvgxoCTzM3JdeFeh3FXNpTZuHgsAM9QDB6dgaSZ7R9MHO95zqOsk+mlqG0JWjLhEUCaWakvx0ewxQdh+F7UdHPuatl7AilSe5OSOHb+WT6DTdzwSA/cIH6S1lgwBV9iguuCpHnvsQbPV/kWSjnC0tQ+yW7IP62bjlbbuYgurF3caHlMKRaL9mYXgAdkaVNQSd6EzAD0F8tNySbtHYxlbeaHcqhwdyVyefA5LgYPI3sY69Ijl7+dt5G4Rv7Dw3meUwDj3WGTRJwZLAEnc/Z8VmuiVDJ3lyZjoj0SpXzhE6ZipmqN0E7j1lgTarNGXkkCCPnrOfMLPkPhI7qInL9ChE8swgS4cERNxD3N8RVPjo2dPzrl/c4Kvaf6ipW+M/f/b41F3CXGftu2q0fgJ7Z5BFLDJcQPU4h2bBIVM+F8JzE5WluvEoxDL4/APuMFaAIpk2uft9Tv+5y38fxwyPv/39uK7SHK71hilTP0dCZ0CTJywy7LXGUzQZrAOXf+5sA6O2ofkTOF/eVl9N9/6Hy3ETMy18i2ZTbzIHqY5VPCuzPgnvhR8gWZnMunxJkDGlCoE+fAYEv37Ljyjtz0SO3omu21z+fd3ociG2s1aAUMMTjNgGImz1K/QglAjwMbOEFQPdN9U2anZsghqIY0UEHUcW8N/IjQ2E7GBdwzlRRfl/9U5/POYUV7hEBBz0KRsmKIJwkfjdCYgPGEOGM0nPfLRBuhhL8OJKFQgBfaiMRyRd07scOluQPBk5ytD0edQGHiX8frW/ND+89ud4AEBpOpKSbDOk9juY3VvAimQ0KA0vUSIEz0QZROz0giAKj0klsCWIQYNrGZNeZ/HDqqt3VrH0pFM0eOw4jGe2cx7uq5j5on7EeeT85GIXmZLoCx2iu8wtBN0w3vaVdyIeZQ2WNB/lp9OElXhGMRvfJA8UaZ7zbPFtO0WZR7zqQipT8FgCkE/q7YLPw4ZbGdRIFheYd2Y65NzlYTZOFJ9G0XwnaP+QZexjuCGqjifHl2Ujb2pK4TUd34Q09+z2EAcll91fHY78IY1e2ewdtz9Mjk/F9evBsyJBKekgz77CROFKvTxowlsxjQbV/6yg18l1pKWyVlxyJSFiI4nB/FmHsTsn3k1aFoV2eKG/iLJkzCcWIiQzft+oHAPXjkwJlZ+MGboOueBwiOi+ZxhpQwbBj4cCD83ULqTSrkja3sCw6dVjX5TsGJ3EApogv+6RlHJxTCHwvlzP8EVqO6S5Ys6+pllXcCLRNFNKPg/OgMJbamxWT6mmkmYVJeRxCxCJQF1XGnuW99ggjx+oM80Ii9PX1yE+PQ6W+sAdCCdSh96ppNG0HfYe88kj59vpPuaIvKM5PxQ833hD+4p3sWxxGBq2mbbSO/OwzAiv42OaKdKYMlw9xbNyhyE5Hdm6JAc0IBpWaMXL2khvai/cR701DPFxRa4sDV8JRoj2ukbbi6t0Z1mwjsHf/F8+tqDimVM8JD9ltzkDMAPJnCn7uSoRAZ0QaU1d6v1XCs1cYVNQJ5X4H5sY/IL2LqGGW9Gb2uMAo0ZzKL+Msuiy1xVleZqe13+lUcTz0UIjx+Z5jxDzoZddlyrO4hXgEjRM2zp7iuCNi89at+Y6vsXz7FVbutSq2qC9cNRIB3w+FQzNvsHihspDEymH/ry9uj+2D5m6k7MoPGfUzzLvnp4i58ACFB29FUiZb2lWNCHYkh9i8MgbxtDVziU4ENpcHTHxpV9CjcyO4Nes3V+XvbT1eDiSDDGXX3MkKdaO6toOIWGmVLoXAePRAsQBiM8ChyLx9oZfBegvIuggvOXjwe/76yIc9/t01SlF+eGgkHvo2PGu9I5hWwEAZBAW3a1Q5iCXsPW8hu1OkcquCyJLooX9KkFXbFzOSn93UeesXeh6pDNyViVH7SFj/9kujGFgV2PeVR/cbErwvQEaW/Mx87OgHtNMQBRuykOPMM5CHvNTiWA/jXWlMSiTr+UbuQUU9MawxcI3wHVj1fZdPfO+1HA4i8OVJU+Ph5IaqKseDmGNBLFw9MTSdoRnOBh8s89d9eOw5M8r2DnIG36xm3tFelbnjZYuJrYPSQ0XVYfrfA82k/6Cygw6isBlkPl7OGAhuhq21+f9nJ9QHOf9kcudNVySx0LnCoFr3OT6MKbpLqRA/jz/W3hFSyx/SaUNn2cai7cyd5hBpI161WgQxez+t+FlCfyi8xSdNp83MK7OupfEcgzJmeCywq1FMSHYepMNsQMg802Hb3bKo62XHOL+aNuIQyOAyyBN8XGI/dUWrWkUibvxdiMF9RxmV7MpvK0OBhnU9xcj1rcFAj9Thj9EQ+WQE3u/+Cn3QNUnNFZPHfJlTKTiU13ce3ZDajZ4EnKeGsiuTz3A6X9wrpMLbvlWQRUf7ZTcTLcdYgwJ9ojHE88K4wPLhB4zigK979aNSUaiCIDB8rPsSF55shD2+DCeOCfWMgzNHjI7HafpHos7JSnHn7tav6Q3F47wgil3NdfgHRxL8ipBNlxLFY2jrDQxrLNzmX+QFw7h+u1OPrrd7xaxWSgYNd/N4pkTie7vz+DfJt57KkKYK4ZnClSKxCTUIABADDekW08/LjjakvQix+30liMH+LJbhEe+fQFqYRiYxPvTDKn3GX3/jn3TzibhSPKqW7gY8c3R7X/n9UFAaU9xjda1R+GoYht3uQwNNZ1OiHxMKyiFfkwP5a20ZObWyWUED+0sjqqukjvELIsnvsGUC6iG8bOLGi+JnaZEJjJm0qHJ8VPPvgwPvx7h1+vMzzEFzIjV5eHIY+HDT5H74B0g9X4bhttklJgA3/+rjEB4rnNNow4yU+X9QQSTbmEYqNBZUBNflTrZpuXa7ng3rlGNm5yDE1QyaVc0D+Q2qPlpU9+bcHBuyblcVi+9sXD/PhL38ItKj6h++tArh4vFsrQgSqX9GVHlwjOLjpmshNY+yYczLbyUMCfKwU2/Vm/wTNIrlwJ7mj/B3cWQjUROVCHy5dbMUz+BeTErF4V8bTtMt6zL2n3KVG6VphM7YvDTfUW3n9K9wgEZOSIysMBFlnLNkla4cdAigv9ErJsz4jnu5cPZfB7TXWYN/uh77jky0teZ4CxJq1pWlzehyZPMhhNmk2z+AaVwrAH27TvzaOtVhzY0tj5rrG5cIStTd0hUTRuMGNln3ovlGQO32TRASmGy1kkXItRSVff8sbWepWfCur/8FU419yyrYUWp112OGXJOUHbWYpIUdZs2txiHCLTqiXh5zBLTqm8D04xGC0vpJJ/upjJEbKXT5n1rd1XedQQH4UqXMgtBU35KIeeVKhbLOyBGrpqkr6Sfc3YJz05IDoya9ZJWVBwMWG+/fFpx4Za+0jOl2MWM0INqxbozTcUGfNJUIleQawmQvlsTp0pWxoV8nGIL7CKzKNpeNATSXhvefTT12P5MT3ZumTETLbOs+Rbc8xw3oi+iLv+S3aOZOPCV2I297GNaco2AL5wEUNVm9GagbSseGPtqv2L0ah+dId7fVdCMrBAXgrraguduOnoR5CQXWGgGHzFbnthLLW7T5qvZkVeETpaTPOXHq9S7IeaB94htDufVreRr5MfED2e15LJUCsnfp2a4W947pcr+se3PZobB/Coe/AwaAKbZVpL6IfKCXKOGa+40hqt62+RKYbEtZ/XGWlbThV1GhWejQm7P8xlFxXWEcw0R5OPGC/ZPsBedNZyM4at+ylYIMYb140svy/U2ytmuqIY8XE/iKBQAULrh8rcyP/IEQLHVujMMpQEQaVzAonO+voWGrCmsb/Ys3BFOKj8SLJSuM6BWWCcxiYwu3OL1ISRiObW+esUSbnrzlzMpoXjIc9Y8nNy7IpFZvAuvEowcp2sqgcXrAPiFZJUyOJzD4GX96qcwmZ+hKZi8K/Ntfnlbd0KTPB8rq+5FfFX8YWxw9CLUaQVxhWosBXv+cQLmdFYeuCagq2zzVRQMUvQqyGZO29i/f1ybe0mRryBvFD1NAR1zp3pZyzFzAczBOSzpDQwvOsFRQLYnzRhOIxiF7dAA9ne4QLeYmKXPvyUGTwNCmw8N+j1JS6W0P9Wb7ubZKtmUmKRIpb5qcsVvjPZpe9A29VsS/q2JZxmhLdzUXObz0TY7KSwTJTy3lkS0sUXNI1tYa9n3cXACdc0pljK23iquYHfwJDTRqJrJ6ezKaIXdcp8b2cll/LbGAIGoJLczRFdFHWWtKdgXi3oC4twvEixXZS210u3CGTJR1w8SyqE7Mm2L6DCmXrlQae+IXhPcd/IawbcK9E8jCOd7gCBag2hLSOMAIAMDjsVpo+20Lb/eCxEem2dwj7Ux2MnT+2eyQWVlUF9QuvctRU2v5kNiDyisnCa1Xl60ednOgoLTKXXZtkYX6YM/KTQ0O7EKPOx+tcQbFiKBa3BtLJR5VISjDJhoZP1YpAfFz+Gf4Htitft0M5nGf019FcJVhycb4G0fyRzX71rLtJ/dRH8hw4ULtNu/FVpyySWWPoawRjMd8/SXZExy/Uicy7LsSLBoKenG9ePEn5MVj12bu3p8iXhayIGhQmte4TTNybLejpF42ybdddn4H2+FenRZr58DlAKGgttzfxLwX3Jsh6pZ793y8/6147H4yu315nbNoXh+aiC/fOFw2kop3oCtUuJzIt9b26jWEXK/whTPuMMtuafXqGDXfBJwRmANzJtM7wiCk0B2yxPMaOSO3mrHaJOyBC0q82oDTWN2mci0IFUSTz+YsueS51SAyPXz4lHo9UCAjx7QSlXg/Jb5kkVgatSqlw6iEdWsneGP7K4Y7s3pZANX226/4yvuzZvAms/WI4mWhT63N+HWN6gL/uYnnJtCk2HyoZ1wK5F2VcqJO3oMiIwscPGaLo0pD8nRgpLhK6ND0qLxmGuH8k9oPcAAzmma73ebkh/mI4i7wHSNEHLdy5v/SYMEZ6m7NnAy0ZjtfrAuhm3NezCKev18sjdFAKxo3rZ9/j5QEH/f/P8FPmoJkwQV1uDWbB84v7OXq4GBCMw2nP9lW4JWVuJij4CRe4+i9VWkjrHnI6d/rqNm0y9VHO6OxhnUxLIrR+Yf0SK0zGD0I5jo8idJ6MwSiWbD16yombCvKNDMUX/x8Vbrk1lFy2OIO4ZOvQ57lGQrhp10ZzkvsvQahw/MYmxzBj3rVvNi9boxhZPqbblGCirUscOowds3hRm85bvQNkqggtYeme9kG3YeseQzyg8PTZrWG2TBop0cbj3hyp8hE6plJeXC6RW7HgSO0uSIHcT4cZ9bRg5hNADQDI70mitejhHlJ1aQ/znc1AgeiZt66pxDv/ULxrp8sJi05PO+DvBJZxuV8LJ+YgJjHJpVgbDyposEWXGLX88ri3vwhJq4NGN4TzJ94x4keyGWjQ0KxK+hdHmOfRPDD/PngErmXUz3FVSvVGNL82XFxkP6C53G+qyJzUJipQ1mE37owNnBrs3pZBLVp4DypjIg40Qnn5ORfdPjgI3oBpKnHLtY3wlHfrfXjCa9WvQjIicUG+V7v37UOPE52pVdThcpWfT40qKhxCkMjhRdbCrvi/8U19SiI3EBIM7MK7MSo9x8kxVNfvaUzb6V/yRPBu2zX5OwK+H9tNtloc5pKAH8B03h+5RWfvgsuetWG6IrQtBi7d91yesvarpc/kauVWimEzlIco25QGlEIV99r+8pEUmiRDbPVuL4wURmdylbEHXTKOiTenL6zSaYCJK172vfrbcr2A8axrjpM60ItWBaZ849gbuweAbJFA7hYvkuWserto2P0hcmkk+Jo7cqnbTTSBDCUrPy5eAkgiqeQaCIbNpYuxqtt7sNoaf5RREObJu0vriLKHUfJVBsabujgUax28BEq8yLQJPi6UACj/AecsdhOse7SXAXnnqPxY6nBNGzIZxJrfGR/ua/woWwOzL4gXuvOG0aIEsr91fT6XD8AXMhTVOBn1sbqEz3Ye/JYUnTc/aj6uCrylgG1lSQAxSJ1G0cIXsARSiiFaKGMJV6UwlS/F5Bd88Eb1ES0HnZNQFH5xHvrgBKzftyoPmw+7blpnKKjosm5e/KYBYA6iBq8Q8Nd7AtCQ/SGqcNYzifTKFTIN9/I6H+7++PchGW16gOFbYZMmBsnNHKno93vNczvkF4ysSoZifj2Fw/RnXeFyM6Sv2pmCrvdNs6ZHv+SogUOzLdwT4R8PCOHJtE/ig0E00aMxBleWPhJ1vvWOij6dZIdg9S1SuEDwSa6+E7CZ3Yqej1L4HKR3T+VnHOeGtf/evhmBkatDzqG08fyqPWkQ2irkVCLer/04Ks9Q7F4hp5KMKHVstDrshkvPkzDtt2HOUBUX9DZvlF6nPCUa2o8xHQc0C9AMmLbzBB3+7JPOifKjAYPZyL4R8gd/Ig9iOOCM+7/XQRbQ/q87paKkPq33B/aevfp2joy2oiRcT2yZc0d8SPy9NoO3G7fz2br2n72Y14ldNBnKgWIt0HJHkyrk9MUnyA0za3z0lvmLN3h+Eo6PKjpDMw60ONTuMxzZaNV90mq8egYjPfotp2c/T8R7kpqMdKDFLMoTl2U6GbnGVjTctgj74oyVBtw2y1boUZdz6lcSEv+TZ//bbS+Q6dpSksTa+gseP3wVDGrbPbSxWJtodvCBl7Z7JKwzARw+BnEOzmj/KWQBf6FDdsRSjy3tLWlCFzU7RUqGb1MqxeFUSDJHXh4qUprirxfAaW6uGVFPhoIZL35SwGyE1uY8nPa3yB42Rk8q5SkKDhBqDh+UZrBhnFiAhpHgQJOWbF+epOAeJIQlZwFYlYgNDGcQ0q3GXur2A+Zz9gbR818cDSpr9ig0j+Oijp9Ej2MGetfpQioLK668XXVmjz6d6ztHA0/+p13kH4asDQTEkf2cXggPskDj6uKVkmng6PTelV/ufzvGHwOmlIvRDvsdP2NMzreUzFDM6HbuYKLeGWG9QdyuOXKORqkmWTDKQXLDwHuh4KZJa9TB3IctbtXVJh3WtgAgYJLIAtw9jh1gV/TPXpx8FssQ85uUSHXXReVC02P5zCzx1QgWmkI8GOSMXyiDv6TXj5PixoiJISxrgzG/lrUyz2ewPSHHl2m+9y/FIEnVL0szUlEu1TfHklg2egZ8FRBvV/l6igI2E6hlnxGRP/syQxKzLf70LNY/C7FuBOwPC/kk0UAjQ6Tqu23GrSVxE2y9RlkNobN5Byo/yepdFqoKWHusLt2P556hIpN59paFA4rpqUTY4TFll123yJYUH3syoDtZAvHG4ZEZ7PQHzkgALLw1pgFRqwGOwvySIbFcvFOLaf7Nlt7Nc08h+ltdK4rU2nGtxTaZ6WCZr7YnxHj/4fgje4zLGvVQTWSIMO0xNHB5wEif0R/HOVj1CNKu5Ik7g+1hSj+x1xtuDknTqKNNOc8IJOmr+M0B9VICUqfEtxKjoAHxnWj+Aoo5ySrUh8HOyBjEleDL55PpdnFbcFCHK0eRyf5dCIfatyq6GJ6+zwu1P8GjqoMayKkxVDZkzAqcna2OZtHRHatwn9BXxp27WGxSzjzdtaO1O8IWSGQZolKdsO7mI5sN9QZYl0K4WR/WI68b5XHGIcME6lt7yhcLCXjFiCcGwRGKs+7yycOlaUo+bPX2RsCi7E3iiQjTJVJGdMkhTCqwFlLoDAcptOqJU7NN/xmwE19t4XbKkufXyTR5EDZDPxingWz+HuoAq/IXh4vef+uBkqnda0FyQ/c4AMOpMXnoZd2xBwijW5okTVZkQj92dtV+cQTD8nsEhjNnZmBHBSE8CzT5Se280j0yKrMlvl2vX/6t2EQwvZ95VrKU1crEXp9NiD1HBZeEFXz6ZZ06rmPx3YA+PRJaOA/hMj0pckOJ2ldY8zqVHITfQVmCwLrH3/A61L6UY/YvX/86hefNfwQOzxhblQkLipqyxicwPG3JvIGg67YN0WjoJnbdW3BAlSqE8hvy4wI9YQSnUoasw87jnZhCNeVfiLftc3J2e6b8AcHLWiJ6uPQHF2bjbG0L2dyPUGCw7MwS6swZ4qjGujRI/EMGGFv1FRvrGKZx5NapciamOdiTV7kMdXWACMTqk/zHjsBwpbJ9zG6SAfyRmRMfbXCRrnVjqQ/V671K6KwC5WbeKgqR069AmTPJE6RrOZfRX9ivoDQc28P1BWGuT6KdJ3c6docTE0kMhQJ/I1VkHSypypzvlbyniRnpOaXa+nko6/YbGiaKNC6gb4cp6ilJKF2c+15v/uITh/ivkMo5DhJp4Wq7af3SKRpRO/UfiL0CeYi4leb+PB6h114U1m8fid+4hHo5lNl/cWvvNslsHEQk7qIFV2U1ckD6rq2B2GowylaC3exaeQGkcayA2CGghZLMCVDVE/eeevV5QMZt4LQjr6dw1/f+KiflCRzLMzPTJ8p7PKhuGQcT6saiP7F6rx9Ur8riOEBbnxqYGJDiX5rRHvMvedIyN35FTmK7GwWkP/Sfzcqul/uI89QdBozBqLaiFa04MBL4fZrrtr42Jh0jxPH5XklFtCYAGTIKPK8lBjwwDQaN1t3hTPNYmcC3nFkdZS5jI7o5j4TzTdxC79VnfU1rvG4FB/Qh68trI2OWwilHKHQfw5ZNVFdFdqhsmfjdiDigv2Vvdh0jXeXLOT0UCWHHeOelx9fpxBuu10qXTNukRt/3WYYs6H77Y5QzF+WtFxaVFGRwjOC4K8xlkgmo2sBBQOs5+CfZly5OKghLV0mUNnN+MSrbOL+5byzVrpsS9nR0F2jyBZkQxtEThbizi5tzwmDYNAcF5rRs7qE+tK69QFD9yphGD36RL7HmVVpCaw+L+P/8bROc0xfjVsZcLtth40ocSb7DnqIB/zw4+EGNURCgolJqoIqnmiKtXu5xdVqhA2vQp9rczNCiPIPz9vbaFn+qX8BX02E6nUFg4Fn+wkkoRSIycm6N5HRAd+bT5Tcm+soijuoC/fI6JNy1Ezqs4GMEuJF3LdJkUJ1AsuJoDUuUJuAaDbRXvpNvrIhMYpZ3tBbcazYqmerD1XR7E2dIu54RKvLH8doaXfJ67mBqJmRiQSd9fiqlUA6gCqeO/gli1QOyJhnXbMKF9B/KXCLTtOhk5TnlkNFZLnvWjt0WswVP4CPqcwmbxWKFGD14H475ZgWrWw94tZAqlKnoIDs49Ap12EESiORHPizt1ABlacp7e/kR44L+q26k7Mj6wXEyc1PUsFX+jSHuGMJO3OZmdIl7dHwv7mUnaFvQ7WqG3VNeB3cKXYLAWukpyT7SERS896xUjt7mcKvMCDnFfNuxooafHdKcrtLqNHflOLtfyXpfEbSCknXrLM7yUj6LW+mmAW7j8V1mJDX9GC9bWyfqs43NPMiYLtLrxoD2/5VsHyc/Ln1vkg3gfQV+ZQrYxRFTasfPdDL2iCP0XfWpY7U+PDyrDxzA+m9FhqCfhZ0bZDgwtt4nI8M+hM0g2DrsUJ6c0SSWOG8F83W+yQJG+RJF9z5eiWCIEWAxb4XNVs0Y4MQdRObU0ugF6z6/1yzaYpq+P4lTvOHRSHExV5OYRDN5OJ6cX9CwT9jgSi5X15h7pPDLju8urbsbiv+ftFLNMayqj6ri/ayxpbYbCOhgYir3PGXUbCa2Jo+vHX975aKiGOESGzSgxH2GawY+1/fDiSqyLc9z38pun+ZTC2f87Q5f7mMjL5XZSZK5s/jVgsgDzPirSQY+F4W9M4sKGpKEWOvthcB0hTvlZXZz63ATUzsxxFNbmK9l4vJwOc8iAtSAztOyLlX2+3wx0M7EkEO4SPBiL0lTpnS33cIiBew/6OMl9tGD5WHq6BVOabk3B+9OJZZhSIrHzuKOUpi8sJSQaAj+l2pkxW4wMn2+TOZGeWqBg40+WgT+oQCvOKTKz2ZXcxIpqjNPxu1x2GM9+iOEGnLHPg1l/JWDgk7y3Bm74W42E4dUaDLwv+I0UEh39/WhvUjkFnx0o3qniHNO0lQQCSkxX92IyHXs8Nd+AIKPcU1qYP/leKYB5Bv+5EIlhaRPoiACm6+j/9NjeDZI/CcfHbG6ay57sNuLAmlgAgEZHgvI7+TgtC9zmRk2Td5IoREljipPvU9ZrhcecF1vIl/jfkYRAuWiPBLuN9AyGtwuagwg3VLxVBxJ3SDrSyhNlxdHaO0QBHsFsNhmXJz9AhOfI5YJBpWyzWQccMjGTNiSXM9GJO9jcTHpDvnb1RcQP4PiwnPhDg/Glq1lMUEHwb6hHT5eR29qb4ZPFLgmq2LrEvou/z0Fq+zDDE7yaNFK+iyDsV1OZbeelCp8kSL0o0Zn6AxGIHrzCEhmg+vveXlSjamUNljzHb+seLNV5op9+qoWVYbmENbCEZ0Da2it+li+cKVxpZAGO7+fxA9uvrygOgSTaGgA0LGyIZjmYIHgilf9wkFBpQmPl2vuaaVhsGVqSQsoge5deOpTem6m5RDN+rVrruTp3mwlr8rK1IyQVOnD9Oa7zK4ON/sB0hENPpI65ziVxozlSdJEvBYjvOL47+oaZUImD2KVAXqLhc5IlQs6C3YzWmK4dY2hP2ABnkU2VrjcwT+jeLXDxNn75wmzFvJj/sPL9ROpZDK5pki+7RHMQSVj43IlCPyyQJcXgpFt393E52aMZuLy6gCmU7xQRheAI4K6AePEGaJWG8wgx5JJtIcikvHW5mEW1vq+P1S3Ibs1AogwSjtuHUJGALki+E0Ekwi86psg1ImNU8SSTkxEGq8ZWWq7yH+qYQWr4fuA1y/NKYxFo96u49wexTveu6lfWBIixMfY9LU19Yitaq1WQcMvqq0cboUo5Q6iosISfqX2saD27esfVcOWL0toLNwbHOgdWvvtsNSoudqH1jYMIjAM6kE947gmFldwyrq0KWrlBOtvIvqFTNt98xWrRT+IecdOxLtUSA+WHuJ4ZCw2Vr0roiduGt0CyUwUZ7pMD7VfKnXDbS/9qWmdm5qrFmSpAI9b0oY63WmuuWcI/q7SIO8B2BXB3akQBiBdYATX8b7qv28PsFYaIBCJJQVnMMJB69ZJQfpXnBH0c4/uBfWNFDoFxPdQzmyMA0YZWGcQ5hyy5G0ioMBKKdOrr4dwFqz7wOHDDDygVIYe9p4OxGd+0eFjrKPNqrz7UyBqjPWKgotRFrF4LTAmKIRypijMs95KDA42SLF/02oGEpJcrlwlOMyavYQ6bUp+mqvruXJLHGldaRBU0vXQCjvJdm4sHOhSX3SsP8ZVY2GpCduTkkSu5TCYx9x5sLG3zZjWUTOnCpNwDoNe9MDVhl/sHYLTQ5VaHD89QsieVzjQCf7jaKt+E9oF3FGFYDY6vr7dGhOLJpwfJ6wFjBlL22JR+u+fVEhnbFljiWhVhii94nRiPaFe38jmVeOwy7GS9ShRTGv5KJd08QdtRHKWJwXqKwMfaPGSlhdaKJgdJIxmoIBLICaXALteTCjiuCBnUTUBActscIL3Zab0Ps0xwGMvrfoMAs7+3R1MOlT010u7D8b0wyd8wmCQWIZLBjzjQPR2BYRdUviroDEU4wKVqEjOkTXZSTLGMFv41A09qyfC5YOI+tGCmmMtOZYXZAFrE2MZU2PGNkLa5LLfJZtZRBi6Q7P5u7oZ9tT5leG2FnqrRu2tbOz/7+Of9fJOa7TsIM+mJgM1Qchlf/6GkxIdpLxxlETST03yEmgOuPypuFHZEQYBUCCzqKWhNfN6pXu5Ka0K0EL4KBRwS5wM5OHyj/1CNhTJpLAYZKKIFq2YBtMGlvPBhpa0xhmLus0wVBE82nHtGb5KJB67Po0UVdpGAEDocJ7Cb49WD4yzJlcPOt1Pm9W6GAB3zToEUF0HceZlA6o3WX+g5Cnh0vYhimiV0+ZbcgU8Vsyeyz9ClNH5iA1xlSIeehWc9UkEffnm1au1woZiSBqQv9I7fvtl4rDir5Ar1Q+l38y/rjp9zrMGdM459zGYeDKS6iMeuFZGYE4jg6ClL7lhMTfPEP6Ki1A4TeaRVJwM6R5xejTgFr98wr1oVQ9xMJ8cWz6ZQJAWZbE1YZKRB3Y2QnSXuP+vfhyl3HRNv9zhKcS96hxISaAzodijSep2uye0nTWX/oohE/DGvBud+QiwyP+knuasBWv119U02ddN+k8+4Y7way4RZ4DUgd5t0PpcVvs9FFGw0uw5yIHhCvy4tGo9QL/2NUWMINdcy06io0nJ6zUMSuTvR4Y3PhhOSYkB8L7juFbFWOFLWNQbVwuCwIsCIfL2jua8CDKt7rL+Zmvr9eAr+jV58T0dDvvc6+EwkHdbBpal4NfIeJJHYYKn9VwzFMjlcon+04d/mOaxglqvM/KjK3doFWYVovOmGUwCNgdn53E+ca0tnkpMmsrEflru1fCI37k1Thwvm/metSvjpW4n0NmEMNrOUK/z6Hkn/n1jVL5XkGHxvNnjFCZnVWoyDvubjQlfsk9sKOphqQCFYUm2vOhNRFgyUgCJkRWFUH763e+LANr38ThtzmgJbI+VVQhmyCwzOlmcoVFAGyTCa0bj2xaOmJvBgOaY0UIyv5vlQld3ScV6E+ku2hBya53140KpDT66Hr2kr76t+1IUvyKjxCRWCiBaaJL53Z4/gw5ORMt3Sy50gHxenUjkJXHW9oImeH0MS5XHK9Qb1xlx6mJ321uBa65EDd8/CmisNlvNJ2hT1vi/pxmal1RoEqn7BAiHFIS52+ze0QLkZCD54fC1X2d0EeB5hZDZP1y27bamMeO2sLLEHHYP3I/aDwJiYn5FGCdHVnQlp8PoGjGWjznJU19igpk9RBJCmsLBBEL9NBk4pJfsWFEvdUcMCmECAPa+OizEcSRjfhlucxoMuOiWyzGDR6jIwVNVHXs+0aLJX3oJJDdbPr4ZfeaPN6+glAu9wFKsxxF2EuGPw5fHr9Jd54gNNf0MzH4vDeTt9lDp1nZ51w2p1LxQP6s4uDdKaYmX87cE2QdxL9VoOrv1N4uzZmwWh4QqOR4mbYSad8HJvngaB3ZE+NvbkYH+XJCzzjo0Um0mEQdA54OJLjdGd1F3zYcdsOuPEOZOjGVxDS5W84q7MuR65VV3N2F05I/FgufU9Qm3Iha9C8vxrymhK8W5OpFQOSCUTPNrKH4S1tsZ44T6RfE6H1cI9uAAUyUMe8cQysiAGKFFuHYmFWPxM6igNFybfVPMcfIUfW5x3xW+qG4GEI/9a9JnNUNrkuyP3gkDd9JX026y367K+UXFx6re9uVFGY9yJQo5DFfpzlVVj2XsZ23zZxcM5g5m0xVOFK7AvmWWqfwQ6CNUWhgMJGdoEhB9OhuBrerdlqWTK8R1cFtG837LcdaEuoqbMl+aMt84+Ms4d0I5w8hm1fwerMWi8DD67BBSZARExlhe8uGpt+pqDMG8/udHCKEydXU8W7UEJRxn6jRAfNDnTaIZrz6WvbssIU349Q4Ns/46ERJEfF2Cg6QrSdeahWWpgUACXrP+thhCdYZg2JFooLTXYSJoppPV1kvtGqhB7AJULzqqF49le0L1SOxXuSWUtIgNfaWKJ08bwocW+krOdJHKYsoucE0XNbid6ZOee9j2Z/p7KmPg8M1TEKJzIUgelmyDlcWRSM7X9rgddyc+8F4YmL+PJ7nWVjSJTpaGmvpsjlJVompoPWqxgeaac48L6Q5O2pOke+ZkHCcZJdSmkiE1xpMDlfbekXEdRbOZX0o4VP1r8GIMLXCq/t+WzpAgXIG8aDnEO1zMgglQM9CkdCGWCpQZ0eBUHuekwY0gK+KcYzAwJlZaiNY+VsK7yQEjIOb/1B/mqtH7R3eA+gdUqjdHCBjfYK5RAQXBdXCKn21RM+qVp5UkyKWHLXwIYRLAY4GJ5OgEyI4wHiTcLtpgKLCaRdPrtNIbsWzxLasrz+4WfUXH8/AS9MOL+5Ayj9rjP2VJ3b7XvXx0urUzSLO09AePzPslv2gfAo9IeQPdwIx9YldfNJdoRyQ1xnmo7JLlmColkuhqOOaZkhYrdpbr6dgJHvihaAeRk78DwiQA+XdiCWsLn5/4FAV6bGwbD8sA3EM8Vq1/EiSBDg8Obl+kGPHyycoXOyR8486e7J8WZfdZU/jMocOEh/KF0NqWZfXI/qUmTQ+lYHXXnerCLodFq4A9pPG17KncxxK2AUIPObyBnWywoz7ZStxXgmj/7LAi49XFKvB1CbjfVv29PZzFFRmkx6YbJ5weID76vVwurN67laJYK0lZ3LLUzdQBi/aZLPH1ibr3LKwdwG9NX/GHQuKt36C63nKBx+QLtDQNtNrBaLGjBKFGQ3JbC0W0VxghJ2Udo/DdZHugcBITZ9yRjHm1vn+WLBwpMsi0S9IKCKCZ11fCRTTCya6PRW7TuNMeX0XjHewzYbGNJ8aICYk1fs+nJXo/GywGlyyXfhOblGpXEkbDyKI8bUjivyM93jfllqvEjah0eCc2eV2OcX2J1co0zF7R5zpJu9vYoQHXA8TGIamo2Zx/18ahd8qAZDf7X215dfz7FCStiCzheT+vuGAbOW+wZ/0eKlnjz+FvqorYCboBzbarFq/Az10pGnd5XWPcoR7BW0ITIK7HdOOhMuGnDU12r9C7RNnKGta6lJz3csBtSOWU0PsszhnC9uJsx7ePuk7FhFKUP1lhFOzp6pS5C25vKXRNH4RUx5GwrGEw735BeoPRLcNZCEL6DIJcdWV9AtWfktapJrSsHvqctTlTGxnOHvjz75GktIPC3iWIFvvhag88sUhEpy9/90mmUZlA/m/GYE4cCQjdYM09BP1YLyt0O3B8FKQOnd5xq1RHI4nBFJx3YN8+8GKPuMfuBQoFs5vKduZMjCezNd4Qmk/HK/Y9USAtomXyqNVaLwOTi3CtOl4XOCba7vRgP2VPKPkHBZNuJ1BX84dQ9U5FafWtRhjHElZg5P5BDfQvajRvQovsDc7pWylAXs1O4UxzOJz4hhJCycWDV7MV/KSb+VbFdU+hn7cJKJI8mfJ6dSqn5YYP4mU5solFWtakRsY3dbMTqFMVVYXGdsBKvLqirCJ5tkcZvHjTHCMfbmXp6DCTW96dcZ/ricqLLVkpt2+JXHVzhvM7ZzKJaWR9d0XgbsXtw7wArUoz32gwNTGbJ9eIkEjYL3rLpWYieHlYsOo3OMYr5Ckt8G+t+NCsctQsbq11R0c8pOa19FZxBIbgjhSc/unCysoii8EMTrCJWlhHR0ww9gN+guJ7t7hGjHvF3XRB7YRu56mrY8zyR5MfsBUidPUuGKIl/g4LR0EnFbpvTVsH7S6mGgKf8OzHEzyn7PtymQ1xbyjhrcxB0+gSxyayaYU+gqE3f/oNmMbuI3W6kvg17KkThiL0Hkzlsyf2mJHkW3CawV/7EQRNKYqwEFMWr1M5sZgEfqH0Oe1Bv2G8Tv5QhQg1yXwuQGLR3ygnRkxIL6ssqeLN0VW2O88TE9QO2b+iHsX8+EPdMUpUaqYG9ZNU9USIlPmoPn5QNHh1eKwaCfUIRwQgGaB4R+owR9ia3DyUpFVcuGENbiLBUwA+V148c2oYblnNs7DVqGdjwaRq3Hb1n91X9u9QYSXvL+pNS6EgHLPgMWOTrsmpEYz1Y4GnnSloc2iKoY4PW6Qjb2t17xl2o8PkNT0k9shSnzU78Dt0nf5/9uY/pTTPeQyE4YC/jkSTHWy6UpVTUSNKyqCNm/3Kqe+aLoE5TQyYGcMSa87/mIqRRYR6ocQyagtuSQUt0lw6vvoMZPGYB99aHRr+YnjUkrAs0M4Cmn7vLmQg39e2iWZReQ8/uRGz2INPJF1PNr8ZQ+VtsWIfSfbiwODGG6h0oEGXCeUAB4i8ueoqOdf88GGF7iFA4L3vbMCuAkKf96umxNXkLTheM2JTRfCLJEIRQbbx5sPq1Njquhw7an/9yPi9+peRtelNoTfCWF1dpnURdj3lhswxTRp9aTCoQF+xAJCOT3FbRKN8L0RWV5FBL3TKY6aENzOZYh90gxvYjmkPgsbcMrhdzU2zXt7HafRc8VCoOLysCfD/NJi08z6+Zh3bUJPNQ3nPp3KEHKJGFC3VgW4gnx4YkXI6/qEtziQpNYIoXPdcvd7f6wKrDtlanGLqeYqudQ89tIWBHlQEuwV7xLDWc6kUC7PzFCpUrW7POIqxu6zMENDJv8CxwxdNiandoHNjVFVQUAOcdSydas7cS2Q3OW2g3EW0D0/PlJqW/mHqgCgJcn9hJXlRm6cUIyAZASoDEvRfSN4wiavrnJjIloALdBhESBemsO5piv9mWSWsj8OVqrxiruJXMK56DwTE7FAlRsSLh8fj47Vln8Ps1wSD9HbC21F0pkftl5v4J192aSGd5LWsQgjASDkZNGbxtAaghU3CzEOCatjyaXyo2K+k9vF3rHb45k5sFrjVPNxU2eJrTyyLoAgekr++wZa/3U1ewkKPzrbGO0fUrX9s97Hph8zaoOggu+84FANT1KMLIIQHBO6GYtbpRevIRYD0auzD8o2f3qYVLhQfOgb37gxGQr2HM+Z89x2b+oZGJ5VT7LORr3fv6b74zQJsIlYEDbRE9OElLSTfiTJAizjXrA6Kw6OYmb4NcqFWII+W3EykhGQX+87o525d+oUn9W3nHMm6ECYH/p0IgY7Tg/UVe2GCBDH5+hzjTg0B58FdVnIoiUgG9yVqh75eiTI9B4mioIGm3o9yerr5EFDZNSmKqPuYftFGw3cHMGhk4HDeSP1fWUlvaiCY09l15a0e8Lwtrhg1XT8N5/MJeUY7BVs5Km8hXTY3w28ixj39FCVPFhEGwO8wc20L1XVO5CARdPHtzx0nwDAJu9Z2zQtD9dl19d3yPUEROujOEAB1t+QIUMO/zWUP9RAlsMuBCbQkymWFYMUAEg5Puzst6HfEl61u3Emq7Bnwo106uKgnOVJbS3eXrwA+RLOYdp8zaMP+o97AUolQzIZwHL9k2/3BQ99gS0xytIvbEdS9VCdBLJqeNE+EncJySvUpyZQlJ511obE8qvDDhnjPMe9LjZTT974ZyJc76pz0tZDd3zIiDXBLDTonQwtx9JTRi4qfKE9/ePzegddOx8KLFkZBbswlFa292eJsvrWo0aJagBtJvTjZoAD7Uf1nJx8+xFubTJE7Lt3FnIJ4RUo8AhQC0xfiQFWT+NbIH/zmHwczgRi/Y/c6fU4+ymD80HXV/GNLLYS7LtRddnei0XYLj6nnKkbpDz2xeMsHD0+5RWInGSxS4gBi50xmnbbUgsGxFCsiezxnvlyH8Jhb0fAXhcRam812YT0MxuRiEvzRJ6NQilDq1o0U1iGAzM8QCmIZ61a4mvfQpS1S3bzetFNstx2CloD1Vxup3FE8z28K22Y3tmHNDpTHIxrdC8q4C3rJ5pI9o3wro/aupK/Z4fYVBAASVXZ/6qEbgwC/Lc3zW0J4aNqxYvjtNfE3FbW34tJVU0LbtloIgeSLa3dLoNl4NQKkDYc47otdj3tB78vIYlUfFlsNQdUPtkbfBLFo3r56niQOz0MqSrFOVEdIm6s+4lxU30tAhwpKLpK0X+FUiX8GEG33KWnUHg3SuVm9jh9e/CazWNYCXP0nJABbyKmBiVmf+bSN+BhtNKLjHtSRgJdhG7pxk0opTtMnDXaDynTxYqcl2kB0KY7hVxTn0fS0rWx6ZxvuMm84yd9vw0wOSWzBJs4G0IIANcNuUhpxuF1MtyaY0nCM5a3/yvkdpH7+2iO4Nb+VnIkAQmvn8aEQVWrSNC9f9wlgKUFVcBLuPIl+ykpL/QkamV59i+QCpjQkmYkWAWg3b5ZJITER9ben8wDd1twA0C9ure9OoLAN28q6lse2cCMV/lCBTkULubT9oEepLz3w1OS2xreOfMYGfPJ5y+363h0BsPAmsQew5qq2mExbm4muNnBMoMGLuGMg8PmJCj0a4ufpziAiD5hG2NoAY6x4Xf3BcbrqLc7U3XosJb7IVipRFXIdO5RQG5F/1aC4+jeC4WPxd468HtYj7Rn03wSay0Xsrd5e4vBsTTH2CSH9TB96/LskW/1iMmkp9FKE6/GC7b8j3XdnDnTmWuPXnJKrOTLT2Ysaayh5gDAr6iziN+88dXdXK/kDXaEbCQ+QyKi1XluR6uYn8PYrUKmPPC5N6ywF+MLJl0lvbmrHuN41m89/jyvjSa6akspRUJ8jV7cca8vQc1sOHBsqjO79HOr3hwXfbTUSZ7FWSIcmbwdxmIvvwrzXPGaEmkvGTmafxfg3/vP7H3JEgn5uab/qv8Cfnbbe3wNF6ShOMo3YZXynOLQpUiGFzI1hNd+B9taalRSmlVsIqOP/oPWSSVxGXo/fkgCJn6CvXpRx14QEsoD1uMlWyq/8gaLrfBFm6zJxrhy2lMt0s6XampQ01TbibFvYHiHNiv/z+TU4kmmOua7L20ydsENec3dDp/YlUMw4kGs9DKRA8wPcz71opBPAnWVWLc5a4T328PqOgg7/alptUbAsqV7mvXBKJak4Z3sG+pO466H7V/7fr5oXHBn9r6Y5ZLNtNwSG6fVKssN2RQGmQcd0pwmbuoh88v+qTHP0KMEqnnr0LmalD2NoXrvOgDojntxwosqLrtuOQIoz8Qq+cTOKjauEhz8NxfpcMMRYUSrrrtS9VNvknYtlWrE5HrhYKcQ4SG6OaQkPUU5ZzlOzAtS0BKporcjsRFdmpWz7zQ2zqGLsQodf3mnAn2yTAXSX79rA1y5Xe3MKzKzYDPZ1wucEkye03k7rz3u/jyVDzwIgZeDSPYf3sKL8WvJdx/yZBmdGRT8TAzkx2M7qLVDzvv/oOqnGXGy+pgqMt/4bMTX7ZLpv/4HxMCWYHF122m3XOPqEjEOtWJd+Gx32XRUEhegBaPN/YG1xAcB+s4W//jWoWr1KHBWnWxtJZxX/uj0MbhLh7+nC/VLqjvluG7mc/p1BTII3uyJ4a4g3prR6fDyQglKagCOxbqQZc9u8N1sEtS73K1hOaZOmehwa3gub9AuZxHNRwc4xQNaVCYo0KQfv6x0886jS9w/ZL+N9z+0wn2mNU13kk/F9szeim11xzuXpNUW4IdLTJY8iJbNUSfW4VvoLHn5J1YqPGeq2+vH189U+u2d/rNnlOk12IgdSUSU9BRPqTZWKJcUf54z9Sd63lgyyiBwKpENkpsZ06PkABwrA6RwqrH8wqusrjtOd8LrDaee4yPxiDf/1BZvM/8+d6w9XzOgil/wg3njyXSnXSDYU7W0n4BYTg6lIYCh4A6O3NnzM70hviyj6EfNWiOf+Pj7fMO71ydxdpF93Yq1xA0+w0zZNxlMCegUyfYBL21F/9yS14JO1RWXWpLQ64cryKzsv5n0jRiBzc4EBhbFT0JOoiTLXfliwM+aaBSB8Rvrm6RMQwgzCi7u/nlHAAd8jdDTb5R+aNBdbQzeYD4HZoOUM6b+A0+5wZvjUzvOk2PV95KWduJEYibotU6a+H2KESij6zQbs9wsmwyw0U7tuBriJkm2wz0eab/nTs+Y6qUx3jHnendYvGGkfhSpUfpYc287sOHgZC9cN0/3ut2nJouxJY9Zzaf7dS9zYSEqYp2F3o3Kc8DlxyG9PoPJU7+fmZB1HIJmbwYSsjt4Hfv+hulMAhM+sqDu6BlhUxdQB964dBlYlYnOCIEFemKYvnr2ekbsac7BeRxwYLyiw8tSfB97OQRv4gZIe1eeatPRGGBlxX42Z/WpGeV4y490EvA1wIQ3jTGXTrPP8M45nXELvxGvomEzd8DATryR83Wy/UOfwN3Bb1uVirpEZOIRWVDT4nVsVH8JV3YwUKw+Kk/Ff5sbdfu+cu7YaM7u5rqrT5eH84Aw0xKCs5hdtD6L5KJJ8pSnRDwQCBv1AS6dvQgH0lItljHKIYgY0/umPR8QOeC2EqjcBsabFB8pAiwcGHZ7/TB5Nx+lHnyqjjU5wZJLMK7mLKXqidkd+wTW74uooQhRbgl0C5CRKZ4ufUp0HwXZCFv3xBDlmS35d8nJzsx6GRdfhjTMFDBurB0WT3vRXgpQZADmTZ0RFXzaZ7Vy/JFVlISKIzThpgBmTO3KmtrNapiB0VDFOvp7lju0/1Mn/5s1p+ftAyLbqTuolmSt6vGUKyvMYepWIUT73Vd4+EQamQgh2QICBzvJDZpt887uKYB7t1fFbuOnOC8jmJMUcPeKb9Y0cEZmsBlywi6IbeTfn2Bw/G1VaSGF2lOPFMdDo1txrCYSdP0BjHTIv3yUyc3EVNOw7o+SPHbbJr2/c3TUCf7S9bP3mecIHbgmvxN/wqBXHloQ54wQ9qqn+yu7idgM3Pai3FxbencZJl/C7dw5hc8dCu/S57AyrDtVvp7g0Bj9YdDEB1YLvR1/zRulcp6ICUSDRDTqlX5HHtDIeS4qYJhT/REtMCJnYlKi21z3/yfRsLtidvCbEjRZauV+pni1KTYgfqQH9HQJhwQgjcw1FcxS8qLaW6qmpwAoFOcXIYbRFCMZ+AOsLDr742ABm8g0ffkaI5ZN7uQ9nI/DKVtC1bcpHFCl0YhMlJ/u3X0wN0nOG6m+KTGk+IrsqjUSTRJSwQMY88XOZ4oP5/acBfXPBo0TZqAJT3/wBTPo7SKJuDwp8u+ri0JaS4q22Gni34slWap9nU7hAj95DDnHb35MYPmojl2L600ZrKHYqi1FwmgDqFXgChL2CYyz5IuDR5yoNeLSRWtL2Tm8wkdDKQm3tqy/q4L6iGDkj9FlCyIPbfcWNaYTGfUjDxIZBeZAEH++vJ05itk/6NJCylkip/5/TPCFkF+v/RvDRs63bHQ8WrTCQgHhfUuC/7E+ZB7CiFpKg6FIHWnFjaphIZaLArIFIj4oF1G2+kDJsD3YXHRrG3VxkSghdbnz08kB65rl84LQRvdh7sF5y+oXKJ9qGWCKjbQksSUW5HD73+kJC+cSjp+zu1o35363Nab/cMXE1OgXvC3ynJn7ey/VZl7OIEcRrFZqyBrCjY1xG1eN+Z3Rj0gXpnwNCghAv5FMgNlYpGov1VT+wTicyU7wx6mGn8beZhLJpvkXBu7S61jb2u6ZW650E3r++3sDsI4KB91IoHQpFNtDtmB4zns8/0IxDTqDlLDEsYdk5/0L3PNHMOQCmAH6auNle5Shp8Gf/fImR/bTEU+ndoaopMXH4ezBOeOe7we/1ektLpwUnfiAil2lkJt/Jcf0aIfzjnaPfGPN5eUe1+aAdpAIKGRweQjcyLOGiIpQvzpf2OlAxx25GHkG03PFNxkJH3k2fXaZKDMnqmlylbaC1n0piBAjXiNZfamFH58Pmh4VPxrvn8yOApZw/+IHnBop3/9YFMtQJ4bGldi1pcUeCQJquuqQIF2eKtK75hNtzH+pzuWPglHYf9FOCS87QqZzYdiv0owVHhqLsrlf8XuHUUO8kaQMMI9srvrTQV3MY24qGz3ptoQuwCztVSuoK3k/XrRr88RLxs42betg4JImStF1xHDUdJdJd7jzRnVEKh3D416i3HliU37lky9QalLY1E5g12YtRQcDsRwiBAoL7hEZnVLOJlTQvRm69wLYJ6nXSNiwPYpRz95m/toBze66mSE1iw2q1H1Zsp8Ga8U3+c1nvSwhZJzNQwmp7GKRiW/Va8yrp5GTIAPkp50DUAHF6lkXfuJWVFmQggAuhJs9QQYFORazuj+63I+xBsJKk7YUMtt6RIFEN7MLrg6ds5gyuMsIIb1nNXd4qQT9msRWm6qTdzQD+zJhxVFGXDLTYZWh7z4xHx7lB77CD2EGMDBLDExmBRtUmkruH5t7jPwi5PPYHR9yH9JHC/NjkiCKgqxrpJzLGBhbY3PqQmQVt8TFFax1P3SVnGiHjIEkXDk1UxtvWe81zYdLmMrcbUuzeNYJZJtdyzhj9obwa0bDhkdNIEvV4IMW5eTracMoT9fbXsQEWGCRgwdL8aEJphJKPL9cprba/A9cc/Uqw3xr88i8G/2FM/U3yEFtTL7kNz94JmkahqLLU1uNvcaGheTwOxRwa7oc9R6nQi6sY3s8pS3IPz0W9Nen/NqtqivwdPnKrPaBv0mbmFyOZY4Z43DCVKr0BYur2GrS82Y4qTvw+o8OfvhkcPTu6lrvH1APKq1pFm9cYVcBnCBoVOXVDJrzFv0StGs+Vyd9QBQSevgEy8TVL/+giZ4BctTBUqUkzBfuQesRc97/h3VkVt7+w4BievxRYq4z36m5lrSSFdmf/FF0vzw8utlYTOFhfianGLoCXyW6+0NagCO6OVegnSU7d0O8olm31HVYy1l2i8ZJ+iTaAwb+DcxUkGWh+AgCyJ7VXX2ML0xg5BswU67QbaleN4AezYkkvSnXLoV+G6IKroNpPVnVFF5WgOp1B8RW4odg5h52vj9MCCUeCxRbmVlxOs8xVVfA234RTpPKJKGhXAebg0T6xaR+xFO/7HzQvkc+xEx0i0Zc9cm4+rtO2uIpWP96JoMMO+fgApL7ZhkixkRF47/SLxg6AqWxlGrPgxwGr07gJ/51TC3Y+dyB3/kKE/vkvHVZN8ZUEw8n+6tQLVsZEATz0T+5BOq8Wyx5T7RAFrWoHoQEoaPf7jETzfsB/MvuG71pFPpLB+awFhxPG7MbW7oZZkWSFUGXH9+68DstscxPPTRAiCl5rvSpvPWnfz18iVxbaA3+prL0O+wpR5y9DmpOaPik9NE5d0qkMSb7iF20aDXJzxvuo1HWOT2ENdECKET1XtwXaB/HFLgX1MR+TKzOxAmYWMsRLxF5AIMtk7uDGLWMBWZKgGlRUadlsXIVrQMqO1oNKkcRdSw5F9GXTzkgV72LvnKZ7EdjYW1iw3Ym6kjgb0dWcKFVTDEJgAuOrUPSCnsyCFbzH3eG5Cuh8Ym8k6xy2Ub5+5nHOcet/faLLQmg8APDZjdMRXiJjuIKuAoo82nb2ae3bkCGBfouL3feXHb8wEqPjTrGe7056UIUqumiwTJKbetV4dL9IMcHjaHDN66xZFw8JKM3Rn7Al70KAHeAMVZTpfLn7QEROAFy5t8Aemv9Ec0cM8+U4D0BEb1dv54h38z4QPOezaBsnk26Pcp2UMKVXJ84gF/GIC2YjebEplyd0w57Lm9PmENXhUYUtPIt1Lkovv1z7i0J6zELXjE2Q1Y7vfUSKp//AxbsU1Ta6fJWq2C6RUVLUHaTGeK70ZbbI96XySu+s0d1RcfHf+NRfLP52KR/lzmmgvBsycFMtTy9wOm5zDsicIAQToznbUvPQvFYw01zbHL2bGLXIbXLxsJ4MF5uIQvIE+HvtOJSU1G/GDFESBYnNtFf764GMtK/jKnWhpTzFACQXsAsBJmxv0sJWeKwxB7f0gnOiREvSqav1tTOtwaUScY8WOcpOkp8YHZk7jdUKo1OT6n6HbeLH2xdAvda9tbg7cES0YbkDCT4rWSvGIBDaETP6GNiO7GNtpZybdydT9Yfgun0xASY9+ZmLxAuHtAT8YQjVWJjM1/XVJ5JXfywlTOGckrBtwXB6I+w3WJLUYaEoRdW3TbYHDQ4yLcrzk5MZ9URYqL1FT49YnwzV+cteWpRyx9yOfXtcjW6Z3NccFAjw+wror39+yVxrFJwbahHP0ljC2JgC9oKHCDrZp1IY8leYkGQ0U3z+8TP3cgPVt4lQUMxxKdZCSbDkFceinegEnLPPi6ZFOpec5N97EPpQcSaJ06f/CP7q0uWHorLn+E5eprrF4DlcIUi1Cx+lLjyLVhKl3g306q1fqSC8++vyMxAylM+TooCIk8U52YpZVOI7sFM5ZJsjezNTM3Hw1JTuGKnj3jYGhKFLQ3cKK6FS7+umHEoCbplQNM/7csonoaetF8nN1CfhV56ER/XHlw6YuAbRpTxCFNgO8Kj1keKGF4kYOew3MBB9HW8TFK1RV9XJb7p88yrGnWL/pT99gS6Zw79czSQwfHUdiFQRgKWK6uPEbskpUMOBQs0BCKgCuy8OGyuN9bTCtyNbPBJVOrm33ECrYPcOTVshrTyca5Dwhwh7Z30bwD52bYUJT+3QoW+beotcj4oySnq2Ls2AyKMW3aBTCo6ibF+QMEVrOTt6X1VvivnQaOswFVhWSMasThUvlAiUTQFu6YD9sHfu0AHWUmSAfBVG4YZv25xfGDEBFPuN9oRWKZTcGRRj+tGQcPt9NgCry5U+TrN+Gjgxx00Y4XJjRr1SxUI+gfY78bvF15uXyrVB+Zge39jrOSkhynJDG+oeP1k10B2D3lDeioGbEVA4D7hWeoJceOQgUuXbRGAdpV8/ipe4x3mGUWEDAskoFuN798D6ikwIUZTlR/bON49dICEC94cWOddafghi3ed8eQewf5M5UDl+iMPW4aVE7lYk4mGyZYnnMx9ZbLuvBtLfbl6Ap8i4Z94NTEz86txIZhaVb+9xbwYz54lXBdB3PHJSa/NLUCjPlbpA3zfUShSwC1aFV//MnhqM6BYe0ZCLcBJCtf+zLPCEiDUNGx5opcraHuiKGA6YGb4VWPMSLVUSZbllljpsK3e6cyS6QewLTWB27F+qgXdPFxkHQIXsl1GbK/ylpwpjkuiCYZ4aRUn4mUTI4/hAteNGjNWrMTw6X5mXr0FKycTOwZyv7FJdgHXrloaSaN56bTyKOdzGbYPNNHt0bPZ+wlMwELP8+zFCI75qP1RlRtMLBEOS1ls3jkeSX88L6vFZeLUOwDt2z2eJ4Rt4PUYL0XRLjyIxfhxE3S9tiHdk/5i+j+0HGKQ1KzCW4JbyF8/wSUCpH5P+HoFXjxM+BJjXDR+1TtfRODDQ6K/iXCIR/RCDsKjgZpZIUzKBAuf5CXeXnK4d5rF4u545K6y01LDu+JtBTw1/ENveuHwJlHaM+CNFgkIOExCVKz0SrA8MqMYj2109zmOSfZnIpg2RebRtdKRF1/lXtMJ7Gh0UvAseL+Xk2mh2B72WDuptrJyDCEF8beZVXjhhRlx3wuQ8rwXA3bL6CZX4PIleGoUsBn8bjhD2ElKDSPWQdYgJZgg4HAY3WKff8qFwcBXUrISyCnCL1rOvjEC3ZuxelSGcihENWmCa2DTSSwo6KJmmKR37Wv2MoWnaO7WoYTBS9jOL2bbXns1reQ00mOZ8ZNHg3PXM2Ug6Hl/6ftX7sX0vKwhcB5fhDi+RIEY4N+p5S2kx3DcGtrA5UIYSOP2cmjbd3uKNUGRR4wSjZB+rEuiJw4IBc22qeCh078uuYl9oDNhKXQGkXZhLKhs4sJ2EhMxayb0IejHkuZBkBqUPfgMYdeuQv2q7MTfwaz5aj6cRvkw/nGc8xn70e/1/LBOIebYoYoszgj5MkyijeoJRRN/TgVEX25I5vFcqt5YnXWyEnDDM9K8kF0OdZoC/8C6XdttX5xmTkKhBdeAu6rFMdwi0Ok2pc8SQlY8W60ptKc5vg+EoLwMT4CbYugxogiPPGOKYK6liFQhXWNIU+Gpvbpqeh6YhxbUYTIMN0ZfHhi+YXuzg9O8tT0plKH6qknfHQAWy+WcM4jfC/3z/4pkh/KCEwGK0gcQx3B3vg+Ak+Dv570aMu2XTGDaSTEUhjf/zvG8VE65FEuK1NxNUZC9/vNLapgSmUFoTCmEmptlbLh5EijR0B/dVdo0wsbmemIK0tQV5n7ivcaIkRttKi6Rm6uRVPG/FsUpFhInDmxD83PpHrA2j0uI1L6hjp3o89PogUpCGNoG0+l3rc7xOJxdQJfdX0JBActRHQaLz40Z6aYO51ajTmDMu62yYHzYiA+Qgmp1iB/75ex0m7FBtBRTNtJxSOtcFKYQ4rvfcBG7M1/sugk2RJ9vi1F2cKWBz7nEHDBHatKgmw3/R8lO5vGdW5l9VvoyrXSDra8g1vf0E2kvVJTi0jolGLSCUlFKTspRUcMyVZhPz0pqTkJVw04X9pI9M1vfEHOqcA5Wsvhm47bjQCYGsJPDymhefZGWvAxhdHKrsFTmeF9TG8WVrQoJSQRWCCdeKwm0mmJgsQ3kfDWYOHcO1U6d4RqPnckMpJ9o24n3EFyQkXYzugzhP/jjtWTSAjVN4c8KQfI4inJkpcoz1lMszNoHErnPJNM4V0EByJINhUKQJo6vG3sd34UU6GQmt5Y/HVdt0KHy9HDH6F07QFM+2DxtRhGl/spRKGl/1BZCP8cS9oU8vgHS1Jdb0c37Min/fBqiQl2XvaGPzCMRn1d9kuxpsSEI29jIifodtVfzV8ghg98d0r5FZQrTkYLyBG0H1UPTcUPTI0CKOJVpMmIvToofXBE1pWqtGrP2st6dppscAIYWoIU0Df19HXXPzQT4df74djhH1DK/plUyQ2fSOr00JDpK0dew/NbfOPqW6cscviFxugCVgCAmIx1I8Jml80SKPL/9MxWQEJ+NUbAA4AOeC6xKVhMDRyVOwtYDdJR+jKY8DlORWIisbTEziSk0EyHF3lxdgRiyjMOaySM"/>
  <p:tag name="MEKKOXML2" val="56uhmvVs1R0yIqTU4gc2eBffTmPuEZqwXAUHgQ32VJNwgD/PF2R/UsOesIr4QnFKHj2Zi/6KGgjYPUqR3jLwUj2k8I2PCNOfy5a1cOkICq7KkAXhauTpMHH4ROZxXnQJDM+TYJgzi7/aj+VvpdEh0RZ/bK2flkasFSHRRLhzueq3lVxFz3iAJ2hurHj+BieMSzedadAniUv/qb4MSOgKYz/4cP/s2Ld8Fx4m7qqxOHHnSRSBVrqVdPxnChMyMwrC912kLZ7ttnscJ73140bY7e9khIXivwtF8138PSgekAkm1ZTMhAaAinxkHTRQ85bnpQxN14GpxiHvWdwvG76eYLBmMDgJbVp1o5WTSdXvvC4M6IG8pDRaTxz4oquqBQVvDW3nsPywqnMDcnp78fmLfMBh2IPnfsMZ2jHvKiU5eDl/06PpjQVLaW4eCXtwrKlj0b+DsaTJD5U+EaQMfl01vH1tLpF8erfUElBu9UEn7b/4VAQpMKB+3m0hXSxa42PL+s/FLR1uzwtd8XPCwdDRTsPwyhJ15bfwoYNW67GEFryf0F6n27mpmcpr2QKqycqqtuSDu96dUvSc8Yn+U3ZUYQ6bObLsRBjJngyuBYOj0gMgYN0Yvpdqm3GNZ4WT2wNilbLFlx8aXsyIR6QWfTkbI+I2ehXNgAfdNgwkX2J/rvnKllGI9nqICMMaM6wsHUjJDU5LvzzIsfna1KNGh8/QAK8GL4csl28Y4SQuf7L86+6rCj0XZ71B3YJk7i2dZ07vOWnOGox+Gmah/k0exov3iWou0DxJsVXaeKczKm7Ov9Cpi6lUyTzRsq1nEQkTPPHpEGHOzdOj7u3ccY95QW/aHa31mp5bPPo33u32gOJwSemH8xWmjbXiI907W9vPmDL0PtJfMMDLjnIrekyrv3avu0dXDzYnDRcmeJvgmVieBf9YU1YqGEOulFzO8LmNCiSiFPX+mYtwTY/4f22NXgUgyg4dYTNruXVw5nMg1TeHA8Bw+l8qQ7v/YgTTbl5Av4K+CQono0Rd+e76GuzkjaUD7sTHnwuzKM+Xdbj7qdKm9340DrcKlrDxZSLiaNoU/sJzwBVTWVVKpFMdh2FCp6vBfzA3xKjLhVLX9PKZGYOEx9ugy5ANPsYLIX1eWrFtG6VBXpfNMHNBulBlBoav13rpruIYvblghnS3//s05xUPIkKwQgFS3Geb1avp04M2jnSDKJp3+CQRiKqexYRQL067C4pNlLCGN7KLYxk1yp+tL0dU/MeTug0Nd8GaWGfBOp38csu2wyMAQWyLS9HP4lqM9yKDDdvtCMzYFz01s1oOIPN+dpYA1Mus48uyNsWY+ryvY8/ASH94C0dXQJiqBa2TKI541ZgV/K3ahf+H0bB5J2Xj12eRP0Gtwi/2ktxWZ8aac3nd65eFJEvbEHNKTfq3H7/C6lZbHrxq5z/vnLOy/164EOPj2j21mDrFEM4sQP/oCIL7f5Kox3qknVrH6z+jB2KIbgi/uhjjgOs8ayA9r1VAoV6TknQ48GGOQOgPqGdt9o9JT7s9KDFAuYmDe7rv00BnX4iA+Q/Kcx99XL72xHdY8ZY1ZHMWtN+sj7a7Sqhrp62pmBJPDQS4Gr1IEI8669SeE8GGQ+d6JGniBeIMU2vZ1j+m0i4btF8yathl5f2MEM8idC4UNdm00f30dQ9iAKI9L62BvCUFibdiKClgEOsUuRCn52efLTmj/bOhwALJP+h34jfqaNQS33Ii+afziW/E4KHMr/f9TrKxjqcmNX1Zk8xizi616OJgVuZUfPRDyWCukwSrn7ybvnSaW+BvaLPPid4X+A/j3Py2bh2B051vHF9uwh7XoMyDig/rCs5C2kVA5vtBBJnZqPaOD1rkE2VesKnHDkg2uColhS/TgtTFlvsU4hKYXpeDjtJ2fnj/5d+diql/lq2ZWRiWzxn0aKWg4lLhTtqTEv9+Jl7fyCZIl8c8QD+NR5Zo1VhiZc3Tmfu9SWnPvcqTRSy+QxmBp85dt+pPPJR+U5H8vP5xf16fvqXbjA1KKjZQnN/KtudnHc5ZgOdlUKx4C+DXIYhvI9w9zgwllDRwjPE25u6kmCH4RPTqhxOfUS+B5y3aodP4ao4O+E9tUgtpjyknSE0Xda0Z670QittQOYRtY4NMNLj0eHkfPepUQ4obwC7hma33XFlVHvLjH1VzLdbYeIIxhFJjyqS/ZLkAnyKxGOhl6gp9TrXqBM48gIy4P6SSxIk2vcsWnFhGnasr1B+s8XtzDgIzoeV9R+vdibyLbSQL9NhGZ19b2XKNfXUEd2PllKashSVH9DfMybrxU/tyvPsCcVx5AMVToOdzoFVwhMArk804ioDedAzusCIZfrGjSlynuxqPMH1dWlcOdSoaafJuKpygbqPQDgy76Fd3Ie47LyieDBbiAxUyhgKmOY0i8ORoKQnz1F3/LTXqDibpNIuNZF8M1koRyRBeiPADML03fFJIT9sBG4IpvlBOTIscKT0BPS2wvqL07tszcfyGrGuiwB70w+qmux2dA/m64QnvA2U6b1EMX0390qBIhFJZEz9JAjOHJYfK0V4mnHt0Epz2bGlErwlj6jAfZFau3G+TqAOBZ9KeP+0Q81JSJ2RUGD3cnOtAYlBf3CTknKCbDk45WGsBLTKJNfzi3OhugJ25ZvOQ9azv5N84vp7VkQ/InvfQr3RVLsaLDLGf7uGgeQfdeSxIv013EZG+8/KfxcNCB5ViGrPBnEimOI2lNMD+mi961gjum1XG3psqNI4ZY0TjyR6Y0M9SwgoYJSgXhKj2JKWb7GIZRcN3V0epducEVwqnD3SzG+U+IlOL/2K6TzcSl59AWBXmkRPt4sHkLe7NhbHuDD4UvoYGYIc2HFzCYnMcOXWR7EP0pUzkenqxqKpi/AaDANtuXsjuSZI/LXNbYw2i8BUH5PPMNEIWPXj3NwCERJJ0zdhol2zC/sxCMXH+kUfcNV9N7F+TnaQ/PMf4He3gLkf+fCEvBhFDX8KybEmPlWhCXlDWmNOnwrCj3CVO+0gewwC0hvtrwcac8OvfODmjnnMZ4uqvFkEuLZ7O2J6inQHDLWDjCYk6eK9NbH75BzY52QlSnHg89S+X1F4w6lz8kufEOxyV4KvUHNKr6w9YwkMrpDN3Ae6wQudNjmQ8rEaXHVj4z4k5wmzIUAAD/ypUZ8y1HrfY86binbMIhBdNpEifgNydynGX29CvNgAlndRWGRa7o3Y8K6dLT+tzBwm4wFPqJKSTSGa146uLjnv7Y8T+Esye0N4gnm07Qjvs7j64aHNVjj1YyoXYPHY37/ze4EcouENPNu51wKpQJnMCdxbT77UeweYPAaa+dlWxo0w88FnXKbsFkEv+ZxDvE8cT7vSEqU1TwISWUlv+nCJHbjlGu+dj5Y5etO2usqkn8ERnlptU4sxf6ynagoDkkr9KLicBMiyNVddKsEwSZw35yETxRWGACNDh8n9qY1pba/170F2ZSlxkSpNcHkVfIibrlyAqSsGsy1UuJhD5Dnzbmc+67SREzj1D/o1c+zzoajU4k/LlUNPTgy+52E0ex7ULfIIx6P86Tkax63s8SNYfDRX4BF0i7bZkPCiIgUKhkn3jL/dLXihjQOubZXhrMvNFQ3fug4LM03TMuNwg7QkWFcWCSQ2c3sPte8y7CeodEYJcDdZaKonjl8HAzeInWBvvhol7KL4yaimk+eQ1G+QmuV1zOiOCigfV5cRxNL2Bcpp4U8WKlCKdiJB012rRy816GCiN/aSx1XdjJyl0uZCX2WptNxlYLogLhmOEZHpP8Pdo3a4elZJ0jD+MZ3jyla7ZSyyJkzs6MayVBYDb5b+qkXAPwqrrAMcPtYqS2g6l3Am+IRM/Ijm7opZtRaR+v5PpTACZiu4MvmClqZ87Ic2Z0cztWc8VxGBglSqMFzrGpsrNtuY9U/CM/yfk+h/W+voD68rDOh0U3J8nWmoPGpREDJoRnvlruk6v6ubYouKsvsAYUYRaVZhPMTTkDhAIgV0E93cAMDM12tUF4tqNHDY8mMOA1uMp4TeaqfxoEpKdQ87+S4+suzDoA42EsdF7SLWtPf40FaP30xMnrloNCiay7C4+evpzprsL1qv+vXRy9syZMvNbvsxn0fLi4HLuH09WW5DNw+iqlyz1npJ9yEGj8ynWUYmZasIJdgAz5d+SJzm6OfLkiGYVjC0GW5GmJxCoTAqx6QFKsLJI+fEGU5Jxq41/ww55zmVMfhfVDnJDghTvN6zjEnyFebYaAJrZXph9V29UOr5m1nDDyXhW7BSJWB3c1Y4rC4uhUae/N/pH/VqZ16mIZBm7CBA1IHq7Fcfv1XfJg6uIyB0s/uh+OX+UngrjXTgDqg9teoQbB8tL2kdKyeY/KizBo47yWIFrQK6lIoLlAIKMxSsDHFuTZNylByjTprl/i9z/7lCJBF46PpIF2bDNA9n9KQpcLn0LH/zPSDlNZdlJIgacWl4HHMyu5ZbURIDqrG8QYwinHPJDc0xeIOSTZIPiXHOfEHXet03JsXRTPrtmnnM6U2gbbrQKnFa2uwXw+n9NWWAAReBIKepSTn2vB/H6yPFDjKlw/ZNjn9PRumIQpl1/NiMOvdWydOGiJrF/ag8TDcZ6JirxvDgEdJThbv7ZeTc6PsGG1qS1kDclcLmPpcIX5YPSjqnL7Evftk6prAf11uyvqfNvIgnvk5+I6dF6ltdfFtfwzuHFYcmOUahXHfujveQbulE+WtqYG2x3N+7RnFAegKj9ESFdkDF1xUsg2g5dO2ZK1mFNnlcULkDTefQtZrxebklnWO4J9fhtrFhsoVV5YnCGd+JzR6lfiudL9c7/FFw9o4oTTopNRefgkbrTf4vSmcZPhp29ZKMcKxubTjFvsmy/KlyWgm081K16jBVoPLOPQlxdKhfQFD9VsCiOLtJghoJ7j42HQRGbrBm45BkYBH9mybAXettcOZKfi1ttjiWjR3oB8YpeMIUDU6/0H86UouJc7gksSGayQpZroV/cnBKuRrrCi4C/HY04woPbX+qIH02AqD/pSmro5oOp5H+pOpEIr3d4GZYaV8Zv1nIYdf/MHFWtbGzkaEmg3S1Yk64A38RVUP1Q2xq6HJuZgYin6mOU1FiTT+hNrdGN0cdE4Oj6+U8mFZqRCZL+zlweWEuXr7TvNXOxaynFIflO0XIBYqa/EtFbozvpUQ6EXFhQ7f8ntTRUCS72cLcvkBmuaQSpGSLBODyI9+NljEqhrUb1dIfYV0m2dAv2ff5IA/6C7VzMUC66vsbXC38TW2GyoTiueJndja1a6XKlbfDVBWDsKau2kZkqO7sdBC9FVGfGimLqmgJajlJnJ1G7Q9NbbIKDzpwdyS3FsK07fwRi0ipCBdTiPbofoyjh4brroLEvjSzfnRbAtLlRAMivemlazQ8NWeTf+bjFrVVDMQyrGQqte1jx8eb03c5E4YUiEiyHpOC8PEx/ZVNS21G97TMRMHWq4FOO9Y+xrtWepVFDvIEqwXwykW/EFS3CjR8ulwJMThQKoPVoZqeUXb972lDBCfqiKyUHtht3VzxL786OXfObxYqWYBA79HKpQ9p0kuK6BRdvxK8SZk+rIvc45JnSK/yGlaSleWMHDgayZa6l7T5ynhLiSet0g3z4gEvwD4cbTUDatk/5AoQRUfO7vVBePQz63iEdKwHB9gxrAWHICAPAg1jsMb8yyhJuCfXwUeCm39SG8hqDJa5/wZIRO9x92cgdQ9WG0yjxidwwmPKzNrLQQ9n2EuumGZ9Xk9YQpOUbVrRjf5mf95VikjVdo4/Tw+JBbe3OveukhhNotSvyxnpWNaah+utKnjEAhVCMApkfAa7lwIaBQcJj7XF08bjeuvEWKholSWttmrxhrUv3i81DsqNMAE90cV8msws4thisDhrMEJA/83M2UGWnx0H2J/YWW9Xt7SrvcSLGLCpMS2JPu0IpW4Z1oVpq2QyvdwgoC8Wg+mLwbF1n0wNv67NJuYxo4LLlQ7Q/OetxQWz0l5vpDsl9ADwiwM933tnVCUyrGgIepMBxx759MOVNzElW8HCd/mUNZBI7jRSh6wT1r6j1oaI08lrnzZzkcG4mWtVdB4n6xSwjhWm1s7OPCj9I59A7ZtAPR0BQGvT1RrlFxRfYqMn3dpY+iyw4ERQnWyAe2I2d5KtDlEgBGxA+vJEVO3RKq8bYqihVmrHpEgGpvzaIRuZofcGx1OZ2ZsOBLZK6Z7a21htfdBXjmRi08L9+tFXLtSLR25w4sYksxeAhKtcr07RPd3q80Y1JqTBOl87HNbRNffWBjPpFuFIXnh3q5B+0qbyQfZ22Q/HqSGaVD7nk59ZB6kel9c6Py6T9Am/UT/vQERkdruSHNOFHmAuGDb764OHDESlfQQ0mZ8JsIFXsWc8PzYUYHMQtzyLTxO7Y6Ln4XFyLyiAjnYmn+e4Ar86lWBDR21rmkv5Z7g1jKSuo3bcLce+pO0szv0PA4+DCGxMOWJl7BkNB73x88FFLUlHTXuzw3URSQBdwfDOcZVfTyNYHZ+ae0poIHiaTHLz3hV98+FdMYLwAsbjIsI6o684aGA824gbdsd+tJTS56JFljWSvrs0rHYtfXA//2oiSRidxkfAidPpvejir5Hmn4kRXMqdN75JHx9J1I5ATXG8fDVQbbncJDbEv62WSE/8TmRqKEFC3J3M08MVIFQo0T8yjze/WaBsrTPDmY+JQEQ1RefkKVMJHynMm+cnCIAylhPejBXv8sJY3kd7RlqrGuHdv0Xu4B8oHWwmG36NWBLI8uVU4EMdLHEyBppV0FA3e44b58u5q2f1SX4GygxzPW0mA+DGuK/pzqxrrKvNomLMx8zJfVI7CfcD64fN/VnkxQiHmKZ3evC4pL/HVuiXJyiEz4QP0mqovjjAukig3rInMVM45EviGITmecQvTTa9JWSYbRPyFwx461di1ibHYGdODsCTMw2+kQKn7n92odT+LVUL//JCIog3Enif8BRDCGjwIyNIF4kKGTMVsJT/tWfOyuWUTTU9eThbH/LyxjNW/YhlaWjHI0EO7DsZNmjVzFsmOTfsLi52BGMc3lCw+EkOmDYCcAfXtOQaOQjXf0QraYSxm2AsI6WeFlh2tM/MHoeUBWzv3jvH8Zp/xTlPP4gDHwg09EGDJYxc0yqRY60QmEBC79nQBb8GfDOJjEe/FKsQd32aW4R2SecHGbaIyq1MqNfrEOqcHBw1RfkankM4KCv2G5q6JYDYFbtgLpyaKns+ItngVv5V5vMUFeBPtr/owY1B2mvZptCFi4t7IMQgpg6v0Af35j/lWYJ16Hq9UmoKqQVk9YV8FBjL8d4tT0PfNQfQc80sywTwTHkqSR/k3q+WxwoV8bTL+3BJWp+WLvxtJ9p3IyJYYIBQGH1UxFjaBHaq+dz/TQbkLIH5KGJVIE5xwDaEMPdN9TUVgiqqZBIyB8N1ckP9zOcWJ5EvqgLowgJqkMhWmikiKgSVvwB8nUD15PcXNXJj71HG2HRtujfl0YrxhdFmgoXey2Cj8noh14/moWhl28DuLFYdOx74x8cwY38SeEYwhfBboSKZ/4XvxHEdAqCFfj5k0+X/lTbZ9hT0lRsEwWv+99yO7iEkGfKhpIJSUoHexo5rJL+w1TdkHq8nnRgws0S7YBCOpBP4wWa5Orzs6mvcza0xtjR/3Vr4XyRDpE32VwHXBABWwSJP7EmGLndsILVwPTuzjmE6/ofxGcgAYhCRBaRUV95O/PpDSDWyrdNu1eqZBF6PHbKZF732I3GHCGdPTWb1TOOqoUxTGgGqXR5vusyumSt75CRDKZ9O6ZUOKXTtv8B4pO7zDgBAXejEcg3oOS3NsTMWCo7GZaY5pA4Qrou+biwsZq4V6DeZ8veDbTD+8jZvSFjRSkSmTuShRWXZCokVfRkvtJm7QsVtTdgdjeAwCibzSFKKL8WhwzO04PUFgObNDkbQHHp8GbDpOLn7r2KLv/4mcQx8gtBe2QFAUFgv+wbZxNqfsJBfR60gUJgYFZM32k2eVkLF7OdX4kCowknXledeqXXLOawASIcL6ZwZ18qofAcvM3Sl5GxdpNXiHNltAVp0Nfz9xEagit4vOpaxCv4FhU/zufqTvN3Tdcqli9d04xTO2L+7szMk/CFOFJkWipkx9PGXc75EE1zLOUGRalCM7wPDb7+H1XyfEdpjZ6es2CQbNZlokluzHKeXAPTnYHTDXU9fs8g9e2Pr6o2NJldAdUDpHoBQeFmMSkWEzW1c+G73GnbYFkoGTUzsbVuOkLo5QC7uBiGgTU6t0wBqCepZ53pYRGnsOITLiH53gT7pQWrIEA5+nzUraefV76J/SVekbmVTDU9b+i05s1d7WTKARvpvnq86NeyILGsC7OMDz/aBB2IWGHD4iJng1Ee/rsiFkIyedDbyYygBGrqwnKO/ULdqoZbtql791397bRnNbOAdyr8vrWxQMQlWNsZz7KBVg+ORvw9idct50SU63+Ph9krS+tJg/F6adHVwKjo4/248iJYVk5izX+IeDhc2GUTeWc0mlobWp4e5GnqJJ9Pfkl4rpX2XSPeXPqBdudnLiF5/pJ9hiHBFhJX731HWW5xxhoLGS1i07wIgXcanNtMaxPb/qC31rs24T3uLQXa5zrDSi80Bj7RyORIsvLd4GPTJ5Mdtoi6sA4wMgaMaA8F/uZjiUvj4QtJN7Ldi47an3GPu/TrNK3p3sGTGxoxX0dER6p3m1Byty7WT22zeEJM01P03oqJ5ke2JHLrJKTSGljTbnPq534hUzKurIrxqpEvsQTUx16J4VUG4L7LSapk8JhNaif2iBO2MljIiiEQKV61kgDHUUGL6PhRZFhgB4vHDmWFuVS6R1B5Hzu6BIhl5ND94H/bN/9TDZBn4rLFV6hjNLoOuw6DG1GSoSR27TqjiBsxCWQZWq25mkYa0AmnYQPRgkv1CfBsx7waqL/6Tsd24Yzka0EDxLP1c8Avdc2uEGgYt924dxn6yNf5V0QeyqHldm2/7ghBOoTrbofy5L7kUy/MTY1KoMk2judhmonb3bgCSP7fbZy1rFdqCf0tZA0MLkwGB/TKYDp16ce7Uvejf8LskBjM+iIgbF0CzIMkiRAIf2VAv3XbhatEQ03yiFTKajidUNI64djCMNj7Pm0Br2g2kTBTc8WXxG3+M7uONbwhfu3wngq027BMGyEP2A1gvhrCrFB2LMTRKNdEI8y5DBNGk/On0RU68p62stcx7l3aJFdU8XExdECFeroQeaQ1eav5uYlFGkql+UmUkOp6j8YzKaoekgkYmtCHL0MLjiYeBmPbrkMLfOuU6msqeE9brFVQ5TiM3ryUnAURcBFCcVeYThtifjDWivFj2g4hSyTqeX9tk0WK8ePOOChtGnSy6Y1aqGitM55MatV6BQJgDn2ahsqcMO7gLybFNjYTLhIWv57MXW4EStcHlx67CTZpB72nlSUvPuDtLuNNIUWVgKp3ctDYclXkkVhHQEzNV0DHh35UW7q2nE8dH1PNvsRpfem0lEDZavh6sv5l8m3tjCuCApoqK56BU4SgRi8LKRwN1uxxm8ysJfDXq3himhjYb5mfIKYbxZTzb5jh6BF58hy9hRmFyNXPP8d+tHMROLVBIm/jHDf46N0l0oua4nrP3Ul+sooNoso5lR4YcE+PDJJECoXhcoo5aHAduhsgh+mwFVhCMdODNCb53qYzFW0Tl6Wjv2fE10PRxL6N46C3CzSgcLJmD0PMoFXHcx6ekMTpp5pBkD9GXz6YkSjx+owa82CiZrunYF+1ZRirIIoRXAip/i0ejYw1kODHyGfee1icGPkPIik5g//IHWC8BngQDaMpc7hZ43FGPQrYmxKHCsmwRG/hgfbao5xb+an6mPpsnHDFVrwuuPCwyvNE6m+lktc026V4hmzUhGWq4JmfegBR00E8pQICmfUyW1CYDsiVzlDkC8FTGvFfrgUdS4IwFFVmFDuY7+gvqMZgLStxZl6LyWnr8Jz1dhvBH4DS8a1zPgrUVYwNfcr7GinidbOzg0blm+V0GX6CbLD7JPb5ol7DrEnQWmPIPpgn11gae5ctam2U80FBSHOmYByUGv/P8tbwWPLpICAoqkiW1VZ2IBRBJv0YhE1RYo8LRmCBsiDjy5nyHSwHbfmXStqAIQ9NnNVQGc+ngMDs7aPL0S+bsC34OXuhQ1gvk1qAyVpa8mgfvYxgfZ0QMdrhRb6bYMYZrStmhNASlGZE1V7gP5blCJe7MkiEk0/0Lm6I+t8kE6OR0ZGCUjzk8edGNO8g2jV5amaY37GDz22eZ2tFu7bKBKcKFBznimO0ghQTyiy21GBJy5JBJgviC227vcao/TBOxeSX4r2bg2I8+IVlD8aoKRKT9utDfIMCm1e7jHR57EZG7Do4KUTAwRG1nh83Pt8iL9+/0T5a5+1zrtyAB8saprYhGuGlLrL/s5ch/YKYXvTscFoMz5q6KLwDejFbfH1ATjdAi+QBvxcKMtvRqF0+uIiLXUeisO5twQZFaH7iAcJZ3z7tSGF9wtMoE3CXodT+AG/Z/VnhIJ6/k624PFetTaO0eJN37qT9uQZZDKjQg/6qzi03q6iVwI2Ilc9kL/ArYONBdPA6zmaPljGXky2KLmdKzR4/q8cZf6FYA7OPNwHw+w2ybRdN3GFQMBuJmAHWp6Zq+tG1E9Jw1w5COLrcg4atoFCFuz40IhnLm+8p1QFMXVkX+xx7+5GEp6LfwWlCuCUEWTRrL3IS8cgZm7PmmiwQvkPy3odE6LrndK1uo8JyO7bUrJkrXjWqktTC3DsU9BImBpp0UsYYQU4QKmwaEu3qasSv8oJsTsyClcL9pLk5I5Ps5oV1Iai25lQKXeX0OiUtTOLP6aMoXEzixSl1LGFWCKBPbgNIPrIxX7VUXk89BbesjvD7r9DX6RfwYlQ2G2YQ3VhxFCkxZxKbTFTYDb0j3DLEp4I4IzogC9qfh7Ju681+9C/QHAk0fsF1SBto9ttl1Cslid2TQPXc8X0WZzZIwxze+zcoydEVYLulL+VUEdMzvcG8IZH3LBvgwj7Op36R0ugB/93rZ5T/3y5r4jU0dS3csW5qpO2lLddxk5sg2nCSy4I+qQL6aLUf3SyfEHvYG66SLMim5+luCNmut1c8tWJVJDeoD3RQMTCFfWr9PUe+qrrhjycgvk4Q3bmMYFzsBN/0iXO89u2a53Ke2vVG/IyfyYK6m3blms/Z2joM3VwsJADoPXNsVTTRM28P3fM+8CEwSVEFsCxkoHnKMZE6NoX1xMxz00ktelDWjIN7m1gul8k9SjIUR0k6i1Z1DQNGpClkWEcajT9LlIMI+ZCmvZvStDlZgYfgGmW3oH1L8//qpiFuVHZCd6Z3gg4j90ODecdHelPPN1LVtza5jJG4a8W6c8XRoOyxYgD4LMWeeOn/aOqd4I15MbGMKHNbFcaJ6c++JRtgHnDvPwWCBofv+cOYXBoJ1KCnnbixO2Tp13Z82oQqeLogFoLtahhq7sYO1FB87+pfvDf5KUpe68MNgfree5f3Sw+U1vsUI2BFl+tc0RjVkOe5UNReIXm6KcW96HLNJkahxUVYaISq2Km7AnHvj/SCoUwY4gU826Cvd3yW60mDEdF2VHQ7fJ232w7EkujnRxe7ugmxaLigU/kv1hd1wWfu25DuUt+KHsCI1u4v04Br6SDiegrsHD1josBnQ0OPeNYPnlzn4HKEbtIUv7NghlWOazJgoE+4aZcR9uWLg/RqWC5VVND9v8h7KEFXeAS4cE+Uy9oNJX9G3yjSXxwUlLvEOu4sn0pLHtMe5GU0l6AHu9WbkVUUTFSgTVD8/DkeATyE70BTFdXtirxS0RZTTiU/nYWTq5jBMMoejOej5Auo3+DktW0tHWXkq+Gm5fVs9RW3YucfR+6eB6zUpJW4DgYGBZv1DZqu42zRjDXsjd6W6iS6ciE/lrGSAl2ud5UoXRyVbWfI35bABJpN38fntt88w6C48nhyGhBlytMS0ww6cxkfhOuKsOK2Y/WTzR2P+eN+jDdb0TpTs0LvOJszMJ75JuD5qGrN6h1Wu0HBMIdwG7qB5cTqCtMCaaYXcI4UHU14MCp+zSDnOQZJYitNqUiKmUFvW4QIERV3cMac88wf5cQIMtJTOCKnFbcplgdtcdL6Lwp86vG92z6pTJDE+Bt36FebFV9VMYNdddhzf4beiu3Mlm8YMd4adxIPGjpxKGEvsvNerh+Rjd7uHL4KzJ+OK/aTEoJGVcBshLtEOM7euzIocruguKfl61fLACMuDXT3ygjrf628QUbzbz0NNqPMC+EEMm+GG/13wU0vLemSMjqGmBL6XS2HIlbGxAnTFO/G045N5VkKmyhqw04SeouE/LwfPJdULXWuh73zFRnkLJIUWRFmdH4x3l7kHogoaudrs6fDQRsI+Onc0oVEeg2A1uBHZ2U0ULHk3BxgBKm9L+Y3JGOzGgBF2rSm+Q6d9MLrP/ON+qUnuzbuAp4kSqFRwk7n2dk1CorNGfuadXes3DiVaqJUN803V8a4Cq0MWNtgUQzmcXvf/XEHrvW5r7oKVyPeuey90RsyFjex11hiL7+icdMaOoxLeXcIIrfVqItX91G5iHjcezyyeww+duLJQhMwFx36c82zNAHeKj8esW6oT7RJ8GiSgoP3K4DmOJ99mnX0j8E974qF17HFxwJt7DLy+CLKS68TTZGxweJaOmOsG2D2V0cYpVKGWBSLb72sS39nTqUhxXDrYA59jEg5mTw5oY5KA2FwfrtPJMQCaR/6xO/z2L9/OQlwdDCkYFtkhkTEOTRmMwVMJtSdl5M8VMpAALnrIRu3jqR/XHeeo/zLJjGG81N9GYltrxACMVk4iL9jOgkE3tShMx/32JdYeGPHvtWPwK2eFjzK6ZgkcNzYL6PxLSpJmq7kCwm7W3+szpvrmSrxplhL/44MMps36vFMeRwMiYaXTtaiv6tcfHZAu0Z52uh/yES7lRZs1B4LGAoi7VxCMncVqK0tFjFBWfW/v31drhoDcLz/bOq+I3+q6kQKhPuFhwmmWtXvS6bd8ltPH2Q+SWByqcs52hLAznZiYyBwQu6eQsDggWFwCGDcqPdFsQxfa+pZ0zKf5ud6SDtk0MtNQu8wYTjJGLQPaTYA6YcPtHYcGyslRtusyb0St3r0+wDA6fqDygrDBCubAwPOX7E5eQnw72ao8B+9IQXKak/yrJfTYKqZKTfWVmymtUCge2ee7r9S6hG/8kneghco+b0gYnjkCsGDtmBf1G8vqDTgeW/kc6gW8lCTu5CE5PyQfFFx5g8+AE66a8AkVwjqOVQKIUiG9QVUc6/8O1uqgxtDp4E+wxqy4mhXcS+KWXncehDTh+EBC5atz8Mig6bM4HcXfF2YfENarYi5FGSm7BpzQrtDhan9kUeTORim9ei8/1ltb6ZmOXO4Z/XbC+7VrskMyqjtVAv5CUqOy30VL2FMe7U9QAjK5pR68Sa/30ELBR8YmDHLGWRmf0fP0TdaGXCjdgwWHhkV4GKOw6f5R4ZLv+zl0YEHe69BFqPWxQkm/e9V1tLgjoXuOdWK+ebooPmtzYq4bIRsL9t0CAgtwHqFVtyMTfxszeKZAzQwHPDQ710GnTHUmi/dVm3WkbVoCbCmZ1prc72pDV8vmL4Li28OKOkUhjgqSIyrAj8M5JYswMF1vhZBnqf1LIcQfh+ZS+gtO04ixPE5yIS2JlvvUBEQhJu/sNLtTw0uefC4H8bUKKVKRhzlaOD5baIgk74/3NmznqtJPzIfOSDn6uxHi+PWXTIY/flK+I83Psmbbew7vNT4f+jH/OrArdunulRQyXkBdznDF3wHSpjqEK2eLEumnVHCSxbfSdjd48KP+Xp6Y+bEE5Ptr4ZuRrlzid8/YYe7xO0vD1XmQ+CXaHPCZKAFDkUQqV/I1tYrr82uszhusmmFACwiujDIPSNusVv0pnxEHzDi7Cj16OKv0hU8SGuHZtO9rFNlDZ8DYE4Odi3nbs318oqn14+q1dk/p5KSkdMiAW2gT74kcOGPLYWDm+JlPMh3bAPAi5DkOqu0Ns1qj0O1YIxJegGkiVrJqOQP+Zhc3OjFe+qUsfB1EZSlyYVmTSPv9H9Uvz5CI8q4KcbuMYcyqYriOwqAoL6shyP8UbpMGWLxsF4txqtm5puBiyeny0cjmZ71OPIoDkElQ+AC/mam6KMBHIzXDklKaQvT+imgzLqIKxuou+xZfCVfpK3Ubx5lPpaJe318LHn0ohTUrsmyWhnO1zjsg4t1vWFL68sZ8uGhqdhmUzeINgssFXvMLMUa9IFp/s3+rbXKWYnbECbyA8llirKlFod6tJSk6hnhhgRxwwoFMhmURQwmY9297HXNQEFAdNqHsUIUSGX5PAHgGk0MsPmRm5Qwpq8qtJmIdLW+aXzupJkqOZPRCQ3zdzsE0jL6nc5vGV1eXw44VaECw1TkDVxDh7TSHrNumiOgtyc+CHzvkRBZLwO2V0arPWBGA6JFgeCge3WkEbSlrlEkHjDrm+SGDFlG5k1B5wSMUSNG042JnnoGCry9fFRwCIZYU4ZwNZdXFgM2vR4I0od1Nj55+lY6281fINpWLmUedfUcTP8+pkwFIUKubjMqNDsaeNkGbCEM0NImt34pJD1lE9zA/cIhCYVqkXWicWkeJsfdpTi+jOPh5VQy8VXSZbODWfKzQf7yUt++zjdydfrey9rq+7QfgMkqMkI96OvzZlctzjQYFo1vjKsLu1BhcfQV/XTmLcI6lePUD7wWbmkDjsyrxnhUtM2xjxgsPPuCbRGJ02n012uaiLlUqJ85AVHIuS4TboHIEXIc6vdihPf1w+LHFwSFO3m6UsUIgcpWE7CmB/OHSdALAtCSuAXpGCGf41g93iXFkuS5Bm/BjyN3Hoz4Q8JmsROJ4H3Quw5jEtlz8vC8xNjMHCqdRacfIqdFYouI3Qg1Sv6u+jdMKuTRZiLTCoudhO4zB5UFOVDaMFrdKZqbO8sNSsaBdiyY9kDclXbQBP0VUNd5ydZGcnqcdOGkCv2BlYLMBNdwmWyE2qtcFkQ5TTIvaPlvVf2D0ttlvbh+DgoOfxD3kvaDKOXwuSN/cOC7c2tQYi9au4d+ekJDOk9xQ23ITJD31T/JjS2RslS0ZevL5wCCxwtupJKjSYbEs8IzU8f3cfBJngo6xFMhqeUZZ3/ewE3uduRNO5yj96gFUN9jckgev1yskmUpLY4XeUY2gywdMSkbeB64QHRbzicITehdpqngeyc0BJDBSDh6uCDILaT81x8ovvLMcCrbET0lC0Hvem2V+8DLCbKWdM0nk+3WR4jzFRxZ7rxDu6K0hGnj9MfB4EYen3Yh1YoM6jgwF3ZHTN3bUKSq5FBsoxxT/N5JWfVdXfcftJn35+UPs4P0RMjbNxRMVrh/X0i1XG3c2vnVIs1PURtWF0ah9rlIvJwj/PVKzPto5zyOcxmybghHtCIbryx2m1HkErENra1x+fzPLXrTN1X1g8ZR40DpHJc8BoeadfGwV6S1qTRhe0bvdymituJY/ulKeGU3oqsCwZ6DMlw4SNBPyX8/XKMHPADJO2SmYqkdoNkR+o+/Z3dKX6yWikLckVbsLnuY40EsUv/pyJO80QOsJPLRu6G9OFt33ExPbrbBGyO7hP1wG5YYDaUIH37ekwtLJvo1D4gb3o4VIRvEQqY0IQfiGP3YZJ576h6EwS7xBPqT1zeQNAgorQl3YWIcHRm7E5XcHdgQWqm0uQCOw35wnGhPF5VAeknOcO/HDvdhUNX7lCEzzHjuFPUHmWlxFYNJL1ed7oiaSx4e03gXsYriaCJBRYk7eZLIiraBw5dUMUJSTDA7Q+a3BrRAuKr0470AChAyi0OnHlPfb4P8hjctiT23Bx8T/nmH/jsYfi+YLPfd8hm2R+nRPqSKVfO2pPfAadOsYZFBwxfInU8qiWVCHr20p/Zx+GXXDxAFb6vaN/b1r7q1Zmzp6JyDElsC45eUgKuXR/+m0HHAryFWiOIB9N8DnsHf0JSZr0SAOku0OQsWhSGEa/216DIU30JibITV7dd75VsdMD/ThGAXatukc70HVkwLzvjSPbnUe6B+Pyff3VYrF7XTUGKlCYeNaf2Dx14a+OJT9bx8OOoJm6TM2591cEJfWvOo+oilS+2+ug8DdVylLh+VyTb/vmxDIHAa2fKTk62Yz9+sx1frrnDtqnaXppkzqKxqyWC5daTGXSEQhL+AW7P7yRDRMosXQS90Eufv08qaHs181nvdfAhBENCx8AXeUkE86tJFKAQx0JO5dJVVvPcVL3qxS1YLMUuxUYAHvFrE2WvJFe/1Fn+J/IPGlW8bkOmy35AjLXpwU4GZUJNbQ8AVdZWS+r4K0UgOCUg+NvPsgt0oh2cUhyfpaVXab2icHLxv7yo/sHd7DfGZreZTWEA7XiEM13oL315OrDCIYDnL4G6TXJ9zeAYWWXucnV6NsJCfU9gqRTgUeJc/KzZwYLLTE/dEEoS8XglsHbh2NF4nkdxXvR1eaGy2w55veSkFcuvlxORs/3SGUm7gWFA6uVU4LPYwH8dCl+MLKBiXvV8RACK2hTGyFMkEHRG7VOpitMvIvjPnUSNh160AmIA69lARnOrOduIBAPVseFT3nnIlHm1o3Kk0QFyQlIMhdcnDdS7CXIZv3JZF8m+ZPwwEg2ztwVgB2GAXb0G/G2eQhpuysKMZoF1AbeUOx146SQAgVcgr69Wqok5GMsj44uAPZS0bgGQAmzq3EdrpUYYoXf3D2sm6JbKqzUFyPjCD9p6VODSm/Qfd/0Xr7choX3Z0kJZznE9Wi5Ij1xW+9odweN2l2ygfCIfFaX3VCuOZa00G/srUeAXW8r6gX7FWYqZakAhTb5UsbyBAxsmNIIEbDM2Ljh8cjd3pYoHG0uWwq8k4mTmX4trB8v6rI+LWUCdcPaB27uhEBk/XkAcS7c0skJJL2q3fFI1R8mBt77XaHMG524pOT2KRfQJAW+YdQlUk7cEm1okfclSG47/jzDdbyryJdDV/3talt/7c5yNU2yQ6Qfjv+YAZ696ywPHYMQP1dW7P/t2epcinK3qkzdNBOf9GsIwXlngBRJoVw6V46OQFN+9hqXUQCNjZpuhP2oWMc++K2qUB3wITebWQaxReigVUHRu3JiBSzXpAHMXXjOcjlIngzjCVXXdU/8lEYIVoFNCu+6ZTNWm4poNo6tTMTVU2AySQQMFNricNkNWiKR0gO38HBXehiUuUGbBsZCuvPRaeU4ylGJy3i2YTh7hY89pHZ8IQeVxwMc2BAerkpHmgZfobbIMjTmNNS1bZpuCW7DDm5Oc0lAtH0gAdW+9EOSHJg6p0xbFttDIG/0PHjBNMJ/qlI5wt9ue9/Big0Hg1IHFvTQLgIQw1Pa191Rb0kWy8pzOCU2vM9csVo9xdIBl3jRe5A9cPvXGVOFrYCT/06dvsaQuxlsVepoZY7/4KKSdyz2rfKB/ggLzMp61IAsCWyafyMRHd4TESawqmsxAPl4UePAC2bCkwobdUvBJNTp8OZpvwfkLlRAfostpEO+gok1UGWboUbUUkbgQV8e1MH9c+MjhS2qpTTg2OjrBfyR6L3LyJy166XrF018/PSx35vhhuy700+CLadcjdU+NunuA/j2XNA7ig7RGA7IC0k5FmNL9vjhdCuUvRfMN+EPvP0GtfGKZ1kaPdxf3p+VweINBQ/sjmEKjamcsIgnpV/iEylxzmaIoW3BqZ2u3vQor0desLTnipNNi36IZxcJ/o1ZXcR3b07zxMmQNJK8r8aaCQXe5KR/RaE5akxkYqj2v63GN0DDwSipIPwMYorRkN1djipvjcJzBDFOGa4YRyESd775RZuUl9DU4aJckunVlr4QZxh1zJEuNTGg2cIuecZlDdBBo0uI6alQS7NsELAB2DKjymgQkTqUHSHiCCVa+Q+W5i66r3HV6w0+8xDlrSNogp2CXVOpRyPJisAft0DToT62hz5FTaonUO5iXC6eqpWsp7UIGHXz045EUCtspCbrLiQ7Fs3zuxl8fhuXRTBn6dJAYG3sS0bpqR9+EXyA+GUj5gkF0hVQ14SweXDadyAoH4i/kkCnZkdqFQh0i5HicBRFbhmESjv0tQPJOSNqvOJoyqzcW7yf36wQKhKPgV6rnMXPzadsYatF+70H8HsHRtU5bhJXHY/9zgcNS59FV/PULCD/NzTZQaqHsYqPePexKkuY34ncNXwkiCRhk3RgHEFHhS8MF6moNe4Q8iLQkZiPFKAk2JSRO4A80pM4l/vzrx91r/cmP2L2TG8UWGg7V/yQUsqIoWc23VaYKln5VzX4daAOUbVZPTwx+8rKpwI/MyZj/RZCjA1qM/X88Z6j0QfHb4rflEbppniCQrRj064k5BxRsxezq3PsfPyeYMDIAiwnxvYDqIbW5j4rOe/dUvfSWS4Vx0wmQMkZaTfmrcyM1LttfThCb/VSeD1U7VP/4nwlsUN4F43TKk+XjguCiMdujnr9vGKWd/8UOn8Sa0tOMprmiiOlWkwy3zpv7Im18/XCS4qD6Z6CBCuvN/e4ciAfax8Yq68PhbJDAl4Jg3yDXCIE3l6xtQSLaaIjtj719Oyy3ChCHYZRUVvPpxQ/KLaritv4IZl4kixsb7VZHJgKvsvDaeZrqY2OKP2kbeNMAOsehi4nOtDn3BL+0hwMIPBmx+jg4MNVoRCWwRCDWFAlOdTEB1EEmNkIhv5/N+tt+qwN8zlqCJjJ2faLzkl4N0t0rTrK5cmfA5icXSVuLwzU0++nOHqPuHdlwMb8BRGYqA0rlVvDPJ8jjs2ZbWX7PTizYjnSdC8P72SXGpcGBFdDRgEzfh1rDIB69ElKtpRsqZFNmT8pH8wHRR3Dc1+sI1CwaBYQ3EIERx2vnKbxbSSFTneXsyOANFFxF26Uo/u/TkxbHEltJt0wbZl3LXw+OdSK9yEl/PKg6KBiYvb8TitdluRdvBw4rZXRCsSvO0ai631Nq3e3VCU4Aysz3CKLs7cLuqemK9ya/YCA3cLq37AkLbrqF6Md0lEiTxLSrkqbjguxPahrzJbjSt9q72i7D0xr3PQAxswOKrU9hSmG2beYfkOmRh1bVRb2AnRkmRuOosRm3kh38x0fyAKnTw0P4+mGa+g29WgmQkIgJdnokbM3lSLFYODPq7++cySe7ka91bOuMKO6XRY58eyz+qdtKLLM/e5ieXqBPe2TP420BwWYOvWl6BH/+os37jc+XlFm/Mh1bSge/HOEpm2roqe7D8wuZ462o1IGv90jxL6wBLNu8zv0OhJZj/mf5IMH4PTVKOeo1cSTG7Vpyn92I0SoALeZ8lw0wrc3YTW2qmlEgbG2dlZ42eAIdBCraRBIdhTH3x46gyw/+j5YDpB1VJ4qf5MSiE1lVZSHonGqrau8j8kMX3BKUj4t8S2oAuEeVi1x2R3GoI10RgARsIbin3yYYjvdlqZGa1F/PU077/E+ERet0x4EfR5CaKEvAD2OXT2MQ5MdAXIwfe/0VUXiGi9yhLdWIHSJ1J34rDpsXZZ/HJfKmOssHsZlb0EsMol3XUCHRiso0QxPaFh+R6ettjNL+bdT7O52s04gn4UchqNPl+tw3AthxcrGyM2y8Q+1k4n+/mT/z6lrzrIsvMvkfBd/Jvc3Z8HFtJZwCyZBGLdc0j1gsb7PSBnwfp0e/Xiyg1ULzMJK+8wlCMiZc15LAiGbBGoIP9EH+wCRnCA59CiKO1prtluVDqmosod4GQhe0iM7T7tQ4SUS+4FjGVhcUCvZ7lIiwj8kgOq3hAZnhYus+00MEnFfFd4cQJWCYQDyo6VXCNZM56ffsQZvktFdxPz2RpKoYARBMmC/dObYEapDwffjMLqhMWAgxiXggyWDi9kuea2y3+rEG3L9vDXnSQ3LrjishaeiTniZMxk7Vyj7bI3VmVW12JPaWStEt/sLrhmt7wx7p0qgLOlEMb8By8ezhhoT738IN8wvuodvy8XHpzFHndJ0RzHg8knV9Jx8EGHVWij1WQe/mj3vHXDFf+tm6wrKz2C/h5aIRNKqIwF7NIahQTB4DnBEP78hzTrs6gP2wnASEaEv5KLf58DMaVnf0sMsgyXFls82gwxueTALglSnCpvfEGhyyQ/Exy+rzgzooNYRhg549AnkFDX2Q03gDCbxAC9fFjCKs7Nk7rnhg1ZRz7M2d2HIw/GgKG2r9dN+KVNuFCdUTJD0gIsOlW5n05ApiT0ROWmI/5AFc/EhQcgE+D8r+bkILvqEOOLYCEuI3ubTp0DUPfEdyn4vC0SSPE7Jwv2UbC58Ht+yrAATuj2lQWqBXcBPhAX5tJiCwVuYUpFq7nNJSOmMSrSIMh2MfkJ5AxRuMg8/Po6logErPvFziixatl658NNlW6ALqUl7Mwq0st1ZZN6et7qmzeHB35OPNAutHwqwhQSYS0dOvJo4j0YQsMAjFQvZ6vTg0VWSzIYw0YXgS+RuCqMBXo1pkKMi+B5JhxA1QoEP8QK+2sOukXn3R+Rmy/Qa1HPs+aXJUS/0XzGIugaDLJTtTnQ9dkSl1mQBq4HnbfIa9zkPSDScLgadq7EhAj1N4G2kRkwNHJxwDVtRT1JCRqbaRxVYFQ03znjFVqDWoX7LSUGY97yBjhkFNMynKO6qtMNHhWO6/2qaT6Bkrck2UrAAXGh0OatICv9UR4nn6oQajzet+vHjrZLBXnvieildZ/savwlbs8yVD830deWDZdRKD17Sj9f32q682cXGPnZIf6MrkcJ72O98CZ1dUVOCfiyCLtB/4ykGG4IDjd4aEwXnYhRZgbA+2urZhWEHrG54uxEET+Fbgul5ngXVqJ7v6Bp+yXcvrYfX72sCmMXyOhIa8s//5zsPcWdT6Aka2duiEHBqoQDU8HHeqGlRuC9OPdpoKc/Rp2Xecp6MqSMIwVD7+4M/I6jVysrg5M2LyhQKDC+DXbeNgpnVBYFBFbaRGVGoYvqPa0/64T9gpOBQhiWnZ0OEs2CxucZl7ZCtK9wlQINuSUJ994/gMAvLtzn3it9MaiTVPKvoy5t2Z5LZIaV09h1+zEhwekR8A0GlMtA7jxMc3sRT6RAhAsNq19kHlS14Rmh6xqaHK0/GtqaBwWvEf6/iq8B7coS4R9wk5joq6yZUJfyELtgmy0OtctKC/DPvHE+tbiVePTVvMMZ7zrz3TZtumeua3gd/dcbHuYQNyhsmq2XJh3trqJXUyd+hYVC7SBiEsMv/ppV4gvyuVETNR0+Soo9BKWIcqz24th2P14UHmGwcirxm02sEuSqe3M2npQJelQgdO/sj9ButYKkDxJGmAyWXMTH8ZK6D6OTJjxmAtiaW59T0IJt5MH4Iph1R40w9WoUzdmgXP0JsmQkcXVB3mv6kL/7DeymU7KFWYin3vu3b3QjrdmWrmz1/KhngWsuYeib31hobb3CQM09qaHdOmimn3L7kJlnuUB70RxUQVU8EmlOeVpUcMUl6yLO01oF9Xr4cMQ+eZjzcNIfuK9kfV++G85HgZMdnHeOIm8CP3hYUuAE+hZ0O/7LGDDrtsXNs/2nm3Puuq9hwFZw36LUk1vi6DibZI6mt7gmco6x3FQmrTGwFK6cBY46aQitrbntQC6FDGxY+Pjd2RGpjNE1yxUjBQZULlp/Xs4NZRclNUj/9L8MORbopUVSq/VG+uYNYvmu9qH18bSMw58zP5Hm1R8Nf6iRFYfgNUNLkFA7QjohY5APkmJgpFXZKiy16L8eWivCarCAbAOkGPToQhrBF2rr1xhnL/28RW3FdmvZtPNq0VHb37nq4g8tPdGwtKDYKlLc+rSS936ZkJtinNea/pyRSjLDAEu7MyfFrF3ABSJMooFp7I9Lcx7CgL7CpoG97iiTFUu96/Vh7U8dxTj2gM1VLb0bgVqH3T8hwvKdR1Ku8cjmCcnrR9u206hkKdOn/C/NbshKPxpt5AYC6wm1bIM3WOsCfTj8JRdU7XvkbYnwDSCS4hfbqu2NorQP0M/cQHGTzrpGt27fm+wTyElVCIY4Wgfa1VtcDy7IX01AnDZLwFMMVxyy4XeMBopl2TR+0kHoVtlf1YLhhDCi5WDOqjpUZ8Kk0DMJUcqhZqNgh2vSiOl9pGvYbGXgOQ5pYlC22b9tSWg2boNP+pXgyC6yH4t4tQzrr8YvwPmHcmN4wU6Xkoqk4uuMtRzZs8IOb539qLI/YvmQlGUXCrTibh5RhKUW9cbSqsZp7CEb7nUcqUzTIWyvVxHHo8grezSqKa92zMljj/Ivi1eozB8dnaJrlp1ofmhVfdl6ZLZhmy6LPFtGa/eOaSLARlhxhihS5YHsCBwxpaH0gp8NBaL1vdnpHN+61QFVAYpX94ykJNJgb1JAIG83MOX0aVdexa2uxp6RYDe3v9BSmeAnae8OQLRyyj271H3IEzGnohbbHn9eqqDnBYM9V/EYSKDqjFcYVnzebvDUAJxQdJmmXH1HNu1xz02ncGUBSuc0+Z3bsJrByaSR74KvMNPsYCQARqY8nAEEI/HAWfoIqvtnxVN0dyqpaTy1AHx//ufgVg1NvjWK8psO6nM6Ds8Dst8x9jsyK5lqtWxxsP1Rotsr85M5dZ+kahESkLgOOu9ARUOG/mIOzXDugU3AVSuj7HvYd5pRP9LdV+Ia457b7rMskdJ6nvueugOwHJV+bJStvMrnzztGW7qWiKfBYrtslV6FHeD50GowRdBP2c8/3bGM+f+9tLDUcla1HQJte++fkivZzSm1p598ZHsiYfFTl8Deq/YrshVDfutQr18oBn9zUHXOATr2y2ADDtiNhwXRBSfGocNBFcA+2G/yv5EFUlqMtysEs25Ie3bWAL+p/GJzR5V+VgN1L3/8Wsvp5BZ1o37Z/S3PQ+fsfl4RA1SG9Ep1yRTDsNfXV7gCjFEPD4SkmsHyCkdA8IsaMtWObiU4+CRwYshufGDhFZbqxNI4PIaqDMdifEP8lZNhi0tnUhMg4jz2D99lBxYyG4ByGVX8A7aY0zrzltUjBeZQStB4KATZ2RorUq5K6ycidWNDZi2u1IoeLRFwYbcOx+KlSoN4XRi+blwQGLFIFHOcrEmCzdXCFEmt+IfaFFXLZuwEkRkb4wTrF3TTZs8aWGvBRdbYGM3Uf9gQMIyT0JRQsProTIR33lpFHaYmammYphrPX+daadCg3nfTJfcZXs974Gb3e5mWkaaRMqzz13Uecoon2LSAIE0TGJDwMCfwpYpD9+SWJAdD91kVchTsWt1GW/2V1x2B02dEZkD+Jt06FTdKPKJCH7g1pxSBae+chagwWk2V61hzc0gW3kCACxcrCKN1RX3yuwwMIOhLq4dRGRJM3yUe9oei5lJtJRItCKHVmRQg9vKUtUcnqnUgQiQrexg17/SUHZ/Y9Obd9guigkq1O39bDAG57c075uoivegzxB8azwP4o+LF4WM1bC67UGvY7vJMAK6bZcZluiXzfZ9gsDhjGXOGtNKgCN6jxY0mWJyXBXeaOrclaiMItehRm6ieV5vqCKWnmVXUqjX40imJJstkvGoc+8zYQj09zjLmSE5BkjX+C3Y/ch+JopSHP2kS5MPU/xSsXvT3xOHJ1II85rNGkt6Rh8KNAaaV/CqdjAoYXNcbIoImk0NLLy4/RqYg9UWzBvwChgjdK7OnxPXTN8Vp7yiZ1qPqiA2U4lTDTLYa2JNIF0HdFf/cjaKDvpuZto71fB6ucU2DceYv0xutcSUsyd4P29cg5yIuEtdF8HRi7PwtFgY1qkax89rXB+IsoFhvCkSyy5Rp5n3PdzdP2GPaIjjltqhlu2Q8I2LyEzRVAylnBmzLqtTyjjZ995cHSLsvbG49jYF/ol1VFwe7vmIPwpj0R8C3mavlnCqLjTao5UYeYFf/JkwnKRpAW4OlBYdADAQCBvP3FjZjMF6VzDcAW99LplKZGHBJr7VM1KPDrjbrAhRbVycnj7afeIYQ7YYBt7IZHrmN4YM+uMMI8XBpER7madTuQ2FMGiBQCMaCgckWTuUduVJ4MVWEnGY7QzKeCQ/KjjGZXdUE7iTooY1lnVm+Nhw0LCl5hZ4hWC13lVr8KDu2xGTEJXP9d7kR9NLW1rXu31HVdwH3cehVDayNYeJAitCXElqlpc540XV1IO1qqdro3klKRwBu6YzU1xLzzSraKgwTqoNt1SraLi++dgcg0ZzSuDUtXkr2cz8YB8cHp0Mdzdlwmplpn6Ss2RoGU4Bld+nfBEGIf/D5lxksGkH9nDJsc3P8ViPsSzwgt+uoSHDsmAW2oMJ+FjCbxXeBAcaRIXtYAomwlyJBxjy3MPR9fiZoAiuQZ9a7XkvpdJzoIrzOIH1w7g4+Y2tICS4xmtBacMvwsQxMEPXQp8LQEGsAYTATBiIOdv9TgML2rveAfztbkySV5Pn+WRlFgU7daLXjL4yiPMweXgHd73ckD4H57gJ//zLkRz4s4fN6YRGvPvyBpkta2nok/Uu3Ej6Y2YXvEWTlHXeVc6cJOeJfTRfGdfcXkfc6/DbZu/Ggy/0u56Ap5jqrk2+H4MiO1PJFam1I/5FwhMxjl/zkMXhFzyN+hfJIzoSXpaAp/qKTPErvo1lrYu0FZhecx2vyz7jggim0A/pDG7VchbF4+VT8KW6UfjdaYwOn3AKb3hezlRPzY+pcS5tseVljLs/IM/fAlCsc8Mqq4w+wPneuCdyF/I9sgIIbkPplUHrLnWwDdzlpOrjn7lzRt94eQoUgQt0TjsW7wJP3sl6AGtZXwzCP80sm8xEIq4eLN7asm0mxNAcsfBaK/sOVP6g4W8BtFvoDpBA/t9Trln01YP4ARcRAbcm3eYevxoq6rPtB+Iw/QWBITzZTb6PU29w4/zc5zrEhf0aPg7rbXvKRC0L/jpTjD1vPrk7PIJeY81PQfqd6Bq0IeGCdkCbCWJMCAY9BrHNJZlCPn31ssd0f41e/hF983pIoMuJjOZ1BLOVBz+IfmchifjAF5h4asBTACJi71N9hyNnI0P2MorLbTjioPjBpjTY2M6zVnmEX50YfFGZGtbf2PB4hUgFj+LOJfCZOCON9yqESxbzd6IMIuIHasInqC2mH6RTXrxU5FzUY9MDaJQwiyNiJ8C7VE97sW32wdte3xsnBYIgXZW6Kz5VPktb1NSatUM81JWuWF5/dYO5bwJqh1duaqew+2DuIc8Ozpj/RkJWCGF/QgcakCILc1S9mo2/RdCIrK5rf5X3CTVgvBY6ZDTn1nx5SpouJ9YIxSJCmeUYH2pR2z8/StHctUkj6LPuVkJRZ2akHpkFUUtFIDY9TYpGA4uYWe6QsAXHBZhaP+N1bWrDmaH+0jt8KbXavzdxGzyj/vEgaMvGZo3/L0xDESq6n6/2XOKtD8T/8d4N6o14YTGyS2+VNgQjJMPHx4mLYjJYc4icl/O+dypcpG2I3DsuXYSCdTs2AofNc9JcdUECAe0BREpF/OW+Jp4jCLcxABrg7WHZs6D03yMMNBot7kx2uURDLEnrlu3IDroUoJh459n4HAfOooAkRMQ7xFF8E3M3s0iP8U9cHznpNG2FZMOMghU8JdM6WlFQ/24XR8Gn8ZHZjy79iZri/pM6vs9rVcIzb2eZjIPGkzUpSXjP056m168iVWrL3FJ208ugwjmeArtzFEv3M/kTDxsRyTpy2tTeyLu774q+2CVDC4RlOJgzPUDu/J9zlOzqlrGnS8m9beIJP09LqRLa0cPMW7m+YE2xZF7xnLUJkiuHcH47D4w3j4r4blPPMsdoZcGeWuW4uBedqT3xfPAsB3oUE2jyhvj9N6C/nIDwO482RLOxtl5xXDTfNdbQ4LL96uNnuFxXKNEHHDlqTzpZKQJDUCkg/iBPkW1AGWVW07HJqbu4ntJ3uhFX2kQ0SkRtot22tkojk22az7YV7y0ViBje3BqGwgqb/5fWTf3ra568f7gZ/BoaSnCISkiGXqL602CW/U3qOQH85VsfPgVQokFtKr20p/XbmUrd8e8Q4eEK6MofAyPhhid4YVqFxMDVkILHt8ioB3aRhIaLcuR5DChHtKQnnrR3arPPLdQZTEBGQRsN6eCjXinOol3a0FJLR0MSw7jqaBCqcNpG/HOQUDo30QkJ7gjlrdk+T6aYV9rgx7QCWTyGI46TAQ1WJQhR6a4Jcqd6B4QWFOLkAaElYFDl6FyLd186mjytYXcxMpJQ5IlFlrib2aLdbDqnxdniag7AW67yVqyMfkUCI+wU6VLoF74e80x37Biet2SZhR/HYmyJ6KeO0PJMCSCmIapf8nIjlqw2TkV7kekWISAfCJRGAIO+tN3WQByPz0SunpwSaiWZTddmGWSaYawqp+uVh1k+L7juAGJlqQNgvuWmuue9mBiI4zmu9z1ql3Oz04fmnbvy/+Va06+L4I5S0WNGQ7zpx5F9RuPfi1F7TfP5bjNSZpSXX5cyduMCbdr4892LVeHtxFO2dioxViykYE6BqKIaTehpEsQGyAS2IZyJbbX+KB4bOcBskKlluisXfwzd2WqsgxazPGPTEaaWxoRla6cZrN0cflPKnL4mKU8/l3/z/xC40EHONLlp1IQuEB42xK8CkF3aAnuIiIwZr0CyKU8sg1cG1rNwJqGuMEo26TLj8mZYabWk8Wj0IxqIPUH5iKRoS9byvgt1i5X8Cclh39UQxArFqe0wgjSzOiyVjQqEWWjsfRtIwrjKL7YbetZj9axnXPkz3DeqTaIJ6zhXM7Svcif5T0zOFzYcMwBh9BGkMsXlkY1JyD2D+s1ODUVIrBe/UDtf9GPNVUypjdNqNeCzaGMIh5o7P8EKeRWUhPbv1T0g76au5bFE/eV4JhY8JlUAmC1zig+/Fpkg49Ef+peaMRpdgGESh9kppe7rF5/msJb8CHM1UOOryZk5iQwAhsxfxFL9nK1Cecgdyi8xjC4ja7Do/DR+RCpxnW1Hs2WQiPT8XeuAcn7RcDK/+q0vY1AJ07CtA8kykbg5AcpxAnCszY1c8IFWyzri8Y+xyHLl/CFUw81c3Jhxtv7+kS14QnfKyN3DyLWPJRHiznf/j0XUoZNgz5meWCPbLdS1yWQXGgFdQ4geVzd9WNeRFxDElqw6JP2CGivZkkyvFU9IkwqTwZKCiDBD9azeMEd6XOZZuCBIJumJfEWbz+2QQYMaFENbjKG6fSxsKFWBh80QxqiJolT/Dadt7albOIgFuyh8Xv0PIcqOpuq1nLkTey8f/lujEJrkQYe0LcHHK3Y48/6NCRTsruHNnX07xjtrLihgw4tyCxAm4HapdDyZcJEVUQrzBpMWmHMNC4JpRHBgfNfVeqAzSMahB7jLU1BGW5qu67dpsx7XE0G0vBVkVsXxLqKYCFyUWyGgX65BVLYz7DwdWm1xnAY6fV572+SFjBkrSCsZkHku6ON7NzOk4ide4OERvbgMNuMG3nKu1t+UH+asjKIoSj4h7U5N5CJ+iMFKNlsDz/MDd85hrugLb9gA1UZhnw0TbrAF7dNGoSE9ewmsEaZV1bQKWsyPPFiDbU70Ac4W2f5bNaQKDn1iFjIxCuSS3zE5xeVvoMVlSJGdMzqbCxg8fFI6aO+Pr5e4tRiBobGblzlDta6IdPWS6jl6jCABwNkgIo09BEH8PdFTdyi5iSJvr107rRZ70xjmBBEebQ57uUPXP4FgIQ3OUUry+VgjB4DoLdcyfZyKWEfIT5mLmDr3Jnv1r2M/fdG/kiMzCuncMGY43w4FdD/Dm4gJvBiCKyebq4qoECUx2cQXqNC8qCz86S2a9q795MOAXRRv8P1ViY7sMGAs3DbARB+NzhjrBGwcP6kgY/Yh1kVME1FFmSz7oT8rV4MIb6XLXs6Ci8Vm6wO4DyGMpqzlGBCgZG2l98NtpWBmLyf2Sy/UC2rDeUAf/bRcEyquBYAWnRhWVVKlgWrrttse84CGrKi7JqWpf8H5sHrLs7rwPS3y/o4bi4IthTKVuqjg0m0PK4Dt0MBEQjmDdKgm98fsIaX4faNaI87cicE8nJ8Rm1O3E6RBGJydi8U6iYXeKta2JyQhFMdjXIw/7bMR2pdpxR2Vq1G5P0+uq99nWAmqzkG9mxpcX0Q5hDlXooBi34rMcTX23/LasjvpK7/FwUF9a4D+O9EjTUmNopHj837tzzS1Qu2azObMLKEyh/b+4+l1aDX1Bd5dAefCuXsYkW77E0tWqJCj35+T4EyYfR8CchaaAYbXF2/bXAlPzSU2t/A0juFle0m3lEnAE+f+2x2pdOtJGtXL0t+v9QOYEjlIZ+XSVAvK1dX9hFbk8BtVj1q/zZtcFX3BbbwPmUj1RJUzzru/jJDER1MUQTD4QFDp1XLqYj+8rB+4sj7EMbuKTNiZXSuesIqMKMJFlT0l4m5xSWmfWqBPHuQT5QRXRjOxPSL1nUCt0ACcPceJ70z89MwWVSEePK0U7WlQv0mlW25PTAz4LMcbew6xY1Vueto/KOEK2ukMmYs2olRNDvVqpfo0/56uC6cB5yx2o1n/u3us0+Ow38/9hi/ReqO7XOzmRvWIcu3RS0emN1KULuZz4khfhNQzkVZu2/hiXvD50ZrnhKJTLPFhFTpt+rvRn67CAW7btOhmHgllu97XuuTKkcjLyVNZvLj3QTBp8XnTSPfNQvHuA+jn35Bo1Pe40UKMhYGhj1veKHplJ7j1BfIL6xkJH2ZfV7AoigE3zpNps1M3QgJ4GX0+hCJFmISiMZILIwCGv+oJrnjkgVGyYu1QcrwVXA7mfhEOmjmgnfxavedjNbHibSs6bpY96Xn8uoIfdjbept4lLfPwXzB5XSLY9iRINdz5W0C+fnktOOIvPfu9opDlQpxe7dHAxJLou1DHNYINYcrivwF+3aYF+/n2MLnnzNBjahsCDv4FXaflJM12n25rbFbcbLp4knQ12NJjYZD/wJwpFvujga1BUYcQdX9WT4cMDhyhrE7Zevu3zyn60VM3nCDWD7owOxlQHkPJvXZxCKy1vapXxrr9voWgMeR5AHqNSpZLuNF00oLpfOzMZd3jgnoXVfUGpDsUgC6NXmvm5AaQ+Dq/24nqVWrsKZ1J1ew+ikEiNyZYBQkEt9h8nf3J3NnMz7PTGz9mcg45OP/B9zEy0ZrTXYlZQXs3ohGPhq4nPgxtrtTz7uHyWPHh420Z4zISyV/COQtsnlcly1CRcleM1d8AG8DbjFgiiQtyT3qXqVqmpPcFqaWYSxE1KptA43yyUPKvHY66seMfHAv+XtXkytxbiwgii+E7uUImuELEIDDXDbFXlWMbf5hhZzzf229BilU3goVVpTQb1n0LkXcLf4zq8ebDMnbOazxN7HMvSdV6oRbMTQuCvRIrRB6iDzjre/S5LpLb90e+QvqZJICbqfpswfOHQAlqtX61SxcT0RdD3+qD6UuajeQ0YjlV0e/NdXqPp2cKRxJP2LqlcSwA3OLnAdBG33BkiqZ6pMnbOUPOAJvIPhc0uyJrXui5Rgu3oYtM2Q2ztMD4n76a0umYeG8XCqwFqRu/cR8Ldja4JeOlPhEk23yy3xp2kYrGTNU/uu21OfPV8btWtWn9rxlMHmEQkt1Foz64wP6UHhaIdZatj+5JWTj2QcEo2hF0PI8WdDe4/v+WiHyQEV5CeBRQBuAXnHN9SK2/uwV0ZmEF0b6kphWN3ncogC0VSaJn8u774etVVe4OJ52aKb+oRwDrw/BBCEcEFXPIlhGbu4KU0Fx89KBTS9+TJjBrWA+5xBea4oFm7zvNuDwnZWXbn3OjnkW8TUWOgU1LF68cXuHPFBg8kG1TwoJe/U7nhSRGOPZX/NG1+142FKGu/Ngn/Oxtv6Cx/2elTxxqE8/lTE5iifeRq9setQB0SBvnxCBD1cA+D+J4Qxw1qq0uta4TCBwb1FjXa2nrRi5t9R3d8f3t15HpEoZPZCnqSsYwjwlAB+EsFT5P7bLaWTWaKyDtl463pv3FPBt+7KBUh51lSw8lMb1YMjbV72cyt0n+1Zpy4nk3X4hgIAuaJCEHpz3OukpsKvx24H5LJsiH+wSBhIaNNVa6uNYHpoaPfVv46CdtTfPx+yanbGCNznsifk5RHn85Ud6w2orSeTsgUnown0GT5LosKRLeHzo27bn7d1xiigUlw1x0N57h99cxHb6HfEoaa4GkOvjvdvTnCXIvgCQzD2lyeqLuCZaEAk6xb5vRwwZ4txNsKj0DEjKCSueyrtN3Z6wyeC2ibyp3czOxGg8YZz3FJEuu2qmNqp2Lf9evziuhKG3onbb/NJYd/StyZfSC6TOw3wHBL4e6er+MFsyIE8LsBE275R4pwg991veSI+OUJDJFhY7+/KKWlW2Ll6frChjdxszA6ceKbRi4fNYhBdoXVq2Ek17yW5v/Insceee9zK1jyF4YBXi/STSL34YmUfnPUk51iM1hC2TqnhTgkTqJF8C1dXsPfZFbJ7g5XJrKYqGQjWDuWx6j12CNiS+EwxVrrdK9k2Rp8L3U4j8Pr5ijMCroXk7+9L9CyGBLaSoO0jYPNxx5P5sJVF+XeeEm4r9LhG3DG40tYFaa5eA8/0P5QgsgqZNZFUn/nZtyhXrT6ImFLkRcgr1NrUium6WDiFbw1tyX1b0hgpicbswlDCEyJiGywd0dsfK9TWz5WEemWaFAWLd7vkPyv8ifp3vqGBXT1ABSOlUp5KVyE3xfgUiTOxFaGErfmcyJV/NcdBPaTdiQt3TH1cU3IaUBQa+2N++TAx+njM35V0ykpdrVut7+jfNevNvkwpzjzMmCJZcsoRk/Pd+GLVSrnSgIvzSqkZ5kypvxLi5y0pPPz9vEdu7778Ei/RvzR3KyiBDOmXzN7V4p/GtC7P5fPgoqScX30g2X9eY3Baiw9KeUutITlCterYF9O5i2VMfzhAmz0hWCXbH/VnlazjKr78HdGlVGVrgjcc3AsOIEE6/Etzn4fQFij7lJiXmLtRmxId/4BQ5WIHV9juoPJiYjJvjWBaGO+1cOOw3qIUsaKYi9GQ6LsOcTd6qm62jJg3v5PyywyZyzGR6OuMY3Ip7YXLVbK6eybVaQvfLldP/ct0+M2FAeTa4qNpkbz+5/UdKo6bBtxmkWZeoGCcM65ZvAj9Jfk1xCGpLI4VA6kXPFduaZQteHtf6/nCFBe5YCHZShcwHWIUG2gkWWSjFm/5J6Gt18xdVoL0oviJ5ozvVeCJJpNGSvWPUJEfrxBpFW1vuAWtFhx+zc3IKduCsi8b9Ut6M8iMTOqlpxMg22NgREIgIJr5NJpo4mlIj4wG2LrTgv5Rxb0lfLmD3tVFYDS7Nv0H9ahMByXNa0xsIeolktpLHY5T3OS84aP1gMBdIL1lh8miH9XhLYQ26bdyqVi47auPaEOfphzYTzq4lsOfjmxG933XcVqb9appzPXy3pYfgIYLUQmsJ4xhQCwAS3ViLAuAjKMyZU5w3WYq7H/Z1zR+CU13cxvCSMioS/+Cs5MEfexqDYHfYMcqjmQeVTQKyq3JEGr5fpYGsQVA9QOYvcgkDjtUM+cNXlyWJ3WvV/9IoBTRt+31L1fAZoGvZ8HHHi+a1ry725aiV/WGsfu/i5vjYoCuPoABWUukzsFyYAp/7V36azo5KOfdo7iqT1vpoP0w8KDdICLN+rRtyccAPyrHYHrN+OxvVP1a4P6vfjqDx9iew5qf3iyRnek/FJiSR5prvuFUp1KOBa1SRgCuxLw2WVHT4E7ffYEhdw8UOj2csOAHH3No3T8SshyWwJBHOUgaVViq0y8y/JnOJMpEOUR50O1pZFTdjtfZ2FexWrt4fNZ/1U29NqqALeF8V6wuzPeM5lQhenBCqL82mhTWbKdOy2BA8x+TI6OErBr6ONfmtfiBGrYvHu02bNbUVuknfIi1Tu/7ZD5Cin3uJklXLnstJeW14YNX5uNOVLbcHMdZIhvvzpHl4wKN19uTWbTl9ghcPWaYhlzh8lxmCsWlLqn67JaaXMxVBwhoAAb04dCwEyIUDdTPY6WKvG65wSWhi8UCa6IzbaPABQ71GENgjOP12j6rwmcbEdRbLfxWZg/BK3CJU7yCVlX02uoeAuZSyIWiSM7WPqsvSpkH/k4Bg4ZDu8UMMWbwameA8kG5IhDyy3o79minqdDRaBmG8FpyOz1HTlGSV92TKnn7NVA4kNl5U85SnBFvQOFS+wsW/upiIRmeY/ePDcelyI1Wqh72hP8FyPM+SezlSeFV+gcsil0fxwGqJUhT7xYW5TNhNIcXkLQuTwRs/YpEPrkP7DgKcav+Jw1vRV9q6kgtQ80tvaNzCtsVguHDgjsflWyRPzRaBzIgWGr8YCgouiVWm/QhcyxzTWG4A1PP3NvNpqkYd82GRFgC6gULO5hvgG/owQErOfdZNjRPXjqZB9uQF1REeiwyLK3GvA3b4o2gyyIF8HuVUm3vA4NkEokHipxUEl9kiq4kCNL40uLLTbDO08cF2lYo9t6hhR3t6Yrdt9ayKVvyzYFy3qfW0NOhf+yipOw5kJU/CqKYkeFWTK4k5o1MXhgPRzmu3rgr4CQnmX8Qoizho6S+ZiIjXzTl/BixHc2nglScIWASiJvNdXvw7bl1Jj0XJKmTi4v+WbYriMKFk20oDJdjFFXZ4R7joDsiXgxZK5RKbh6LX1fBKlRorw1zCbvA7XUEHNpkF1reZl7TEAZuYCN7OqVZ5/mgSIPLWhKk2HJ4WfkbLYCDbyiaPLV90GPMX3OwA4vymXUE7fHNZM8ttlkDKCNymUhAEJm6rzZKQlltdfsbwyfzr0yRinpRJTU2EAUZ+nXWX4Q/bg6MmaUvFh8Q5xMS4U3+JHZXnGHgKJhlnoJ0KYoUFuLpDTQsxMOXzK1XXjaZWjLRAMtT0JbOp3nmFQrahmGG75DGI54JIIwyEL4bKpW6+HdQwis/M/O2RjCcscuxGXhv33gfpYDf28f2xlYpLEp8bxicN0f3XPQVvbAIJtPPDHH5Tti9dKzCq4mqcmEJC5/yBCRfqBcTMDN5N5bTT8tw4sdS9Au3BgvpCUr6YD1kE8jsXfKVwx+RJBGwiAisfcFvyXqXXHPmv5GPTi1iW2qvHubEFbeLHbiSUzcfgs3VQowoQ/DFjke5krzKrar1y5QPpKHd8gtp0jxcKgB/246s+w8uiU5OJ6DcoheWWt8SpsTfHVCpKCppwCEgbV77a8idU8nRGovpJg2XeTz+HVbcOQpn05qqsNu8YSIZJdrcnIJJ9HfXz/NmUINN17JKnFo949/kSwIHE/qLLuppy/GN+r4GVGUzkJbEcbykCUifNKU9EjEbWToQcY4WQ0P3J6XxI1G8kiix/PXI4VdG3I6Go7XJrY8IjyX5qeOxFVviS0fcZKjtMMoStnlk2/hvwmZl57tRn8LPk7lu6BqlVySBzx/QnbbH763BvDg5tH6IbeYLNdYhxcG4XryCuF4PfZYomtnonGiTsCkXhK/kAKhtHYjQwbFLkNsINxMJQXyYI5c0tlJ5PsXRvIYfx3wM5SvPgofe0cRLLuioy+sheFVkf6P1BSrgUNNeJX6wf/D1niBVGWVFBI82a0cJWnaEpASTXWcBBnfBHA0tLvfAjzAkpoLnP2ySaByThmbkHKzXv/8UW80NVD795BqSPyrZ+ulRBm1BQ4H1vnshHPANbdTbz+D1/aH5PGV1Nc5ZvfQhdQkzfk1ZlJyyvyj4uhK9atQsN85UHxOczOtOS2LvIiIzL2lLZgT9reNk31ZGB9HPiKtEdaRnQ1ERCrWCTckEt2+kfGYpp/fMf7xbjUqZAB+6/SfAYecSuu393NQC3CzjHHU2uuIG6H92v+MZaod/SFfWL7H7RHwRjH0YCuJWxSBXu0hmqrw82mER6wwUv2nJ+Bz9H9yiEp6i8ieZFIrPnszrSVbiEA/1pkOA2JKYl/0UYLoVNtd1JKBhLnkI8lku2rgakAM1VZfhFdi8fn2PgrjlcEfVo0AJxxhLeKKy6q5MKY6LEGwVb67/oYYV9QgtY9OsLOmivKPF/FCI7i09VwDD/xmudU0y97Xf0hHXhRwxVetZxUzO2Xa2QQBmo3X8/uhZLgvhxGwCjmOIb90eNCcF/GqBRHPu8TClCvqn9AaYTsyOjw0sPLw2Rf9+7843YM+7eKeHjs0fwhB1gBFU9ivVeun02d/VejlH1Rq/cbLB4WuvxTc9A8Eiy0VMdaiVjvPka5kUMexKi8F6IxsVVoWYH1g7+XcwWwYZM09ChyWUTB684LjZr9g72xcJzcVFH5becbTU00Y6WjsR6UnqJY2/MMQkw9WFJ6yOrZqgd7RByIGTb5iXFKoa3raUOLk9dHVn0iZ3+MV8XUUCtuHLT/bv1D6Z5IV1+UChA2z5ae/tJ8mNiYHxLaza6Mh/mVLTeto74IqAzaeDgnVnmb5kdVeJhDiX1tNJZ++AR2v/jpCLiJ8Xd35taVILoq/7y3Kc0GneOdluDu3ShEWt1SMo0hWSiCxOOXJTZ6pljzV/8NcNzbNCBQlu1k3/OaDRaGpv3SMQijX0B8ZgETtUB+1j6r1YdhTc4QOe0K2BDmEMPZxAvfzdEQ5tDhjf9evFUi6WBI/Ypr8f9Unr6xD+arKOf5JQq8I++havoIRoFIuULOTR24bP25nvGx7A3VtMpc3gBaU41MbykGvgJAttVYJw8GeJTWoEZnvtgURxszq3lPYDlmKwFOkbFbiZYk6Gpq8HYY6CiBkpl3xSPqJfGQijz8KtFcK5miW3LAxkm6GbOieBfvlkX+5+e5mYsBUjgZ13WyRF0YCgiYTwxOnbsmsxBaWUsEiGzuyMGNZBV7ztbqBXqzWZASfJ4Tw8CTF2i7uo7i9rsZvASgvryCNVyDhkmskc+Tn9ZJUOzJHjp9saXkdvy0lg68LdOx50xFXFBlYzWhX2FJyoalap0uUHJqLXHMGZ7zgRBDRGH9tpc1paAnqlTo0rPxTDeEJKV6K7tWOte7C8jK/NrTx43+d9p/SqmZWaGLZjie65KQpKSbQGRUn6Zbr+AWbxGu+EqRtAejGhA76Ihf2E1U3ZioXGP+AKHc68RoEeRjWWN5aEtK/Myw6L+j5ZkdQRw/c3PJFcmJkUPztvH0HrPc7fcpFrPc9OXtqeNI9J+HV/gO1W+QDaKkzm5lS1wWBHehutf0Q8ccqq1reHlPNcLKwS3Ko7RzP7NTku74y7UaJLdx8slCNi/3ejFcOiyxKH0OShoV7L2JkJooXjF5KnsTflMiJrFCSJpKulpLR9Q8idzQ1eMbjETKEpkDgWDfEyjJn2XXS2SWhqLjnTp1pYO0yjvC/eaQDmkM9SBn/HHXagfoianDaednLtPDvR2zUPrMQNo6IeIynr1SRjwm+PCxP4V9SBkGv1wTuZm3SlwPif3/pxOMv5iilg3kL0jMCqaNUlHDSlil5eE2UmkKs6E6Knlyz0nmXccZPb9yBzYCvdjD1D1wHiSEmGop1rqsZwTp+s7Kc+4f5ydWkgOJyjJxg+N9RggFeqlISqlaUbV4y9VFe7NP4RTkDjk5ez4HLpf2KNQlNiQZ2d8+NaXEacOfyfU3wqtH0JBhd1fKN+FJMcVkZ8P05hiuZi9yTl8bv6M/u03dlqrqdmO1ux5IasfqnrxXSjtG4u8tC0i9g9PpsLdRXZ3V8BpQnY+3L7wohmnHNPvHPPrT+cXhZKkubQ+sYgV2+Sg+y3yMWHEQxXI5V8YuXkn6M4u9q7BrA6VqHGwBTThtCrSFiwZO/IcEXq2S2+JZRFR3gTSuoTO6Bni0y6katcSHjUcdQx1rHwUalrgwFIUVdgTNNpgBAWDBsZEPjnzizHqcJq5iLlCem+94RxHwdq4eGO4XlxkGzBQOR5heDwSxOi9a4wVWo+zWLBawha8dTAU6x3WTx1ZWikwu3pzJ0VqLh3CVjWcoKnQFMrMzf67aX8GF3l8H17gL9has4E799qPkTHQ3vp/ydAj+ahXa5A89m8WcEjstXcJffWBQQQDBMiPnqomlsnTicRndpbXa5h0caZplvni3A+i5514GwV5ubcjvfwq+nCWYNqtm4wqXnyptugqvXhkwuyjIglb9eAbk5eaI3rYTgjgGLAf6Dy/BnwrGbjIX0H3L0Bb41SvOVLDmV2Ewbxce13s/Wv7wNKsWrN9GKhzb8FuoNavTxbhzz4nA+J9RsyOe2mcebY8NAAOT+fmqHtctIW2liitBQXwGqaKKm9T/PBfSuuObYxAqLx53JOW1pD0b7ZuNi3Eq8zB9XhqwvLs8kvfdU6sZtGUWoDmkjPngGyJuNUnpPpz8w/zaHNCT+zoB9ZtMqiX3VHOkUW7ydaz53AVjCLKAbmOmY3oOGQhPLoo0GyqXX2TzcHDXIVzDqZPR6XE64xytG3aqqCWfFbZoBcKWikZRQk1Is4PjOzCXkpDcf/XFs0WvTBrZ6mkQV/AmHVOO4Ww+0jURQZOPeOyTWb5UqLOXYF2eTlhBNexbIDspMRyoWV6NJoQTkG+JPtyP9jjDW6AbWVrdA/1ZFeWtJt8nTZxIsNO40EPfns2glWkwPeNfnthv4sa+3b3bLzFWfyyAqPklnHVM0Wi8FmvIVLLEJj07XiH/6LcrjOkWg8v+b1N0LQROayzN8xiESsZhBhiKb1yTCT4uRu4C0hYShqsE6Z6DKk+Ood/ufRxoTEqpwUmNPJPAx9E43nIfboRaa/XdUgw71O3xuMGjrAJuKBJnamleIiIEqV1Hjp7w595xZX/PdSs6m42GRmw+BtOkH0NeyngKqTfSI1JgyvI0MDA8DYr4gIUPbO0P+0z9l/E7jrmHEWx+gPbUQmr33S8zRGk2H2KD587JXRt3GO8wl9pVwv2ZLw3HuBFTnNAqyDNg4YDb9cBRoOUOm58yLJpHy++XaDO4EcsWphD38gzqSn5bDbOiNnutcIm7mwCca38yzeTEau1aESjwnLK8tYngdj4p6mzf9mG9F1oSBRr367ITkXcdJSr2oA4u7dCbS0lZTuVNn+IqP4Gkfzo+Uvh6u3jPiwdV5oq4tMH1pAt5fCU6z9x/gRZWmSWB/lpOMDiRgzhlSNuVJGGtGnQ4sJ8oi42jzzqWzLSRuxIzaMgKybE23+j2hVtDbifinzfp7TngjxL3UW6ICekn8wgCc09tRjKy29sScdeJh5d4wosEXZI79qhI7EZmI0emcvRThdRsODqkMa4YzTYMJ0mWlhY72uA7aYMdFp8urrwgdGe2h0RVgVeClsqXqXEpv+biPRrFmS1+SlLvScEacXPyJhqTj8OYp1B/1coFqViPT6lwx9vGKqirwmOnfPu1YVUpH1QZYz1Sy4OHiHhKo66yUYYGCN19LQugSjX0F/scpnaQQ0qWtywpMoKWIgtQlQdOf4tiw3tjYizTM9bR+MQk9jEkqdLIwY3kZ2ib7g3uSTGSDSweq9OqcQn4Ln5s8OtmEEjuzHNjjJrP4ApFtI7HUmsnlGHcmaMRwqZk/fFghZ+27XwQzF8lNAy7YFqvkKtBa0ZJ3vqc4s2pWwiINK0wZgO4GAqsqYw+CZpdwZ5N3FJDFDucfJzf6uaOzU+LJAfmfbQB1DHcE5qsajL85pC6PVvFLAJ8ksLtt0oA94xdOZ/fbd53htAJd878jDAnlq5++NCfBSgdeVoylE3J3/qBgYsEHR9RunrebHxoCLEsndslDxuv+Zu62I9BFfn4GC7Fegh5Dm46mwNdXeJnakEqCDZQviq4GuWFaoVyvjdPGIKLl0S0/V4PegkmuLC7epQt2fXrIXSRuSjhgj+yQcrhMzI+ypyQ1/582O6ovVKKkkigGjTIWXdohW98vd38Ht26qH7qXiLWgfWwgKmlHcXpLJfT1gnyyo7CMGasL4KQP2+LPKxjLmj50Tjps7XQ3TSxHjdSJeP13mPacs2FN3Zg9XSHUYmv5vxI2dHrjd7oDXOcMQR5cdcu46ADzLNa9EPZOsz/U9zAlyLi6zGRYCZ1ruSLZ71+k5aQ7TDVqHRK/vsQ4cmouImluNu8EPwox7P6XZAq+USZUv+7jZtwVCovz9iu6FpFQfqkHFTXj26y6n1970u3Lum84pz2iZ6UxTv/jDNM96pjD48FSCDMFWiEiYHwxJjnnY+h/VP5qNYUJzhP3f1xFeX9y3Uvgav5Tap4q880l8xB0lcZ+W3ELd/1CG4lOXH++IM+uFSrzmg5pD8g5XMwZXA6AnpjhurNND1vb8bHdxZDtm/4yL0zXRroUUGxZ2WND3C9LFUsp95GgdvNDo/RjdNdut1dHwt4qCiwRFKzs0St3dcTm9RDWyxN9pEJmDtMcmJ5BOBvinwvFfD9AKv+eqPKA7jRCRnm/7zm2EqmYvB2oWTAQalIOMLMb/iKTWxmeOV3HHznpZbOQb51zdhabIQiiAXmnGEsfH7GgeSJoWJ/tSHqyrWh3SKY/GKir2jcT4V0SRLGVNgmZq3fwYlqnLbGiRSohveYdVkVgCB9IJjBsO28KI+RtMQcmdkLtJGPcxFltwgdAKR6lxdLyPq2LnelR6299FsgdTmB+LCKQQwAhg0D84jXTaF+GE1AbnYo6j61lvs9WEq6JXy9TezKLzau/h25f4V62EfKWlHIE4ad9S8jiTKm/OSypyyZgErUd4w1e5nYe5imnWxhlO99MOGk3FeJNNJ1GDtyJkobACbZ/nwqS4NNyDmAZmkGydC6bUL64Nsbb/7mm7fF4q1TyFsxEBuhuDYsiD9yMaR1xvkGfhgK312fOIT6Odf1qNz6MYzkZXu1xp3rz7cR+p3TO6hGMZ9FxUfKkrCzahR3c/eSILhmqhttSXarXhf6jB5Mil9ZX5ZaV+XnC6WvnT7KeOp03fc6heCDElo7avX3zjjGRLHbw0e3aEo2m5jLUS7HTHs52vPigCoRAQlq4XcnrWmk4KVkHHFbp3s5QD/N8aSkAJapT2cQiB+CNgXpG/DdZATTdJgBluvinyqtIzyD1XAOPndqggduAj+5DI9/jMjZKL6uKW9Nynvx6mBpeDeBf3VMqB8Uv+s2AqrILgAGK53GWGcvI+rE2QwYH/jlkLQS8jd2xGwrGQv3VKzlZgbgHw6035a8wdRLYf+I0qJ4BXzVYTA29D32SnKVyTgOEJqjT6tP69dwy8k2y0GxcdipGy5uaSbB1W8yDqKRrWTazS+ImszTmbbhevnmKqMoWWVYsPeOSyefRc2eTBRjQfFkq1tNprJO1DMwUG6EUqBw5mmcSSk0utfQJtvR9iYMdR7PNT9d3jBCinl/UuFhy9Gc1hxxkSzuZl1yYoDBNfd4ZxuaL460hc5ujeJI0qPBAJqVUqcA0s6gpKyKJlm3IR0qPYXoCZhDzZzfPVvCNBOFS857stIE5ux/VKxSsYI2w+UGLiFDnw3gsVL0NKcENfYDyscVOMR9KMDpP9zHUFjqBQbsPFUU74bH8UZSRwBcqGeHwdZlbgdiOD6Nz6H+9osdoetU4IsEnkCXgsE5k/hctiGF5XjcG7w2yj0i8PGMehHXX4HRxmrbJ4vvkh92mYu5BLe9UsUPpMsBXbMu0B0cHirX2XlRmG1ixTz0zPw7zXC8xtESpc0pV+rwPAi6Us1JSPjiAlkITCZiWYDnKVhUxx5K2e+7F0tMUHbRJDmb+r4ocwgBzgjjZ58Oa5z8DeR7t7RFMUk6PXHE3M+g5jJWp1VLVXsUTzUaSC0DosfYQyE0cG/juzRAmiWPhB7diBJBzPsU1TC33ZMf7p9mov1xKaADS7kddyHEzsmmmddVzdug5cJkd373sQj+QPHwbDn2UKOh7X+RH/Qk9I6ZFUnQtUdO1ZSM1ZG4nH8fxsKoYKKS3qNJ4B0gsisPdHl9dS87cFv4Grd9Gj2bF5pvcuPFTLVA/ugzalxxiDEpwMC3HnDi3bLsUM9+OYTh0dqR/TB0csHs9XPIdJmCodzFKiNX2SxK4Nw5cW1za31NnQTNpf+Zq6cKWUCVMEbPeApq+Rr1buZ4QmIea8FGcEsjsaRK1vzDmKnuCRxjfPJs9SDAKrbN8tMn3eici7atVTneSQtiobsq2QKygH4NIWUMGsY62CTAFk0jOdW0XvGbhm+0mzSvgorsf2q6dnd56cXNMB6PVXhL7nCafDASsQc0Dck/InLCAEFh0Kem1L8dUMZnaNUcF0tZCRpgYeSDS+VCe1XIpsWK56bEUu7Dzv5cZS+psbsNvJOzYfBl1yRXNGcnqSN5DkvvM0pfnHE2Sg2W72+KAdI8BKPidvuwXg4cBh4KI+LADcFIkwiY+z0ZqsF+v9sC2uJy1e9sxrmI0Dzf7p9f5e01BWl7VJp4DsCJWuOrwea7nYiTw0r8oAAcZnV2AbBamlIRpL5Q4TEHgQ2naTbKMJMNjiRo5lcjGy33yvLt1wlBxfzdBG+CrEv5yPjQnsnnYeO5Rz8oZeZZy2/JXM2W2IjDverNdKB6eEC+ixEZDyx3uBvoGN5k7BbsG1MiEGwa1iahzkTlAgjjrneXosA/ru1i4g7f7IfXuyudBCseafIbPqyAtBpojjWB36JPCNpLZR5NGH7lY+y8B9tjip5E8JPyc++az3Vuu5xbbsAl2iYbV8ZoZ23JM++ngf1rHCa2k8hujBRhpCp6hxExIPjpOhdDbzROtR08FU8cTS6tRD1eR4hQqB9lDrzeFDowUNazoxbbe59sE3Hz3UT+prRO0AQF69Sj1xIVta1NiCJ0x1mwePAJkjlvLJkM3XWdm3VolmVBE3KzSXb6GU2cJVGigqVLYxebxGjNJ3WKa4xYFFoPlUGQ+SDiK4CA83A/hv9cWVLgusyeFzqoRTn0olWaW04DGv7GGpYT9VSLWJMTecQdvvE99ZAsJBtVa9ePjcZ0jbp7mEtNvQ28DZ72izkjKEhoHBL4porwiHoY0M0A/twK2kEEtcEk2DRqe0lGQ0PqY+KbouGplDRvJa6vSzI4rPkh5EEHDnkuhpD2asEICHiNOvTZaQzBWZokfNGTxISuJagWJ1Q/gaf6sKbONlPV0CfzydrUqQBJDYwitfMEgSreEVJ1DNkXBgk6WKoZJmQYvbjCHyiwqOdn/ClaEYRbkrlryvIkFV8JjMxGnmI80UVacVn+1w0FOc/wALtB9RPXhJuMNOYAEJIao3V0CCvm0PR0jq20aEBIFncwjSBBnYXOdCgvdU7SPClMDf3vKsbQGURP2WPuZdB993YTAN+CpxkOC4VC1XhKCcv8iA/n508p9e4aZCGU/IArFtJfLr8Y+HVyFsFPIepJ7dtjyhPn3GepMBSjsy0eB7hZtMz0KEpBe151t5EYkrecPotJpywwP1/NN66TgJ3d+8JgygeE8wIOBNWd6a1W0/DWf1Yp64qVWrN+lQiTB4eRjllI1yKWn+b5Sz1N4bf4MDsf4OQF1Mam0vQxTeTju8oq2WdnMbM6gaDhA7iMR7gKern/i4d7/gcdvygFENlxLAwQSDR0VH6ar+QJWDjGoc7b5tJ66UvJmn7Q4wUjyM+cy76748BnxeGMEIZobnPQ/v/Kur8uPsJOoE7enIDZ0Pp2bUX3Fh4At5II0N5WGHnOERDsSUV4+ElIxyi2JRwKKyzarK1da2KyMknjDHgJz8BDDe37q2SmD9cU0ZTbmnhc+Ont8snvwJuyOOxJ7Ru9szsaKH7Cz1xg0Jm74EUP8sg22tTZ8oHMVLE02qSMv9mIQkbdETKAeUIrSaSU287RaAJTlEe2twM1GC131EwytToMEJr9UflKDss0MvxgeghcnRg2thvMegMoiDJL/K7i217SitYHovB8ilrzNqFuJHcicuYLxMlUPBuYSPVz8ZaeTta9M48paBf8QbheyxF6IKaPA1M68KsmE3LH3Q3H47umBPcCvOC6HGcLEc8jU8wVYeeyM+AcpApfay+aS1dIPMi5fUTJeVSddLic/UipMxZ4NAT22EfJL0gYx73OSHL5wpEbhn/feah0uVR7DZ3J1QUqmY0rxcCeFL0PDJ9GaBlwDvZKho5UdxSSEIVBNgl6XxRmg6Ov++dL/mWxqAa7bD9r2bD0fD5buPFDVxCszijjwro6jR9J6MCuikoxHd1FbXxc2cHp6f2baK77Udl6ka3tEurIPp3BQYevRx+4HDiVgXIX2Y9fV1cxiNeV44sHQdpcVRCaW7h6Ufzn7bD/ulBSPC+DZ2cw5QLmE9Di7nUDvEA73SctieYusQlEKtEknWOmB8WipVEwgmL3NiG4K5TDGjUk6dH9C3cfdLuoLdbU9wF30f4mgphSiog8rmRhEMhyCpdoHmxotepLmz59towNFFp6m7b7YRqRt1VgdbuX7lBdcx1Tl0doGiJasN3H2Vh6oJJ2xpObOFpKQ5WvmNlcllBYM9NT0ktbF+2DM+L6ASCbR6iYZmXpm3Jpd8PO5EwygaG0l1VVEUqiVtnI5p9pqwjLZbVXU+Fha5hTCZWKlajgeuVk8zLBvCEvcuV9FMET0DgH5s4rf7clKJdZZW5cIIwUz4/07zX9LA3ETxQA1vYsV/LSuxF9hy1qelMKhDcYowgTaSQ/ts+TfVTOXM6gdKZgu/LV7/DU+A6UreQ99CJeT2kIKb6xdW224FzNTgvfArlafEfK8wGJ+7WSilBRHWLDFyACGqQkqtmRsbGjZo2KZLHBUdDR8wb3HNsyAgft3CjAUkQsAyl+BonXc3qDdxmgAc9umd2dAov9B6DQmJPPydjMTSpOSIisLp4N/IWJLCwZdbezkkYbIHNVUhjGMBO3Iz8F9hwJkgvtyNcrdXzV8KHAW/RU8+CUI8UYlK5rpSQIoksNihV7rhWZdMip8X8sbihIdUDH3//iYY4bBt39OGeYEsYWsZSp7lhPf3K1uwAnTjx6qe1iMa8OFIQMBN0chXc1Atl5PfAcoYjgVf2NUqqYtb79eS49jjrUjB8SazpuG/L4vYEO0KCps7JjzHvuskkVYlWh/rG3O21pZSPNqORExkNgS7nGFYqSvlei7hTz+x3/x2k6hioFZ2qjoVk+VCA1lYBMCvkocYERcFJO+/oOo5LfxzGonRhkkdGsERtLVbcrdxVj+eou/FrKf7l7xJ7ilEuXdGiOLe4AJdPJ7EMyW8wINX/Wtnwqp6OPJ/d4FEOe5LIhUT83fyyT987o8ThTPqqkNmYpsG9d8UK0/RokG3zc/9WtB+0zOIeQzq5MFx8nk1eruzP7RMm6G5Z36H9M/IfUtgFcFoXrrZKxM7sBBeq6sygMweunCLcbBy/sGhDcmvJtms/r4/0ElOq48+sB8zAFToDVrOED8m5ITe/JuxVFQESSgVBLWywUVF+F91b01xxXsRA76ATLe3nJnno88nhnPabrL0ebUaK8utz/fnpiW68M3jJpTMo19rpQF9zvYRGxlR4j4hpeGlP32c9z8SuCZU06cfAuQ5RbDnU19b/20EUgULXxtSa4ocAKRZcwbqEYYXcCRg7fzu2hhHiW8tly08bZ5/EesKkvZ1UxlZnf4Ad+gyr/ROElLRBQaT+yGSZqJUIlBWB2hCcFxdhOhBv82szdZp6Icn9gAsRbRmeRoQdunIbwGX0rkXlWzA5JWfI1efGGFEEcptBaOQqV/Pq0I0NpZGiXJtbLcJp0Zz+MuwOost7uiayRxHKoPQifbl/9sjG7YBHpL3Xj0dTw9fgubwwMW4TVz6/V8895b3TCXkAvUbMql2v6v4+KBhFFnarmepPDBOLTG7G+eubYeZEa5Yi8IvgvS/jDw0Lcs3mU7RPpPphz/OBXMU/YaOBjV7fPeUPiNiorQW7TafrrKFxvXc+BjHbQ3px9xVTO0LciFC0MdfpGWSwAedTTFF2/C2xnybQrC9XCResyIoSN2YLrzmcZHiUo3zz18Mx3ipiAec8pIVvZD0hN06c5qxm2MWAFDqSy+FE7PE+tfgQUemrCMxegsMPT7GGNfdnPvo7pT+J9YrRYf1jSd9sco8TmyyjvsgwYnVzhXnaud9As3QmI1fwl9Ta4irBiAjLdRXAvLD8dw7WEUZTdorMMBDmK5DjzrNFl0ARIh0CrHOlyx6yS1L8ywS4BGcroKLOt34DLrdLpqA05ngizuDCCWnwb3dIypkPlYSXJRJrFGYiwSKltSh4ElxGyhjHLniUqkLzN8wNkW7bwD1wwfRsPRhwizIwTWgVm282lG6eWZSdI5sO8JX1gQJVKpl1XMxFP6c9RUKLyY0kCTgz2cEi+QL8OmHHBlIScsinf056s0tHCYKaMrFfPeqG5zHW15pkNnC0q/kM+W20+mOv+y0cOgHjcjaCIA4xU/KPLFmevsDqwXdV/7JWhexrJKPp482ea36INNGneLen0oNLcl+eo0mQxgb3ACdrFlNT3fjjfkYngkMZPA8Gy8+0kObZ3FAowrpywGLa7v4uR/iOVVZJzO+kztCAHHe03O/bHVVOrcJl9vCi6BjZSXrc5zNFDuUKTzKpcS5leC3IS0jBbHsFVIhDkyNV/TnQ/Ez8fh606HGMt3u/NsvC1An5DdOIYG2Y6HyOFeAafJZaXLh9QhfkuaU9fzfJ8hAslFA2UGDUdRXMc9fx4So/3j5GPVSiK5ji+H55N1eEPCUkY33qFVnnia6b/E4FBjnubhJD9ui4h2yJNi8amb5t3S9oJPcCRvWfFF2/Fow4cpk+/Brvne+FgWMusjauIypGVgA3RqoSC/CX2H6XOFviKwZg3kdPmtnQ1rm3lLqJGBVuTWAsvjtVVMCvSFxEv6hNCUC1IBhA+wB23aNjd/g5FV9ZGsRN6iIjRAOnp/JI3oCb4SjKF49y2IO0WoRjAWR8R5FB8h5h87m1uNc/C4ah1KSHMJrcHCDkWko6kvnTMXgdt4w9hK8bbXdvF917TjjXbh4C4WMRogLAcqw3rN59RnOCmwFHvAA35mJE4BMGNi3to/Okjy+dlRChaJ2u+5pY5C6q6jOFJZKOkwG8SnYzztZF+c5KP+tVoIfmWZh4cguNRtIoa98uRjJWt2zFRJwFPzllaVdH7eVXnj3yq10nwTV/THGaSd3oNQPe07gdIiATA0UqepJyhb6RSNi4OJrUfTNwJltdrmyal6Fy/komEheNqKh9Wh/S1YQQiOQ/e2ZbAuAfJSa7SW9P7lRrgjGLt4qdtUV5hwLDWkgpjIlgJtkVCr6jrwMhqdWThMRnRUumC5gDbRsNSN7zxQ51Mk3vidlOLFvF2aohYOkqSAp1m9p703fvXktrCiDV15XFxtpKSTN9kO5yVR3pkpbm4977++RiNIgH9/DQQnTS2SDWUhKi02TRShgRZvFRfbeU99wQxvKHopTbf0le8YNePnXwlM7jUqIQ0NpaxXauY2jV8VZ/K8GZx47zobTKlUGSFqxWH0k7Q72X8ArjWD6IOsDwtcMAXPp86XOtCvp+KaZdSANt/DZ27FFz4MOtJ0SeWV1qSSDU8NG+VQLKhsdpTpUG+RytDhYt5UuG9hNPo4wu8gpswzWbzLBLaUd9yyALVwxLZkC+p1SFhTJ7/+Zb85w7+KIuURjti3c9FYUOuEJ2TpfH0eJr346LRxLQz3xnNcZ03u4QHxXsO6+P7taTEq0UI6Yaf5V9tcI66VQBV/XXoIEkigxdQtLOC4vN0nippE4Pk6P1y+qdEBFSFiEMjNcqWrkfXKQTI9soVgXvEvH6gI3lcTmnoI/bOfNmX0uaRhVhQHEjmCNnsU2o53wXQqoJkINMslkP28B3BgSEYwyfYKvdmG2hrBVHTCoyqsGK35IvTV0gWDgl0zf+WZjsGcqKh/OMV43+Rj62RhFKyJ0Zb/37BJsaawtXXPLuI09B76pxEMjoX6sjD4c8sVELrxz1NwIp5H2J5jkqFTUlXFdYRIWjf0nO/U6+bEFStLHxdN97RXjRfCRq+nHyvcHxI3j0ThihjPfcZ+eygGZQJL2CMtH25PIrwhL6+QzrPRcVB5AtL+2GTryMiplNaRYn936ZyeE6nrBrBZqbDy7vZe5Jb4sMRA/MeRALfmVDyqAef1Ri86vBNIHGXBERNfn+rdEPOXTk3C0ydnj42eEmvt4Y29ZDi/LUtqtDpgtp3+1ugakNHFzaYLEndjnxtShmvfUZn01+Z1FVyVi8t/9SZuuFUItpWgWy/UP7NcWNUCOzZyt6/LUpFx4+8asBkLNeyjoCQb0rAmLYLUwKrLmGodz/qCTvYu7kOPFWzg7M6R4MRJlQyTPgPrKre9ydG97x7/Vo+5WTiqQHwg9JuzLQhLSUXes2KMjUh4iGrAnUXWhcjCjxCwknpCLd2hFPvskv/y6MN54k1uIdwezzsCSHa1Iqy5RRVgyOr3e4b/Y3e2aC3DIcIHLQUIrOiEZLv9MFj6fhVf13NPvKBSDPuWTh/0lbQ0hHYKAAUuGa2aXmmpPr80ODuCTRyc7VF/Zlwhb1xEuUNRmtbBuhvCjJtmVcenbZxLACzQEO0ir7oMqdebQUP4wbZiAW8Bv6vm6fq7UqAZWBQDZleAurlOiGlinV6ASBdyjlt3ivAu/ra59xys51TEkb85xKe9tOBA9nWcegTItlctm2zE0ITBjCE4tn5Noild6lt30otpVoMrLOxs3q8huoKVBWJN5V7oyb3Ys28gHNrJllGOCiVOGfai+KBDWQcGXMqg2X2do8XXcYsaH+Ri9Hla2svMqQOmn+cZJxdXE3962L1FLZY9YgOGZmS1JDaeD/rJWrZCjbXKzjG+tEwZlzdTB4ClceU5OrUYggBIkoFEETVhuJOf2NBNzzs4NQqgdfC80QU/D5hCzaHExr2puOXF8PFxmNDFfruTbjIfzSCzkbFiLrdtiyascWkLajCHpiTf68DAYflRW4pM4CJ5u2S6neKHm0egj5PWLQl9Dwyvp8sFgEUcBJjzCKteVIIeOh+NWwUwOXqvrcc07EKrXJDXoSwys/02vpM244l8+kjbLX0WfBkr6TzNEF9LmW8FcSHcXx6AviqjI2jugTw5FIwAJuHAYFmwi8VCe6Xr382HIRsxwzcWyhw/W/PdzW/GFxagPHBlrn9H47MvSecrOkWQR6PHo29WuuqtGplwg5RQEPD+tF89yNJzeNjQcaO7jaLyaVTflnsqZkyBr3pRu6aMGVD75hS103qt9YsVHaTfbaOF3++cVTzlt3i6GCVz0XgGENYi4HRO0I0ra6305+xrWDWtfaTemwKXhRaPkNWFSASZ5KWn44pN+LWlK9uWcW7xmoGGnaFfIJDNdLSgG3b4kYiJbQxkYd/0SWR3xVX7As+LFQzXYpGJ53g0eN2EASdJXx5umK77VghrNrwhYUIM0aXV+Tx9pnwAMobhtHSsGLuBvvOEcvfXfxJwEVZfzDQo7lvK/Pqf8z6e6VhBNjV5ji28MM60bHtfgOjhc7WfcCkjGKNfVpx9K/Q6N1e61A48lr/G2arTsRCz+YyBJxzRplRdsVH5BRYGxaIG2UTGj65vkS7llejjnZMJp8dbxmsNhp9Hte+7cfLRObUKwj7WlGFnZDenzdc2Fg/jwqj4gjoWyBbP6oqoqRjOjB0f2rOrlFQ3JdCJ1eMAqiJmBlEAjJx8fJQKX3+IXzappFBdQyAc4GAPsqWhnIld7BgibiqWOCfikP7IEfjUR2q/sFIDWLcPCihMf9Kv171qfKnl1GfFX9Hh8ei3DnKJC1Hic4ALV8FQ0nL6T/Gb0dm3L83eJCn3I/i4HhfmTz6+RuVZsL/S8J9E9nzUudL9Ai41wlKrq09E9/+X7leMJJ8mLkQfW7rKqirdVnYVmlkNZTD7HCjZZALKRewqATm+U9b+J34wBkq3zDgpG48WyyNOhEfIm6h2umHgzAVCV1P78ct7Q8LmFWkbn9tl1xXOY5oBtWAGb44l+d40x9nw67ium0snOIaWEFIUdAzZNIESGZkMbffBsef3/SdOCBNom1xA+3ZjdT01/77MfCzK92Ixll3epALIbtVBb8eLzb7/wNYr81nJEDcJ66e1Mlb0Q3tKDVNJGdbCY4ZPcfy/SGU8iwfjK8mAO8X1bCorjVTC+uyyGCjLb6GdoIdK9hLj90b5HXchCWs4Ay8DF9lbHpBbZP1BfkoudC9Ibb7Sr/YpwlQIzVPrnseKwef6kIzj3uMOskVJc7YtLMNf0l10f0eVttGYsawljh35q1PwJHW6xc/bkuvn6uBSK8Iszq3aZn673izVCI+2Y/j2UApoH8GoTuHov7E+BhilBHeOCGHK/y/lzOrcxbMF/f1EHOpj+yKDrIuB8ka7+VY5C0VHL08VwnRr8jzQenJnyJarww/DO0w/assj1uT1QZosx6bHuFdvLp2T+lUzdfyVLo0I3JC6HtrmboROjGgOsvM3myiHSEYlZTGM8IvlEXq98fyOdgnoiyBJXVw0y3IwBQLKRws9k8Aep+wHXJOpYJLUTclGx2837HSC2f6jbQelMOALAeL2zdbCihilvWdZlZKKcAby9Fq7o7hmi8wvdfVN8ThwjOfZoGbaS7LBwQ0WNfjJoeMHmXuGsXWpllWW3c5E0gRzyNEqpyo6QlHMa6FpV2LGCrR0vfJdYt7NxWiZ+qsI5XPsatICqPmZeMvKdNio5ZxFu+PwwPuTNv7TMEV5hGlkGuLxN2jq1XrKAGKAXL7ZfT6ZKG8fPC5Q9eZ/7tk1cVhK6SjJevf2e/O/eNWodU0rcT9tklGJ79xwAEj7cFcY6IDegHImvQUa9OApJNFA5kYb2n0WEA64QseVPFrG9eN5u8OIJUsYm8rs56XrlLPWdVmWvSkPgHL5fkXoTPpM7vlAweMuPsMoShzYDKUQhsV/F+xbUYkv5UDfOxiaY97iQWBaR8wD4kDMn1hm+6lzRI4ioQ2BvEqhC4fuVT5ViPI4I+tGvVKrmhVi+gY9ZyorD92RWy0ssWZRvMxwUCsenFjNbDuqs8JEN//weEoay5Zhz9VMbLDToxGcauQW0CKsyVZXfsdz5UTl1KLeJjWICo32c4HG4LdkAJS89tmHVH4MPr7AJUU6O0VMqmKfx5dQzb3iyJhLQhQsHCD3VdcqpI/ThMs12pJr9gn+8pDooe3/30OtoQb+zLi1u30srEQxaNIiP7zucIqm2QQ0COh7VKfOXeVGjx55qnboMO4f6EE4c+136IsUSlM8DnUBdFdgEvpCbqAdArLh1BZ1rrVtjPlk/1Gc3Pnh00My/vzegZl0P76qGwMESXVO7hhJMmKfrBN45cGZlOKeEgZ/2jY5b+pyYw16/wsP2lXAHbLJXvoZVtBD/evwycSvC9xOtqNU/RzoZk/h3k8s9GAOBW0OkuibLraTj0J8LLyL5Af5x32a52lDjao5Qqw6MjhCRyALfVkW5ErMg+DmPyESHgUtYo6qTgPzyMrWgw2vh17HBVNZoTihl2MdhYbe7qeNf7YctEl0M+AxO4JLfCo12bC8knpbe7y1pOB+K21ws4arokJavO1yS3Kp2PZTiKvNADyHFrypTviP46SNqk58fLQgNbJqqasEOUSeJ8lTLCAMHMJzjRF1+qPjGDHi9t4/MgHNh9OogCFjLM2M/7la0re4fJBimoKzSBKznNSBWdjbkalTJeG5wumle1TEzDD8PqEkgJrYe8L3Ahl2lTfHw22IGMoaftqKZuZuYfVvSkdYEUXcAy4zm8FK023CZz0VYdNNzq5q1YpO0Nka60h2bJO9RpuvypZWK+nCixnUNwSOxmjtq0RXKSO+ImdN9Lpr6fb2ikvsfyvxyQ5R0/s17XDYDhmMQc0TZQgmkWw8yn32lWVC/L00uHzInefhnNdWC0imh+7ogvTGDPtOYz1mIUNXbEeb6hx6jo3xhV8QT/TfVfkYW/z0v6NukZWKVB9etfn/g9n0vR/mskuYDCpuXe35HJFchoio6GsA7UAo6fU7g0H4WzS/FmUzw4E/FRMKdoYCGDK6w+JFzgf0mb0otihgfbjE3oJTbbxIxDLL2pPARAPHK7r46Sse9Bm8Q3bGUygcJNEvh0UHPeunK5U+CkHBCoRBZmo55nvh8vC/bmjsVgUER1fVSIucWZ0xuHb2X4wbBkpX2Xu3KQHK+aZ7s337qUguCHSMmH2Z1x8bdXoqLWGc67FvFxFxm6jCkk0HnDwUWHgo2M7z921M83VtaDatsc4+C7s3T3P6D0uUfhj73UZNLx+RfgmrYPa8lQEmtQOHOW8Do8L0Z3Q5pacve6lGRuvSC9mC//0BQsKj5T8z2ewaGiqAvBhOliYvGijfvtjIjDvJY8IOTpuLvq6WUuujjw5406FUWA1D8RfAfCVZtDykMsj2HK6KiBoHx10T3THZjR33DwOCtXVBZ2DLoOMvkDGkFvTnsSdD9vxx8FQpZvwLGc2nnR7+nk0xMXbnC1kresySxZyqlhaY9+iuKqPqxVbhFk4LJKb4Oy4aP0uIRO+hsjEBG5pWusnuBA56zUXnqZwh+BBxSgp99oH44a7wd6/cKYfEwhBfS3fD2uAuorgnnk6Dkcwrybd8HxPzWbfVAJWrhiCdm/+D3lBMiqVDAldvseb2oodTQW5V6TqS/x62MkrN6qd6Zb56J2KIBV5bO6y4D32vOI3WqN0fuooYoNu/2xNAtuVdoloJB7J8z+Dn1yt+uwQywnbaHLUFvKSQ1gjidMst2iiDCPVJkqTGp+3qg0G+sEjApfwcT0f7t5vnpHar12w8jANzKEx74Sk9BC9FwD+Gv8StBWCqQgNamN37eIxjXGIEnHVlJeulNewDMbCtTFj5tAnVmfHS3Uz+x+LiX5Wbl0ZaxpD4H3JlvChS8TqGX+nRsRTLnndgmGKXgBprU8lMkC0YiehsEoT84maXcUbCIrv8MJ+32SwHmvedhP6yeUVRJ/BM4i/MTxbH8tRmMd2XSaekz1+l+oYe+TH2/tVG7JP7cqLps9STtWbHzudUyJX1VD0bV4BZ5LdmpoT142b/MKxsbZZs/T91SsbztpNAffCYiVi5pDxIJmsfMVJV4DGCo4m3Ia/DHh3s4piFLKg5Wq5Phyfavd9x1jmJWHyYk7ok7t4cj5vX4ebVBHojOH543pqH0WB7bfUegT4n5pJosXOJ+tgvpgUS+EbviqGunAyWXp5DTUVqLh92KQbEI2FunLo9iE+IZjl/821+ulOFerYSGOIIyLSAZoKHnOEK9CBYcPTAMN7ApNdWlhS18jwyLnSq7hAcXqr/I9UprrGYRcJ5oCbaBjA36y+iXsWgNcq1mLQ3IMar9J7UiLZd3OjhJHxsu833AoZ+UY8zHa/Ov/gZtlz2qo0mqgq8eDWVkAkm25qoY8E2K0fQfK2tuRPeplYZUrFeIAjDQTPVNw+SgOvAxrLrGyPGA8OWXyCfogftGlF08OdmahMehXPLV3MkAqHwr9I9owzDHPTq2oEMaBZBVmdlWNQNPeDLgc0MgvXcu5MxdYebCbx2aPQZe+tHGkZ3PakHvIXjQlQIXZ1VEJBBMssqQ3y5zKFUt8h9cAQ8g8XsZ6mdsOPjdmencmBo9przASeHUywRAT+sNuTWcmPPvwej6qmPhOvfgVEh5flh9e8WVt+kqi1s/r6qCBDcFgnPfJxC1ofKd78QOsTJxytEkWCSYzrcakVnT4rz1BLswxd5FpC6MjJ4XLuuDy95Pq8IuMYj1BQHDLstzfpvuK1ENQZgp8f2+ANfItwHJpdcLk667j2bsRCwPexxeDTRgOkY8RKC0io8y+W3HjtzLCF3PtqYqB0SXJH8hvETaDjUMbcm/YPWb6z+9aNzn6dCATWWkHJ9ejGXUBsNTBKzMMrrjIwN8FQ72xlU86vGwY0PnLZjp7dDdZEo339E5RyJNPUWf4ZfyPWh2dVGg7sn7SnTzmDbeHT9nb/zIzmScsnPhWk4FmMd9DLPClv7chGrqMvj5DtVeQQ2CDP/upaQex8jjk/EJ7p/SAHL/t4FKbdILnUBGIYbTpuUVj8wRI2aEHqmXPJoq5sFnRubOd8JZCVp8NEDPInvqCMCEhyHKfsnrSegpzlU93ROMKIbbj0p8NHNDEqIfEfFargVUkVrenMfqPKckiZYZRxntvaGCSM0ZgrxEPMG06GAAPbfxclJNOmjhDwuqv4zSP9qFXro9PKxZp+x4L6HcoY/+3sMj93UJVK/xTVb5QNN0FhrG2KRyg0w5NZ3H3UnE18DQ8T8AevTe+IGNear62YzNUBoI3lL9gfMvSqsj4gbIMRrcRInf+ucyQJweNh0kOiYZ/a8Q3Do3GbUnynX4ydcd34MOTBa1Obbb0WLSJ8/2YvFvwaK8bG0OuBoJ/gJ3GTmw9cwmYv0tjw8whlVgOSVovsxDSw7L/Hh77REFL5E2nRGWOrkwqpKY0erI8g4kCYiN7hc4eEZ7VwdJWRT1ZKogpdWNlbGMjm0iIGGfTYWicPK3DquOdJey1G9/jmuco9+59s2yjB6kk6v8hKBfOqQ7jk2tevB2UH9Jsvuaaw5ldaZnAiFCITmXeep99cd4SNvYrvaUqZdYsOGBniIGTCAC7NooLSiMUrteXdlhBtyiVjhM+aR5M6teN+f0rx+/5Y75XKQZVnY0TSZiyuQeN8BOFj4/fak8xfJpRNbai/VjUKDBkHbbLPWnPKyX352wKMqRfHclP1hcUswlWu69HsRLIUwKQW03V4lUqS5VIQ4Zau8bSAXsSgY/AOLIkroog67fzBci5YiVjp+WsrndVryyUyOf1M7KpJtsdHLMIcX2IGquwFHmkKbW1ZIaD/kuw06O88Xh9I99S+qV4arx+9mJeQjOTK+BSH5zXiIMIVjK8yXDa262YfhAphTn3FLzqrqyIRCY2Zs1e5TemP+smF1klu4UjwbV7s2GePUwlrwiQtlvfuj/2a7EoAe9M1CwID9/txQNSpcpccz6GQvSznKWyv1NYHeakBsiGNangcG6vtGWvuFaFqk+HpF4thlkI/oe2xnrBC1bHBWFUOW45wDK0u+P3p/lvFGW1QttH1VCsndS8uUFV7c5FtYMz/ci8KcADZSKGuppNTBGSAgDOA4LF2ZKZDxj4spEnw1PqBKU6MiwaPb9enyE1ehP7lcynDvMS52kxP7L8488qenkWNiOpwvnk6xCr5WGCqbSeTxjQtBBqhfV6JvGBLJ+FUrGGYG33AKdAMHNMYhj5wLKpXVv53tseTs0rnzDmg295U1i/PqiOBXGqCDMOjJl/3NdhM7a3/CqgrjdyrVfNQhRYSQt+Gc7S9+NrnQWsWtLtzcNMMC2O93dd5pdLVh2TLcNKOExEz6Tv2Y+vpypBElJIr5ZfwaM7PemfoPOgW5DtnrmjKBefERyT4or+3kQ1UwgAUNnp/VeJ9RWoTxczaypaxrIqXHoW8qfzNU89z8Epp3k8LlSwBReDnX01Ekm/5K78L7tYEqvXdZJ9QS/JyrSAy/Fv8vZqlMBUzGLnYtlWXyKsCrGbOcL8wMJzbjkjd5CuEX2QlLoYCwMxB0JxuSf2l7uNHvFfFO608d140QXlHCF9y4MscqY5id6h5o5vmdvGTtKtU30yOep8R1/nZ6Mf2l8JbYb6cKHLl03LM3LYfLueHQG7IpVYpVXRooCzTdeH4lorRxj1OEJTNIzz8J//UFfzSxXOTpZzhUtV/WzxL16jubsRHA6gNeyKQXIZyPpG4L6DScDwE7eZEvZ01esSI5+rCPv14EStWLYA/GIoVHEQT5MyjSVqBaXlmHxQCIrchU616OjI/vXMGGUA+DnAOpIlKBJlXBc3Y7Gzx2oc0IYTjTSPMW1ijapcreZXZ+qh4oDPIAGR5f55O6V4jwBlEPKmKNaChT5+Ce/MU/gP7kLxXhX9DFtRsDDuXVKAyVbFoDU5Ni1+epv3gy+j4XZEd92ocHAGWFbsjnRmMmNCjsbclyzRII6CXjyE1I+QREa0i4F6fWotGyQAfqNsPHU634CLBvr1VW+jlKuV/F2tWwkFwMWG93z/gZfpMSNPVQUcskPTf7P2hWGN8eSE3hSsq81mKJkGgEA40VTiFio2z0OhPK3RW08zW6FNW4wr/e4x2SOjeXX0OFjh3co5o5AxOaXT4Oy7/329+vMp0JHYcOxY66zmAtzV2J2SmEkwiu7O+hx2EVtYys5XBoxTRU5VRghiJ/uD9jbf0a6+g3fediIsuMuWN9yXIUmbx76FmHxPLhNYruii1WOzSuIgPgVjGh07fXsmqPZiJqt++E8e9j4CBgWe5+xmitp50TvdMpDli+CrxOx8MI2NV5kAOe3MPLqFTXA2j6r6gMkGmEFIyl2pgz7doXC5qpuw9/gbC8rHRbb8nn4ERGe3f9pKPrieOSysoZN1Ry2VaZOhiy9RgbdhXRZf1/IY8n1HGTtJcJZnfvYErvpNz5VJlzsQrA5DtwjrFrKv9ndTbTzyLxJjXtOt2gO9P0g6CCDGPvj10zRS8Ud/EODLzZCOt1d7Q1M3lnkDsbP63WnS4X8341q6XzLoAVBCkLXdK07uxCUg9gdoL6yzYx1P2zeV1nUgHVVhYPLkAei6I3vo5SUGSIiUiPhuhbL+hNjQxQLVLIx69P2t+g1Rbx5rhLpz0EDejBD8pgvjL9J5pMi2VjiucU9iMftgD8jjhh4citJ5tavW8lkt9dgVl8SxLXBGWYGEhKtm95N7fBpg2qiJ9NyB4oHeedsg6uz/4kqQdm1TM5tenjUCJSuQbXridPgQkSbkTYexpycdnnklEuCA3AUeVgfHbVhURluaDl7JuLzpGUCy7hmZ2UyBc5SIMvBXDZxYYzU4UjESuJQEUftupq2CLzWLDIt6HerqPVR9sTH2MITMrOJrRdErEuuUqz8wzCS/d7WzxwYvJ4L1BjKh1Symi90kzZdDK5Il11XU+wdZnZqYBd42Gr5rUpBe1WMid4EfuKcxz0yVJM7GHMhGT/kiXribYKB51UMk0I3v+vApf1ir/15LUCla5e6BHyuN4B1M9EQ78U/+PXtbF/otYgsm5vyJlejysJ23ohGY1DpdA8ITL926WybuHnaGT4MD90FCLbdddvquglmGvCePXmxJlf0aSL6RX9Mmjoz0yFQ5qMx3SjzKPLoGgztLdsz+uv8sIknY/LoBVMvbz9/YDFNZtGQwIeOknEgW0pi6V5VnrnrSs4Q+MA5A1JB3C3UiD5Sj8irrnP34RCxypRnYrD5vT+BO3vj/nJZkKO/xlAPqyvOgSi5/WBtcsfQVPi3J1tjWs4aMV6WHAhY1GgCj4csUkX+eL3IjcrhRCH2n7ag3LCFoZvOyV+3Dn4YuILEfOgpXoZYlXvFuVmayxVM7PJ4eHvMP6kRDhzT7iI86zg12BXNWIzZWC9UgzJ+cqY0/5DgblyFV+HArNQoSsmyehTPQ+BOGHtEkdhawxmKKj+btcfDD8Cs/zcx7jugU7aYwUY2HJPE4plAuYwz2wP6ljxQH8fDh8GbywWBQtqHYNyAvdLzk2Pe51rIxlH+MRGHukPVFqUS62ir/g2bWFtLzM9RZgJmlxUuzpGc6NUqJmbJ7SNpYup7+h/Zooo/0GyWpZdRXiQy54MJmeTmDlknSgTN1a/0qxBdYwR3SaRXBK30SfG7LC73cLWMHLwKTkGV/zao3lPW06qM6bu+M+1KCKgWe/2MtF08uTbM2ZDXHOE4P8GNWRJCB9A6e2p4WJ2o+2OgV1DpPZzAvr3xqdILr91QG/LkQ5aL9fF31t5U2jbed8JbHxJmhOOhAKIywNfvcBjwFtO8LW2XHxAiocfQShdV+6naWGX2b42/epX0LCRjzzvU2DaGBFz2iOA9NTKuk1pW3OZBdnSj5anaEZJvEagGIdr8N8V7cZWnmSaKHu7ZubA+OkKieTOtEsBAX/bppfswv3UW2E7cooZcesxrcStPalcghG4Hx7GXzutcXCBF3YfEDBd/oJtTWSX02IWK03+GW2TgqaxCpcLt+nykAJt+uWe1CDNFcTtFW7yuCg2FGHgiH1q3clGPq7swu49R8+SIPL8qSe6oRbbdr9St1edvla4rBMySEoEO62d61Inve7OkG4HYKzs5rRPp2bYSiTou6H/2o6ZMRZ9GEl80OwV23wECM9J7ixOy4RRilT13wmMt838HJh2BQfYF6/vjiCe7cer/oZmJiohkWRpjyjRwFNkmLnDiTH+a5LI4aFNUUbjDe7WoHkXovQXosTjNLJ8YqJcIyIghRte6mPLKV+G4CjqmxmK9mhDijmigC1zamd9q+5IzE5OFA+pcnp9lr7/8xKdNW5BLADV2zKCOaysoBDk0n9f63mE/YB4K0pDJlfWPF9Px9j2pmBCiYIlJRlYrNbJDVl0HFxsbWaFK1J1cJT3qkTLjFUq+d1/Cn8/w5V9Q/FgF5kiO8nYqXVaMQw4C5ig6e7kEQebJPdNqj7jj3UzdOKQLqYzqb9f6UsTo2ZE0wLFqbg0Gt/AyWPL2g2MSs865xXir9VyzmBfKRrqQjjebp0WOw6ATufhGK1ml28VNUNJO6UjBj8Qn0TkknsYqsQTOjVDKIgI1TROeFAjZm4YxCnBmnHT1YHILT8BifPjouksNZSp3a9Xjuv2tAJCcW/K2+9UI+G2y8da5pMR9Zpd0dp+elbAKll0ZbaYmAXooRKmIdcDe6hNyN+E6h/THTRjV7Oa0NIm7VEkW47gEBMFRtM174U13GdGhu3A2a+DPitgCUkxWhuDuh7Hdrxy1x6of3eWzN3chL4XN2ZvGld8OW3qPwOjFqL3u81LD7yvaRHIHRG9hT0Hsj4io3X3wfiV/ur2aupSYaAv3ITYhGT3efVjbFQXRZEB3ABngu7yhxNWHNeSg0fc3HUlTUWzIg7BoatoHr50PZ6SMvdfHnIR6NUeuu+bBrfEkJjScEQ3Do0EQ6+yRXaZzTaxyKmBuYnnlUXfHBgglKLCTd/pbpFjbaH7IqBK9j24jcK3STCENjsGNbCdBwUd0HRMlGf258Fc6uuatyG//pEHSBGNxXr9anTOHCoLFcJAvGwgzh6S4lklNFDsvCV1pUIfO+qmvIkfWJxwqSitDQR3TDsySYUH+Dimo6o2fLDkfeEW5YF11dt+SAZt13Skj+ir4/FobMyPhBFM2oflliQ/ns3vdWI9JYlCH/rhKyHTjnUhkZpdXja5Y1+IHiMDEm+9FjslyACEFt7ikjhwHdlE348w4yboT9GAWvW65cidnz9FB+ZhKjuzXs/cR5kAozbOyqshAMGlQGiwbdAfYlJhyJgjJdPUu7DEKL0/BpUGhggxTJ/A/izT0HBh7jLpv3av+Q107GaV1XZjCJJQ7qGTAdl2581+v8uH/mJ7SQZkos/r02oQiESf37JaaBAdH8H0qVAqWwhX83LL/HlCMScNR/tzDVTnr25l3QCKfONfo7t5zOq/Tb+71LboUSKIV2/I9ft9sXdXKcKF9JkdkIbme7zFhuhmviOtWiPnKmWLEK44ms241iNKV39/ElFNKF8ywVutRFukFbdt0Beiw6bKpWPqUsF9czvOzu0xqjYpGgqcnVGxe1Kmz8eAudyIBhgCGGaBZ+SpvSwCO1DF298K1iHXI4Bm6z0f8eY7kh1odF591JYXM/6EfTY9vv8jQayYvqDFQCOw9+VkONZsufR9VJPlrPL6Os0ydEv1SdzDunhMsVPMY2DxLzDTN8l7Z+oq+j8F454z43D+dARiSnJglr4gGcS62cOHlX7jJLa8rrGKo43wubXtvXuUXdS/38BbaGVCFK7sZcwK4fhUVd1aDYtqDusMi/wGShvoJ+jqc6w5PicAZnlIAIJdXN/eEGE7YXzUnTaM+5AbKBfPAzWcv9juZco7Gi667RJMuliur669ekm+YsL3BHoY9LlY3Y/EwgZF3oNlh/0D0Kzu8EiUHXq8wjSwqh4/fiX8kSNQbdT5i9nMsRe47xrrUNwswKLOpsn/xGP78U3mh2qSpMK8r5DFXTp5RlcCUyOao6MjziqfFQ8nmpmAKuZIuO1IEEwCmzW6lcdUqIfYAg7OQiUtz6KxeCylhfygKL1xiD+cL1zHAlZe8EL0jVaSsB+ywtaq16p7yNr61tQJvcWhZZCsvKCG75pbSrDL3F1gb/qnntSvvQN/QXZ3J6xEysfhvptx7spzslpQW80uA40COXJecVSnesZaYmp1mbBalthZUQ/KPugWCePB0QjJgNURnWumzf9uADiWr89WkbA8mLPQGQ+6rn0SaQykWcMpEdbNPtROy8gugpG8KoKnTgNGmmGTfOgZFFi637tYUDYqiBdfh3gHyGxV0bV8jsxvyotjFQkTfOX7bmyNSXX7VaoMfCWXHOFAdocAFVje8I0QynhGglxSJe/NUtInkdzBt8KHz7pP7TQia/Z6gBmbKwewdjoT6oWCjwwDorKgMa7T5NhQWD8fn3UvjlXOx1hd6awVr9RV097AfmJ9m7VXhmStUyfqlHndfss+iWcrei1SHvXK4ew3R8Qe4GgZPz741A8Y0p0aYl6wi+bei34FADe9tViTH1n6mhk7WXb6sEqZcbmADUGMypUWNkkbqVZmEio+BOSSVCQsjdlNkU1mV1Q7zH39PLmNfC1ldJakWnyTvZ7r2XMTsgh9RpMy6ksWjOK5OWKw3q21xwS4ZDKbch/ILa1iGtE4+pXQeweenIHidIvA2FuyZ0AXnuyyncfWqYXtER8CHwGuiKhYAOvFs/VwAhZTIu65L7Sv8OjcY+XSyRuZn9Lgk/bJ/GnSw0DSf9mqKFEAFxKZGSfM3zlE6R9K5YYiX44VjK/2aLScDsXMrchmudar3wugfTLrV+qaYRn4XthG4MiDR+AI4N6TW8VC3NBlwO4GkvWDwhEh7rE1wdozRx9kcXT7FSNQSqJfsoMY+zPOceJ22QDloIBQHhB0hmi2aFF/tHXuAx2yGZ5niT+6kpdahGSwLZ0R9IdrX2f7Kh/eWwaucpJMQ6LwcRo7bN3TQ8thsNu3Lr4c0siAc+aJk1tKG1FzUADvwR/8+sc+gKgbrzOdjW8XpNkfUrtnishfXyWgof0at2T9Mlog+XxDq1mG9XgxDfcGOkPtMiDnYjVUAtaxxKKhyw0+ZvUWbeMm+jCY4fpDPQW4Z2EjuSCtJGr1RV8YOzOxbHa1WFFMfV/AeF7zgZLCGpksRxGy1IyNsypyoB/gcMO+2GAEoI97Ii2RbLGhmF1wCm9yY5N4W3FHEGSeZesDlJRWMzrqDbYPHwq6rHjUWfIZmIoCw3XIEFmACzsnfSpS7AEbkQrWdjWucfm5nz6L3JjbAOSnvF4XQEVkJWIVRcC4wFgjLn4nNdWqDsc4FU5DgF9ONzU7HlOMhsPYS6vYSFPFVOH03Q36P8Xcxnwli+k9SpAOZARh9yWNEkCS3j841B5U/jAIrrCxa7Cfzyqs743cto1fpuyBCZaGwH0VecfdO14n9OagvHYgB+zjogmSalG7MI6MJEcClmbp72xD0RHOl1H40tO6uDiuy2VrSUo5eiJbCGlmStfBaaezICQ3vtDt6EHyIlz8u/l6yIC/i9x4l8sk69kad1a06yXNFS/FIdHMGNliDUBYmAPLV0usdOQc1OczOpaXBszB+phZRwAvlOrPjsmRlnSkMnDYq/fWG7G/wLilWMudiLeA+aQvcoq1bI84ZRGTWgrm3UA5BuMXyE1SCu9XxHixrh/W3KQ7BS1nzj0VAdwTNz0T8OoVpFmU5INVBvBAML+UFSMIIEGPSrOX9KqCNxHQiq9vs6IEGE3kw+sQxKSy7Z9IryKgqBTjXf/TRVyJ4KUJ1pafmgkiIpGQtAkd7mgwkHzbJAs8G4wggH0+yjvkIfnMmx0lduaJUcWey8oZ9xExSOkKbDqIxibVU4Fz2jv+HsrxBG99gM4JXT+4jA6OOncugwvT2CJ6lDjoz8Q8aNOASnYRUfwhXKbjzwi/RJ9w8SBeoCQATDvfjLsgu1q//ojs424WO+4lVUMygN7m9GAXnpkmUteM67+/TyVW3BkwLjtPW1C2ai7V8u0XwJGQcFqA/Ttt3Z2pTk2ysmLKN/vW6g5XcTy13n1Sy+67Ft+q2wt7p5mwh1cuDbRFvrRaZTwg3uhR9Nyyk+FA5Kds+HikIo9E+82jkuKr+ZDglrjp0dxdidRhI8cjooyn4dbrh3M3HyFxc8j0ZYCs54KbKvCdpQ0wNrV5SV61tVaJYwFknTrCakP8567dNvmu+hlNJmZoAyxZoGVFqSWM2QizJu7kFVcfFp8vOb9YAakP1LH/KGSJfsnbhIHriMPJmhLMpaRSGkgngPLNQkaPp1iKOR2OKM7lZ3A9vNwvWu0VeJw4l0D8vYcIOw4O69KLVKN6tJX1DUF3Uw2mrkZWKSCfxabr6SvTDudbKFdh3e95Zjvowy1XI9SuNWVE8o9haBaze+iJ2YPu64HJhs7H50ggAPJfbK0w4K14n6PTE6Pynf4D+qAqbnB7pKhaO+a/Sqqch/RVlpfwhxJnExCMxZy5I7vxEfa9nsO2crAGfO0w2ODneX4Dr+7F8kHCvKQs+nJg1EESKm/F/o/6gS02MiKA6DBLmf6Vn8hwk1OqqpOwbYSpj635xHDCOeMU/VyfONWnabvbp3LBhKYTWEEez41ct1B4s5gq1zCMMxPt02/0w2vU+tjM3PohJL+MKrffNlhZweirV+TbzQaFPmndMFCKyqEdBSCGgQiKGYOSk2V3AumXwM8PcakXvSTgoUMCmh69KgC/ZjZtWiLWDhRFw5UVmREzzf1H8dmHhTcy7xDGisH/8N6ugp/Qkv21uWs1s9l1qrrpMSfU2WAmjDb67OsvYz8MVzxXWiGo/2nUmnf5xRKRZpgXRiR+kKzk+ls0qTSMsIsbCDksy8oBooeYwHRb8Yvc9aJdngi2dbCRv1Fcp85FVHACp/hHY8M4wrku6Q/pgso7u37GXTiWgPDaXCERBf50kJMq16mj8QomM7TQTh5bHohqryQVZ3rikthnxez/iG/O+Qai/+m4PGJH3ogu1Qzxh15ZzA4eHB/f4TLbSWRdpYwYqr0HPlGhMaM854ViDP5bjUHeVBE4w0qBO35cTSGUJcfH2B6zjJODbQzT1QmawOhO/8KQOFr2n5gCuBFQNZLrG024bfN0Zgo6cyWhmV2uqw8ZFxm2i7LinMX+gfYp9I34JwqaCOv0n3dFANhdrpb5W1iGUpvUf+ARInVwpPVWC9MDLeTLa8YJpLqUod40d5a1+ztJQEBtK4WXiGCE/NcC/5plhGWHC7cK/v1g+36C8zdF5eZAZD1QwwpBka5M8agY5XHrLnJQGDm5UlJvhP+9yTavrovIOFWyGe93d37cB0w7IVsI443dIlT/9aHFnMHsPLwKK1CoKIIol8dGwNbWBoHQyyEefAPFhk5SN1EtvCWl0wR0Cfdiaud5PPi4jugi6VRmvM7T/h3HM7QuyJhWpDTe/E8xEW1o8y/KKDfh2YOtSTLvngvQhQPBa+L9QqC00ZNy6AxGgoAhNN++i1aRIY+qGWYlogJ5omOFDJuwA/wuZRzK4PkndfUZx4XHw/42jh+Zj0Fb6kO87otIi/0EpRRDeGmt6fuUC7h01f6Oynesjgvhx+eaQOZYu830sLdUCK6k+wuB2p38hY7gMrl6qMjOi0NnUpwiWVntCKh80qkLf5+kN5k5HqRr6d7UT4akIkesho9Xu8uKHg0cP9JGKRWVBm0ymBK/hasvXeWHxsoLnagiRhPXC3LTWvI7vBvGYWRNOV6vGyBYaKbv2UTUEYkOYDBfkHlWcXXM/Locj0B6H2rhTQJRv/4mQvgJRhMn3l7PBqS/P7efEe81E1JFH07yd+/A7KlW9qTP3ahH9d0ZdVbJR4i0+lR1FeuD0E4nhysIxfV1IaXqpEfH7/YBrZnpz3clF1JFbOnj3NT8tT1/qXnJgfV2Ib4hvM4fMN6E2TDfOQv12FvPTazz/5j0sT0a2/HTAA1SDsjrnMa4DGSyu0yx4bfe5KspDSyyqaXMzhJbv49BQGUWgXNDnUO2eHd/TqU6d76Oz7Fj9pBSoSA/CR5fk70q/6c/k8FKH/X2spuiBHcAc4ieT7QpHeiY5yv52ASzSZa7yGsy7eekT5Qs9uaQtWENItmWH679c+o2G7zncxy7l5/Kmh5R0+iA+6LoB3LAjGnc4CAmIBwTN+hgUqSJrDemmjXI/6FklEy7UBnzzVSk97iq98i3QK2MnqhDmqfYoVIq555YC9OeVF+M9OlHhQzw52C+ak/GfBLXbblJXN2j+Ej9/IdUAAo2vGyWbZeWdZx9l7GFNP6TX5ng4C2MvjL8OGpiJZZeX62I0UX3ZnAwoH8WrffLWhMZlPMyCTVLiWqxtlCQ9DjQR1B8Sjau0QAlMFqdvC86ld7f5kZVm157ldoe2Z7sTC+cqfP5rSCpIFU62WBKXcCVcJr9JidYQ5y47PQfQzQZj3HIoN5SYaCixe1LsccBo+7p4JnEnYUcyak5EBlOc4TwPDm6cOBcrfMzjMAF5EXkuwN3qTh7GegGHAn8TmHOZNgaQ81AQqvx7FMWryDHsEzpaJYdqYERfy5SjSBsFFy5wlyPDHE23PtU10LJhaWwSIdO2XE3JHoTVRNvkr32Pp/oyJ6wgCyNVQb+mWWRLDuOxdOKS79JDFEYerd8C60pwz2KSg5+pgvHRVhLJ+N1vNbCuF+YfJmmbvncXu7kmK6IiibZEpt8FA9lNm7VlDPJ5fwV/W56sTy+8NG5jN65CQt/bBJR5XT5x8m/RSZAbWEs291peWrlkDtEl12ryFLWkvsKYnhBGJ4dZ5OPqA+rGC8LTjvMNmZngQzL16DqhXQ2Ti1UhIA8HID4MzFEPelh2eu2Ba2Xxabg7Ohx8Hs3x/OiXQBdxl/l8PZVwugw1+UEtwdn+p1hvpHRuBAMzRKbvL7uo/aappw4Zn46+7Jzi9t/Zff2m1rOVxtTzfBeXngHpmvngVwoo836sVgElKcovgv/oFhtClYLXqImthiKu2Jpf3UqG6kgKIykOQfb3oe8doruWa99cFB0NMEAvc0DuaY5nJ6Yg/r0Ix8htH7O01AKt3lEjQkQazwbtaxZ2pTR3+yOxQIiAeFlyi7/HdrUyQ7h2EKvprq6vlxkPOmnmxcxqp9aONVs+UZpkFi43dCwx36APODBS8vEbwldo47RGOmq7LUx/k558ZxKZQfJUOEXNN5wSU2oG+KYDCiXVy9IHEn01YmPv/xNyYrjP2kVsv/OZN2YjD7a4jLUsLFeq7aIx1sWMNe8wCVZbA2pX1aqq3DpgN6hpPiOtotUgzQfmdrNSF0hH+HaOh4w+6b6hZjciX5U4Nlqe0j+kwsBICOOTMuBaNHRuG0DdGFXMPoELDwa6arVh6pX/AkvgEy0iea/SlZRNYEUgx15F8EJDbzENDTcXYNZsxIwdfZ0b78JxOSm004lToA4zG4pDRHxSTlEo1UZ2R5r4C8ID4s7OgtiEYY6WdupqKdRuYUv5aepKHFp9pk7SvDzECYkjwx1V6lL0GJQiRKCXA/fPXyDYsFGoNg62f9EpEkizXazQo0M0dMXsTYKZtkPcYdBMSeysy6BKK6g7zQrCrr0xGwYUOAQFVlFg7UAzFrqrUIj7iOQdVkTQ41Z/Jr9QanB+xPjk4+ijOAblNF+auH0VheLVxp1iPLmoBz+QrwoyQnJQfu0wsnpDQyuEsCd1Zvdmg7FTFFTD6MdFakfJChLQ8HKHfdFfrc6l/6/Dr351eiwLY/YxpBodlbW76HEdk1UWK1aUAg1URTRvQ5n1nAPic+ByaoGyJAchJKt4FZ4eOHkTreDeI8CsVga7IkNZwD+MAhrysoh9bCCL1e3CoSPmY4WLHluJ+yRQSkIy59pEBs9EDUMP+INS8IoqFu2vcGVVuNvjuysbEYKRn0jEy0xJQmpZIGKcRyZKwDHT0l2zvztMyMGwYnM81hg8w1SpE1yzglvlFI2666oj4jIbe1rZfUtQ4ivY49jiH2ktoCPnPslCyD9buI+E3Dtl8G84Usfampilvr16IFVcOeB6g2raLtBxSarbjyYUTq66F7r//xKjGqyjzAXVnRrhsyMSZyw/TSn6VFmmLDtgrFj5sTUBNrAAJy8JL0hNBgYR0Sz6AX8zxgpXiqC/xL02IMPscNRk/MBg4K/4x6yQlhvBF6k853/uyIJkXfRZnHj8ovudZTnQCoxS7vJJzonZgqnFtULdjmgXdkIJ3dcJKCuw0dWi44mgGfHYx9tmRcsGQeZKQW+1elIrAIBu94JC+PJZTFYWMM6Kh4DPbOLSUVti/kCt4R6aWRnAOWc/XvRAqEimlax/cOjjimxh0II4OC5BA2T63HfpqJX6EtjbM3Vjz7Ou0ZLTT1vUXU7R28YQZYxOPBnkF690+MbxRLYXq4HEbF9USmhqT0wSPtK76PWhvN9DLVK/xiX4oVsU398BD+/PCw+p/apuPF60sy06WIW3FpINFwCauqFm5+kpVqrKI08GHDqFuPy/uoUB32nyUxtoVjhfffMWJbwZ/3xjFvzzGFooR5C2ZjSxMKR3mZagEGwDPlQmfnkcPwu8IXrWO0rinQ5QXMNl6fZVMQYSfnxGyuPjqPGPv/vmFpVQSj/eAcRzjVk7rNGLwHjXyV8x7yMAg+4mEnDRRGIHjEDFYXDIPSG++eihgIAw1WNpJWnVdcO7y2awVElLxrikFjDY5Ind9/WosTYguX2gmxXpwBvG4xUUKYUDWR07VYLfamB1bBGaqanMY3+YmBOk8RtK9csVCD9SOlztK/bl7Ss4+GYhv3nMpG+pekOIzMvTvDRydGNXkw1/4ApuUG5DSys1QbqbO94+xYp21YIT4s/Sjsm+0P+DOeXHorqbmx973w20CNGC9WMBvB00w1EyJYv4Sdd3LI7tjmKxVfrBavfApyyBCqoDEb2ZQFdDHWPeopFfUeHUMhmf0aC0qnAPSFahlvkfCjT9cmJ8CHFfthnVvrXrexwkVIiGeG3tn+I4RliXmfsRrAnpRBfUYIHPEJMbTlsgyj4sf2OdHjRznHAl6Baojp7AN1Dj5wQvXHDJQYYuZEOnLB6KWQDaLnMWnzTNjabjkR31HY0og+VcIcA3ewZAq/AeyEoK918Jb7o38PcTm37qegdC7dZ5MJWrO2VmkH8kKgH/wTEfzVyX5MfH13r3els5soEgIJuZawqABagrgCeNDvGdawimsIxg3u9fwX+koxcyDSTaSHo3G+6fwbpUCCjCR2qbHj61y5SJ5prNLrb3S/es69J79l3KgwKiU0LLMgvYA+PqI/km5TU4xUgXsfLxL8e/zE/5q4Sibzq15fVMdwqPMeLWcJN+pLKbGzBGKIpYEmKi5E6hYZr8O6mtDJu/W0bE8rNVXmA32odtcICyiESPXwCjlaAUlROzkOteqmjLzf3qkVJtgGCCtapr9q2RZEwz/f05vRQk8r5MSznO3uokBc18hQOo1WvfNGMw0ry++6/++IolNpwSkmic/ufG8R815gA7WiZZILw6TOfRyYViS0xEfJTLKNkFOEMttLRk8fCKgXmjlwoDO40JeWxVwODI1MzuCG3AiQUPdLXXtb+Wv2eMj4ZhfG4+Dm9Tf8+p00QQdptRZ43Iotq80aSmGEnqEA8z8sVBkVs9IAsOVciS/ycJ4sfHCxXUW11u1AAHOJDmxPzdHHb8F4RZBOs10R7ay40HZqvff2IM+M2nVNiq/lQ2ErxulLk/YVhsb2f+3BEQc88RKw/UM8adtyB4zVuJfXMad2An1kJhg+JM2i9eQnBbmlrjZVCMQUcPsPGXz7dzzAXG+gl+uRwuzR9ctj/R+UYKcOJ2FzifxwFksV1WkyAf57D1R2v8QouMVKatrzdj1C9JnCufndlY1S8a7sckP5dD7t5Sp5sfsPwT08N5dh4ebU4oTPiUkC7pbF51+yurx909CBV0xfdo/44JM0nEYRW0BxpMpml/YBe/3pXbr9ciu/0VE/DZlOAoA1XJX56evWQjHeTj9iX9QgbyZJoZBneNJXB0O7BwwaZnWhW4zRuO4ubHNiUjiS+OR/fOoC4IvmMOXW3koE0aRMg8/VmFiRa/dSh+vZ1/Az/A22N1ZbowB0B6hY3W/s7rJP/TA7Mp+YTDe7dEzHolVkqcUslb3BO8ZE2fWhMtLHyeyJM0L/xgu6HCGzkWUvnMTL6AxzwrgXDRKB/rRdLoONaQbz/04AJWZtC26pJDykeblbR6qShuaLPbHPeIaXmRcq6yQ1HqHS6P2NibDP0Isaq0V9o8JV1DqAWoqTg4JLpH7qzVeHxwN+H1Voapc/hV64cFi47X+P1OLKt8cByNe3eCa0A+1Ie7Z8S3yUj3bwqBs1cp2+f5t9c4+S4DfgBbxWJ/eySCWMKG9IEhWpDFE00BdpuQHALyT85nWREG3HxHs5PThz2UPiKfx0vurveLR8obMP1KaPXpND4YkAaha620NmzBdS7NiZ/ztTTzzVtBXtsPekmOImEaVMfQI8vlRx97VLoitWKfNfVmVgrK75rv7e0zjRxxSDFaM6eHASii0EVXEqJRF3UEoCDDp7czgRRWwzVKRt/gqFSshM+WlB3uBcoC1aubMWUg7k0gxBxFLE6bLBCZSXDf0qQheW8h2P1Zymfy7BCISPzNdNqL2BGjfbBItcCM399e7YsBUj4ggyPEEyVylumBc0ymNRRXlLHILxraBajCWIlBkIR22lsQ4vdfIsJ6ucIMfQQwWs9Zi+URRYcUKJX7eGKVGVzVhhQiz7cXvdzwgJElakxpnGQtqPvlCspbNjUV7jJAbTyvzt6JdWnSI6RjC/tILcROPB5gqkOJfFKI1TBG2UutaxMMTmeFTr034BYVgtU75dnRpB1s4mlaa5F2dy02BhL3jcEmQPHHEnWBWt4HLu0EJwR+M10lsVslCO6MAWTSVXa8b/1PdHjlsZNlJdTMhrFsOZ1nugiQ/kH4euPCqZb1R9t7FshBsV0i7PhphHRiygv4SUndR8wdzP9D7XxXSrZFTF75roN3Ne6phmEFOFejh6l2bPTPPCA+MIQa5uiM4Q/2aCDUR1jZBSk0kOstJgFT6y3m6ANzsijfsGbtYJRcue0ElYDVdehUw88FqUkwAEPHtsBCabEFenuFRgDX15x+Ad3Grx9jZhVeYfD3+WeOYETzR9Hmn+f0QQvsE5sE/tiSilFLs430FA+lNkLI+0AZMUidHkJYqfkoUkgJDLvnkyGUwuPNkKNzP1mp+RmsKf66AICzEmvCt7P3niReS6ig3WQ6XJftWRMfav3CtOAuKpzQUk+LGhTzU23o0ImWRXzevenEzaD6epBVsbaaF7fbDE91/R6ECNxse8w5c0XyOPX3v6VNLF2jHIeLpUCvgCnNO+otHiG/6io+f4nZApEQN64g4/1ggVwZqsGJmhXhqNd1oy06Qt4tSLR6eikVrrCqGoac9a6k5cZZalSEnDKbh/gg1ErDgudiqeByPMoco2t4b8LgFJQfmzDx054DUk0WhzX95G3CH77rfPdntj+miMX2/zyadjAiUD5XmDDyXuipNqmUOaUVAMG2ShPR3kLvEUUckBFWYS1Y+MWeV/iMmlhmCz5mQ0mWqSi9u1sIX8eVWk746ksenLJWXoUwXrFsqX4hyIRa3vQsbU/jkuvDXJKXKAXYsxuQs2BQPxzo3/RerGm155phordrp9JolllQQ7OFrbltnKBDI61wJCaQ+MnLD14XZekTYi2Ap1JwMejpEsy7tt/Q9gF4cbiEUQmv3kDI8gzgLgja0WNHY++9gRVFAnapVdMScZ/t7GnVqp15y+cH0uhS2/2eKk0FmFoWhSbte5eJlolx4S5QNKqnEgRJ8VD1MSOXJ8HCn2+GrDIy1NvqUQ1ovEJ0OW8rL91D8bm4pgAFglGDRDRsDsw6H8bbLjz8jK29Oku624kdo+1ZS4Naf3vJtHxBHlU9cHyRBRMwsTAuT2onVvsw+MA/I30rLSVG7RFtSOakW5InC/JAqRIJjF+7ioLKPZDm/BNULUl4LEyTKdzDBNujPW/vnj43YdExDttVDVeOt4lc23CXbMx+mMi/LPdHdwbdAInIblAQHDk/BeoxGPwTbAEZVibdemVnAcTLEoJVk4D7tHIfHJYHqVBYxm0Fdj2qlC2wjCXVF4mwTltTG1nkn2079aS7x6ZJ+PT59ODylNRj0Gjr8Dpaw1G//oM/n8RTYH7Vv4oxiWSHtsHOw3P7BgVD6tDa3A02CgZL3Mt2huBVE0OetM9l0y4DfrFdbY81bWR84IYJGKXPnp3nYH9F/K3IAVLNFuh/WcLJlJLyk0q8h5Ei7fwyW1PLr3CGCWU6gW+ieDSkmW3Y+5Uf+adwm1QxWHugle22BHBCa1+isD1aRVtjAq/EEx5Q1XTkXBLvJc/YBCps1d6c1oj4lVhA2wYJgDAFqHla1nuupPzfnIlGI0g7w8xLTHaLn8yRyRx9LA9EnUppY23rpPYGMUHgUD8o/3C+kqrSu1Zt/qlwdzNzhs31s0uTckB0JNlul1PFq4PbwpeX7JjL1EaIx/pXwqukdY1KnACPK2FzkEw0yn3R19pHk97SfHPiIFhIE5W/MoQNGJevSwl0C+sRPVJF8kPGb+OxS6DO9svcazQiQyXNeIUTWC5zXI1QRsbUA/x5/jStwXxQsx3Iq/u/WhV6dcri1W0KLk9yzF9AMHAYZnALx+GRI/HPHKR6ys3U3rG6If3lduPHsW2aEcydTN5eql/6GHmhXpVngHhh2O33zA1Nvjm0nrrkD2/LqBg6rWbhAxQrXX5xW/wVlZuxrqIwVYg6wWZF6T+SZUc+DPS7dg+Qc83VDLHbbOQjymYQQGqZ+MrtNib+trmY9wKFV5wVtpWv5yuJRm8Il32qm3IKxlbm96VNIsbpa2EmkV2w2a/HdaVGOfBbom/mwkqHoJ8LdH+A4Ypo9CSa/3W6UTxyyUr1tHfttONKlWCef03CGu8w+eRs08muT/eA7sTq3JsQnDu+G4F0i6xfl8ttcu8NemYKrWodbaWsMa+GTCOjquq3FX8qJ7gDs1+WYo713fz8Pu31icvZ9mEh53Qd0ezDzwREScZTd8f+B/ACmFv4R/jBnAed9cF1YO8RCAjrELCTkHBQZcXIAC3jW1w2N68SxYwqQv/OkkTXh2HT5Y/nva+F6dPA1eanIcKRd/53A6u6UlPKttsIqfVcHPKYqNIYhE01IaDNzO1EPVEgt7XP0TKi25RUKKbPd3lU1DEiEci23uzPPzZEEaGOtuHx6LkAhz+KtOTZKQ0gDnRWfc1UDormf0znqprVl42zwKXs5vQ09dvhjldGqaUd4mdjx57u7liVXuPVJLodjO2AOmcKFlhofk3010CstoX8ZuK2CRogZsc+CTLDuS0+OBjTDAqj50DYyRuPbfCzgA4L17CZC6i1kNG59rmsVXHvlKSPJFUz7IvqolGXxXd+TCJ//2Fyy/NpGBvucIoT2JmVXQ6Ut6tsFnvECaIkOlXmHhwj0lWq4Jk9vWTaZ2A30tBicLJgIeLHUUppSAl7CaRRz3Xo/s2QhGA+rWyhum7QIHIYH/gA5PuVBhfrH89d2x5dt025vt1BPUGf8LWHwDkCqNQvMa/sDTxK0iAUN+g3RS6kxwttIXf7Ao1WCtyDsfMEndllbfS2Kobh9dn2IQR3X5ifxWtFr8w63BaY/WYGAI4f3xcCzpXpfB+ZzRkbya2s/IEk9hoHujiAqLpfV8TgENmtpER87vCTLT/4Ry1iSWhVOZZVK1y/fM7qJgDN6YpJJrKm0MSGU6LsrsBvYA/f5osnmlkpAOyHRxzYrCrKBQ774xZ3jsjDfklow5wgZIKvDL0gVWhHFn0oVMnOjyV0RLklpHD72o04jbwIfOcEwAhAcvwCXYX0Vq6dISGgZYXm2MxD2fzip20YoHPfIZyFADSLA1HB1SanAtXEye3Zj7v3kUzkHkpOlp5BxTq34ybSts9OuWg/BiDukxWDYfIYOVTqF1MNTDXZXWqheCLT9yu/lWUBG2MXJSM54suht3/SDIwgYVfccyoK7F3nn/02HOGege+hnlk5R9Yy2TjBGb0gw6d+b/7aGQzvzk2KLaonVdUs0VrirXnfCg/G2Rqx/Ntyv90s5Nc2gPVoSkaGSsVDMHdHVwheMrgN5osyYTtHUCORUU3pC8b0MPHayILLOquGnAQKwrnQFycB7QM2qxiOzynQtMzDqTETU4sM3f8Uz86pd0f261nyM+MI3c6YiwWun1WWwv1yQhIaGqaq6XObgOVzcfQrffJk7nxyaPaXAg5crnRperoZNPcvQKYcGWq++o72iYQ4P40bQDGqDAnEBVeCz1R4AD7NbLQIbJFvj9RVMpn3iqyfRleQ+mu4OonB68DrTyGllndvq/lsdxRkmz5P5jIKbAmc28YLWLZp8TPiRpl3+t5lgXELym7KYHusq7IglgUxgOdgsU8NQk6q7mKfj6c9lZI2ukbcsBf1doL/aOL6rxhKUeUbZya5wSYtkc2Gsy2TYal9+iJdIk/6ss0MzRQ/OrYj891nDunZVDx3+STuns57M9Hj3o9MjP4Gbk4pOaLc87rjufSfnQAWbp1L09OMqZlT74X04Ux3fnArOVkNV6tHx0HxhiH04IFrMWQd+NepPHx8sxbzD+2z9sXyi5a5t2u4nRsaROSjJpFbrXDiPEok0uEyJDnIvxGzbBOALNOLJxSnAIRsnjZhSbI5xv4ZeAuNbVXdmsy8kDnYgnjXKLxFOtf85TDxb8p2OR3U+eRVQsB8GyBGAessb/NGJvpDNg8BmRsNoQLIsNudV6zlurqKUfnplnv5ckCbA/dgRS7lc6pMsEA2XerRLSxV+lueCR//6CrFuiwu/orVmw3SfsBCJMzbHSwNvfO0oHik5ZpKyAFd5m/ERR331kwt2BAU4LgvbPnczpQs0472OXUlaSSrgXQo3N8C5hFD67n8UbQ8hbeXt/MO1a2h/ziiCx/nAO2pufPofv6XtDZ7+QQJsjZXlBIaj6DBGWKH6jZmpM+CNbeEEpaUbonZ6165k4zpajB/L/lhxit8qWhDbfBsRiZzORAxtFRlmfPdLBHNjFNLESmLHcRyV9zretEliJHEq5Zro75zeyfBXyb20dJtP60YRWWsa0GeYJlT3q2ZByctn10rjoAAxJrnoahmK2c3wAMHooL+Q7sA5IaQN7tgUBVPAvEoN9nNy+1igp8Q/gVqVCk5AyFY6AEK9uvcqvA2G6GJKHJHI7ORaBwDBRmWstuvNfFqhKy4A/JMk8NVeEUFVyZqH/l4Gh7BDztB9AKuSyNs71cQkMJTjlL0N/o4mpm/mb4DHOWAe5sGbTJ+pnDUmpOg0aTfBYB2hiFX3e+nECO7+nw9G8kYdl5x5c3RLjBNJZOCdVQ9Qg5LXvdAxEq8xUJn4gGna/wDQP4tX0gxqFiWw3+g6mT9G063JOk/4xFjlcDtULaWS2NDTrkYubj06TE9bVqtgpGCGFz+hYMxCldXpGRrmJWb/jzRIZx13jQPrb6rWQBOOCduCkOZ2OzERuZZ2h6jcuqmWNHjja3Cymv4GRD1msAxSwQjlBDmSDK0FiAhdRyjbctTfmv/M+qQtaEFD2skO8jEPp75z7zFLNCLp3cy4G19+WZkbzoj6lqTIePRgik89741fsP8eFDdyuNLnvn8rqo+SPtkgR42iFcOV2oDEbfxj+iQsNb2OJB4mEM3JIj16WBAuUgHy7v8b/2tQum/fcFPf517/+tw6o5oP0A+0EWDHW0JX95W/JtTaZ7DradtT7gubTSssnzeMeTnR5x6Cme4de97Y4Te2RWdPuW6g9rgg7brirfsv+7Yt/AN9zvqPUEWOHC47KIFXst59rEIQTf/sA7bj64NODNhiCyENrX70fin6IWyxEB50DAQ5rmx8dHUdXxJpuxWiztBuSPAM53kOkiYup1Z0I+8N9Q0BZyDqFncRWo5sClirEXLWgNg9uGfao4MWQDx7T99Z61SqJhoNtWMdseAHgw9CQczI6HHS31Cpu2TMA6ZbYpkHDpqR8yH8+5Sbnrum8TfFThMI7EQyT+H/lDBB7lUUHIniPNm8qlNspXEi2dW42Woll9bVvlCC2oNjjCzyKd24YzmIUul09GPiitlehbV9/lB1m3jk29vPI3YmO60vcCFyGwBaxg67UOblPzCEtWne5YTIk7hkAam5VGitzwefZHqK+X2OvlVIgcrTpJiOdoSckiBMdLhrNt77+zPQDsGs+GEpEzcEut8flGqKDfXlwjKiYo+xhuOUaVSqf4riRXybqohmjZDxbAZqGAWieNa21KM+5OFjfkLDclZIMGiDGxpknhelkjxesqzMiui9B6Iyu+DTLo7yNsDtFxjMvcjXYqdY2xRSnJ7MH2PG7dXqWKsrBfNWXw9H6PaL72CyfQwDqV5xyscLhxz/vRH3oHbquPgGy2beaDKu77lAlzAR7QtyY36N/jOxH98w5lcXzc0KZA+yoV6oSWVlkEuqbojYfQJRHk/grYXarUO9nj5cNJcm3Z1tdLEeehLEQW3gUElZBF2fkLNFa0IQfOx4AHhhGFf4cNE/zGsz/ZvhQE7FJlINM/8YaDG5dOS9rnnIuvyhuBzAVB4EjZyW1bRI1hmCYrys+k257DBwWfAf8RjnHlA4eA0q3lF3qi4rRRvhWvpIjmaWoQRCXVOMdoqgMqLToOaUmg6k34PDuiMUHvhtB/RIlHGRG7uodYtBti2Xsa640f9fzeN+t87chFd8fFQahEKjsDhn/aLVwd8MBdeJVoSy5zEWMwe6Mx1+BhJEZ3CmblIueCv+HVxuir5+PH484E6GJbDNZ9utpTecNbPA63/im96GemLgcJ0lNmyJ0/GUi//ngGr9mSse5FaAVGtWccVaWTOC9R4N5bChscNZspBSRgytUCVaH1vRzkwGL3ALX/6l1tk6QRLl0mtlZz+UVTUKlMymI7EcQPeEf4KoNvm+so9vNoLJnkLa9OnOH6Q+94g7kOoKr4lZAmqXg0PBbmX8B7elgIz8Ge8Rq0n8xyj4dzBpMN1BVacKzEKGa8Kcig0kTU9WCXpTAGkXSmZrOXeU0DuNO2fMwKFl8FqSN1YFTlUJG82WdPDbvxbZWOb56WycuUojZvPFOH35qJnbOzQfl1vhbeCXN+S1TTZCpo/V7DeN8jn9k9REISBVhPcF8Sm86OmF47bokujmB5hzDzT6TgHUdlkh7hdXNqCOcQIgc7daIdc5L/+uEOnPI0II9r5UL4cE06A++y9ULIqVSazuYpbEQMMOxpE6j2szAGRVB3iCrap3vl+o2OT6qTY95UnKNx5ZLncb60KmwqxsNPSozm+UkUzQH9mz2944tUGiynAteSIxd8bFmHNz5/NEvcAY7a3yJHDwlQ2tCwQbT7r3vupAzQBMTUnohBfN8nsjntNDDnDT8pSmdkWji1QBfmCCO1xJloVeUdSjIIeskFC+WQcdChieEio6M/j0vFcd4tqk0fuY5smf74DZML8fePTIhzwxjIhoFPr3VYJYSzTT+QmQcC7ZecRKPOAxvcp1+rjVOWB8fyIZhwEb1VUqCVJw4hJq61GKoOTstbfnY9fTe+2FOXI0JtlEQrT9cPNZ6X9KpulxdBiYkTwg09sPZRACTpaZUhzE3DCJ1kH29lsm1C+Tl8FgM8wBRHpS/E/0jId3V5pu6rSDX9B7uvxIC7f3TKpSpiO1m5jDVLxfo4hfjsuGBmP9AuxRaBToyuN6miwziwPmfLgiUvzFTYO2C3yWB1PtYrPZAMiGxOHXCiCO3aPTl16zEp4Bx5oucmWIWimfl3AFMnGc90DXRwq0sZGIgA7lWddZFa2w2Lkb6HHKhGo1ix8jr1MUSPAVEDTwnjwcVIK6sk3XhCecxn2qf+vejkisN4TjKrACtOpWsOZDFGe+i21dYjrQ5Ae7s7csrNlWtG0zsCAfw2GWbwPEru1SLaN5v8RBJ+TFAn8w9v4MQZOkl4A0+Yc8KTzbf3Sj4qnPlR1YRjJdQKB+6MiKswWHK6EMR6BSP6Nn2HuG+6ROm+4z0njl8Pc8UUGELUYeTRFOXEmGBHCEUIx449h93LBjRMjNWalRZPmrRq4Lvn0H29lb9DBJ4hSj39jZNBypGatmB0zT3JHk6DBtUS4ZuT6BI6+SRrQZcgXQuIIsHhgEnSwUpFVCMFC35PcDs+jKRz9mluVVg6Mj3JToQv6C2cgO/E5VTJJfMVp1AaE45L9JS4mSelBJ5X2NiBUE7VbxVYTTvDivTVW/AwZ6YJzEFFrB43siX9juOhNmmd2feEpk/U3Pi9ASEskjjqb6ngtXIqUREUo1/45v5X31rJLU6pqRb/2knztOKV0OJBLUX85YEIuS0BCWxZuGlqFO0uNoCD3VthjPgwxxDBkAGjdYTPm0gZT4T00BsLaL3eP7Tvjul5wU3L0INA7yrAxPwB5S5eaU+BqUVuUWdLR+P2NsuLNGziWhJmSfpcKOnmGBEskLebxBIiDVxMx1Y0793eUbs8ALIPlspMi4qK06hdQTII7QZpijoc7eOB52gDR8pDWJoWG9gHEtWXebgdiJK0xcX7Zuv8qLwmuMfgZnPODDm5M2CvtgEUZv3bIcs47Jjr3r47c2rUwBSq0TpJ2zJmbaXogj4g8crNjX5oOk3181Lyd0VZ2z4zTWDoF6ouZYEDQHnYNez+sJNzCYYVVrwcABCETuuBqaR0DsDgOaIFq55llip/OHTyTXUdh1wb6zc8s4aAEyfYiszVWwarYQnEDdEemfqD2TM9wnYZy3qLvioqG+SFYYPMHykpWji+2V2n5/K2EWpjECENpagHqa+EAtAGhEM0D29FR8gr/pD0omEommYsxHMdYzYYYaP4aWd0avoatv/8L6cLuRmKfXRUyEXJ6lMH85Oc6XoiZvWuz+gdVhsdjirr0Ba1w5gOAH8SvQPz3RonHF3whsfGTW/grkM7X1iRQt6uT9CufoyVRZ4akbqS09F6BjFll26sMq5XBvQGZUDjzoNaMXdCkvMuAw6IEwGUqqGTb06M3NPfgASHQcT1OQc8tZ5fF0XMZXy5zrINnsfDsFz2L2cRJKb1FC/7I2SN+PddqPIuxkKDCZPWz60uP7JPLVCmkXwexTYze06uOvHhhdfzOx4kdzeDRe9Q40S8wcGkSFXsUZoI9L6GXxyC/hy2hmc2ZAMF5p29mjb2mI5MACvAKAHaCruI+hcEdrCd7Dtf1xHHFHcfDVNfM+WoHAcLwBSwZxB5i9LreABwoZEcotp4AD2Yx7776NgQ/QuZVLd6tPe1o5T7+LQVyir/hsK3tLLBGqgQaKLdZrRgUmbMmLCAekFyAXobT3dJLehsjaENJVN7+0LhiZM7vt66fAOsaP1iypL6xi1t4q2iPbcluSHsxDY4+OYZF3H+DevfA5c1BbZdAhZTtL8ouwCUxVqPV7yw8ZhxX+kmBDA2NC5sxFiT1EFeMrLNUX//wt0o/U20NGMTQf0NbRllDzEaKEzXIO5Oqpc6gFd7FbB58JMQ95aVNez8lJ16c1vdTSluiMWKSmYWAoGuSF9WOaLOCXEZGrPf0KbTVdihxE1RPlnv9wTUAFO3weaBUvvJ9x0IE5oqbUgCHOVFnf8kwHW3T+z23ldvdJVVeTDhf1P27m0FiE0n98XgzNrp2Wfw8W+gixUmzidzAqdov+vaANWFkW29VnwtO0i+U6H6seegCEMeFXGEqVdK6ByRpQJrlEtBfPily9cp8nVtBylRCuT0r0xsODnXs+4GKTzgnaeS6fUOqnUsOHdxHnUL26FnZ9T0ZgCOiTvwdSt4heT1Op4D0/+Pg7EGnIXRTbGxe7phbtQ7Y//1GlooGsWyYFYhsDT/5MphBsX8qHOgCy2ucvgrgiBU20skU5aorL68+O7Y1KjkEo3OGaj89A9kmmKpAs6RXENi+dSZMs1kPNtWLsaqmpoazm88ksvQoqqzuElgEHDJ1vWoyuPdrEBTnY+u8NQfn9MzvoGzQX4h9pMQhlbxGB0RrxNyKdZW0wdUTivXI+jtoZWBoBaRxQL4rac0GTV5zs1iNkWlch4t8NTF13nzvT8/Ut6gqmiBsf7F2aIMuekqYf/OVHuLKUQFE7lFIotAysfQlx/Cq2SBeCMql42wupGRc+yLSNrWHN0kkThy2qtkrFg/813M/BUtIZ1rBC5i6GbJ9uJ93KIvlKTueYbcp1x0aUqtNzi/5ryU6LNy8K+fksH+VLlX9keAECnW9id/9oOpSpXBjRTdsCNXRqFxpbuW1pPazEzME7j2WvOYhlgF+ABQd9lZUt769yESJEOYQw0mdPn+NUH9URoFt4sNlYeeBUVMzZOzm7Ztu7jp8Fo7gLZYuzyxrZD7vVxp+B29hU5Swk6gBTw0zVkU98mxWLAotWjQd+Sl1Y8qTvVe8wwzgbK6rVzbFYCKu1azDjpMeKdidKlw04fBIXr/ywKJhFG14o+p1xDi60ME/tFpUA5hLTYwjIVMcJG7ZSBnRP2JmyqK8iZ3ijGuQ8J2rL+5v3dsjQPUl0UoLPcP0MDqpil3Fu0niAcLhjTiqjvP3tZSz3YLXn/TwCPOxIGN0fTxjF731bn6f8gIppBbQzloRf7Jz7w4jlJXjuyWZpA0vVxMSMGarp321dsvc7tJO1j5X8RwKH8oibmHA7240kBp1WkyVd/jmZBsUJ8sOhFXuTdlwKR0Lxzn5kSAQxvbCZ4x6jG0ZSHqQ4w6FdIpydDlPuvDxPAiJNfBD0FRSoWrTtQibbQmlouNtN8CTxDFUoRTGVT7xs5rMbi6usDEtfpBBoGXAUVRwb5w1ZB7l1vF1dwO21dO5syl4tZ9XQKIm8fhu7BliGogAW+G7DkkQQLbQHaeOQD9rf88tF3nclTPxwTYWgO1GPYLzZGQJHvwXq/1cTzZkApa5+/8sC/ZD/lE7yjiWAGVKCsdTOZae579/lpA626OKlcRPVrD89660wFqpBuvpDHAIFvt8t+uhfYjjyWflg1Iaa3OVFTA2s3jxWi+Qf/iuVeBE5/aR02TJLL7uNl4n/31+TumHug6zOMMSyR0ou1ocmkkyiZc3XY2XOmV+N3/xoBm+QylHGEAl1d8oqvnI1xHkcm/cNqKRhNu37nUvBqIxmPPeLgXfUzL6k8I8rGcHwRHNBOykmUKcO6/SH24TF4M+0E9lbUBr32z+BXN5dcEiSnw1Gj9ULnJzp/ypKJ/G+E3U4ep602czQGw02o92WUbGhEg7HRvOAjDIOW9AcCtGndZsX2SyKCvSbmwhsL5MhYVWcpz+ohXm+J46ILOb55cB8Y+NxxJmcoq0GIxpr465yjGcCE9BJOlWRpU6VHpkA12AeQY6yL3CWzz4vc9wRe3LDOwMGmMY6MQ9wue5rcv98TY9bOylEQJfGTp9HauNh9CnR71Dax7u304MzrQKNW1+oksgBdQ9wqNKy2T5fZIcS0qYnrdXuIpPBMB32CesyofN2sQt+zHo/waPPxA1Dltx4O9fwKuSEJsn1OW0FsjKXj26dFU7HUyxr+4krIcPKCU0FQQJQVwmFMkzVEO57lp1rUcE9TcuaaaBTnYQvNrsiuUnfdKc28tgITb1f5w1yP12bz3m/Y2sMwgS+COsGtscTqejsi/VKBAjnRrvNpiqRQezh33JlUBbwzrnFBAlwaDa1QL1nRDzyCrzJ5JoiVRb2NA6aBdUCP9VvD538AovtRcHin7/5/ijSiKCH6ef1plCGHYCZuWvFIZOD3vc6XwqpWwEuobiZqVC3ScS2LltkVrO2q9gYt2biryPjDenkK/3z7O6R3oy0tiqSR56PIBsIeMRVl4kdiOU2ksqEwWLnKfHNOahHr6p+x0Fgfvy6n9QTanO7oIOms1gdM+94F0R+/suaNYwICuYUImzGm7Ds/GQLqhr/LIoY/7OzBXwgdOxrpjhz7FFx68AMGVikePGrNoNOwtlI6zRATQZK9vsYFSaoPbvFuGJgKTDNCeWWNnBsGzewkMeX8nbyFNIyLWKD+a+BsZgYcOtJ7rlpTEeL2mnhzZaafCSdLiNnbrzDVkl0Wbqi+Yajwua63SKccCNpkgcSX6wn2wLLGdQ2taCcBElaSkJBwmHWNKrYs3cyndBI8RJcfcqo7kg7K72NrYzBavWB8qwDmLorJEDq2SGQ8kEvjD2xCqftHl/z6W3uYCL5vEvqG62PTAukDdB0RfpZlHpFvr1CY0NeK83Abry/zwdSEV1HEUyddbGqnyQD5XLY5VmUvMli9hBH1AcLu9dXcifZGpVkNXOu+L6eeriRBEh9W3c8vlYfJDH8wJ/Z8KPGacVep06liudyJ2AYT92ylHbw/af+GZ2Rn6ankKqZ0MnJvQalnm7L/5PL3K/tMBVYkpJbD7pt0tOUAoovX8fn9VDE71GWoJMwLHTOzLOpBA5FqRUwufxO4C/ZuPVuQimH6XQdEHwf5p8JqIQq5eeiVdIBGtBFiFQ80nkaOSrZR55NcyTVDsnpMxOzt5hse+YIpZbvS5XyXjC6zwBrgDnyko6UNoBWNzBLbT9EcVjk++zl06x+5Dh/CySWxq9hrqELCH1+TQqU4JLIm4I/4U8u0Y8fTre5l1/zP9anZnSXJ4pRr+tmMBQq29fF68kQhDL2std3AGLFNE31Sh69ksgcBnB5AT5dDRZJD70akXacV2WH/nipATHxSISEt04YSrPAg7vovfGl2qnQnCrvqlzaZ2I+XikC1UbqDuvS7UCQ1NzOz4fJFI+hq6bgH6GoyjrtxR6F3jDRk/GbBGbbMMVZ3nEGI5JgZSIEPwsiyD47UNWZi0s8sl9Hjhy8q3MMt4jqGyeRGWcjel7ChsJ0mebZa6vgUSZODYV6tzbHCMYhyqBE87SScUDkxHMPefkXB7ZjKif2QNYE+AelI7oP3pSt2d2ZUahWsRr9Ij0Fm0YHsF2Odsbik/jOzub2Ky51D5nxdMg7WTjsKwBcK5HHQDi0/KWiTQmfF8BP1GVrUyNszWEdvSeOrUxIIlSJ+Fq5U26ClHHjhVpSUa0lt7gylncIHs+A6N6/WCLr4e9nQRjmIXZEvXJ/WhKjnGXoPYOjrrA972hDRs95DolT1n2kBedI17IBLZJAlArkeS0Me9YecGtEnPHdwybgKjd09lQBZaiA7c++UX972YLh4Vt04fWpRCCFFAyiBu31BsXNHTZXZzxgHa4VKfsPcND2VRDZ5hXOou+LtDbYCweajz8Tu874TLNUnKrLXWA+4Le9MrhXRzH0T8USDHshNsiCq9IHDecQfxYg1R/W1oe7xfogoLgNO/XbsCV+uFELvSOFejcd6KX/+Bgtd6Afd4L8idsxSx2AnB9/kzcSieI5hzsITlP4PIwGMlss4R51JFBZxZ2ajeWqoYi3k0yLDB/sbbyK/gVZWlRnXioUa+PjjIvyzrvjaTAc1y/c4goDwQ1Rz2zp3SXn6DsKcVyqja3lMfJz1p/96bXVnIdmv3u3Ecl5Q7Pj5NZP4NKzQAshM8q1uWlbxyEMVE3g+KBngh8OBZNxR6/fSX1mkogJG+ixS5A47NeIxnrsrw+1rSEqxyupWnGzIfdJBIAGyTkYf0PtB4weZcrlsplHbdUnbrbVBFF11aG1hH9w41lfO9gsWUFtnAsOV9qwwcbjZ2nf1qNaGcWPWX3p0YZCdlxV+DSdEN4At4NhBOToiJTKnTEJb4vkJBzqNA1FiYT7YFBHWgekTz+KEHMUpFCBPuGAqbB+Ao2nOlXWzGrUrSSsKviP5ka7C0pxnQKifzb9sZ1WCI/EJkzMr8NKiLy1/3bUB0riyfur7CP97RKmjhJDZ/Es4csbDlpWZWj1QJitQvMYpu9lIzPhAiZRRslAA8yqeiq74H+YwSLaGw3UVg7zYCQow1vhtAQggvbUXnrB4BUenhn1r3xuOgcK1GcWGu2dLokl1h6l5inNOA5fDhTWFXMDa6MFz79GniAMf2dsgNk14EUZQCyNlSR7T4oQLGz/stCCkHaldvUKnkLBPK8LLdNq84Roeqmx3OOcNEqI3qpbILhzwiUVnDZyXSYn/Nc400Eq5DSa+CmE7/TrRmndVJP7n5KB4Jj0HlXlt294cBx/jkvpNrzmM1lQGvrmYCtw3eyW3JVKJ2LK90YJz5AN5HItp7BXVFdVU6WsP9aO9aB7RKjH0kLYmc3/Hi95A0qGd+A8GRJHlx3FNr3aPWTP7AVvudCsWASnmcgWuNFP7JRAQJQaVy7rp8cweqHDF1cJHbSgzzgheiKRVPGVCpdquFeSwUw/e+ugEo/DUnFIkMK6lfbox0SUNLguwfmHb7+YZUgkQ3Ek3G+C5lQDSo/9vkPboxGkprKVv3QXkR17kZDF/0u7MrP4xmYgfJiNr3wd24frpSq+1Rh7iviyXC+6xJCV7E5y9Whpi2dg03ytz6qE7lX+oEe8n+/sLRPupNHfucaw1ujAl7DQcQTpB2izra0CzgT5vgnjiA6Nzidck0YygIUoz4wVSCvgjVKTZ6jvofyJ/d51mwJPiJauYn3GcVBO/wUF+jGou2TOatFs7iSbhJdQ+ucsqc1Nae8glJ7DrB6Dsh0QwyjklAhRnJjPD0W0L2NsQrq0uRgwgyqhS5oj+/O/Tl9tFKN//fiRou/dB5ma4MMvtpML4v0HQG6OjikSlCst1WMpnjoElULKIhM870Tt3/7H8LDkR/GseOYUz9XQICLPAMJrDpKqdFD4kjDs3jzc7XNkXiucMNohPD/sDbx0S4u0z57r97iWLoFgoTowt/sZwGRITuUZriHmy2RxcyawpjMoEMca+mpryxMrYwDGMJYaZOpMVMsYwxPFcmGfWxkBok4sVSAs5kbFDJQOTbBeMLVkr2ZUQNaKXbIucChHsSWyKNlDUR76fAWVX2lnRioCP3XBM/1+XVZMlLQz3AM0fdVtJ5TeQcI06eO6azCtofCb78spDxP89Q2s/3L8G0JL9/v7LsNs7DKKHSDpwpHh7E9FG/Q8UWySNztlX4ARjMO6mRCu2z0WDD+gvMJrqiimH3T31zWLLq2RU56bydRhPKgrBO4N74T9S61yBp9NxguxZbDT8fMgaKuWRp0BN+nZk7e6exZoKoFGBFUn9ZcjDQ/ASl3Oo74g74pOh9G1bzbcseWWVm/e2o1N5vgdRwdoT3lxkb0LaTpVwTx8FOP3bxqRC1iZCPdN6ost4i1BjCmopOXB/vuiOShLFueQtz6waqC/vtukkFXsqBNEEi5r47/ayUwQAVzojaioD+VnUh4dowPLXjnnL6BUWoki/rEPZwNG9/jURb6+51GGawH28Wk5yJFK7YPJowYP0XFFj3OsUrkV6qLMQ/lSwqpDY3EsKSV9K9mPb0YUp1IG/xNcZE1OKvRviLu9+JwEuxHXdHH5VjX4NaIi1WimomEVjgQC1WpFomog+NSTnqeX4dmwcmwMtKxXXXECkgm0OIncbSBjHACzKNbgu5Z3/7qvyCk/PIz7ey0CpOTd/aFKiqycDMJ8nWHZS274jNDLnuIGqkLlwkZUCvtLvw77h2X0qiRIrJc3tgK2aPmqY69TxJmv/CjmIGwPjCmU2OrP0/FtD8XP0aHddILAbI+gI8UVwGILJ3bM9H/WOod4dQAUbAHVKfOAAAVwEG6Tl4Fpp148qVFgWNPz+GNierbSPXCNSNhDLeS8PVJ3nAqYFbN5ruGdX3uI+A0X08iPW7VlwNGOYYepGQgxkbnb12tRAeUpd8Ff6mmlZ3Qx3zXc0ZCsGW2sXzO1eiqyyJzxpmessIDPS+b8hBx7CWV6TYhFEnq+8TD+X0dA8tPLdVhInHpDdJYAICO2ic/Cd/GycOsK4aVAbDHo1ok2XuKgAi1TGaqEYYmpZAE6fb3vGF5zJOIicXsv0xDY9Yi8IkjQbaWpf4sLB58kL8beOz3viPzBAOQUlgPO47glpWNBjCdM2YjzYBKIzgHpHOR2Wf0pViPEgdbBNLerqYAWzduCi7kT4aBOz7rYCWWwh5mge249ArfTLVo74Nwys0h/8I8vRjbLD2lbQlcOA2fPZaVXvf1J6VtPvo376wIcWVkkE8XFJoWNGfAcAP4XRhCuaHcdLQk3qloGJ/mxn9SWbEqjOjOkKtPgptpfc5ZOAR8bP6rRGbrHp0Uz8hH6JoMFS12b3a6P+6qBRRgs0LStn3eoLlTXStiyOHR4l0GOxJ3SrJR4gXetYt4U3h3urtQI0+t+Pkon9hEdAQ10hrFrCXb7cj03Z5FbNdpnrevWrXDgbasy30="/>
  <p:tag name="MEKKOXMLTAGS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aW/l41UBuQgoKx5QErs0KZKw+FgaBiqeuZN2f32xkETb/xhyjMHgQWbdFB7WCGjpfKxOsvrIXn2xkbXgi5X8fBG0S/XP6UPaQ4mU2PZE1DxATNfo4jCN5pg0UYQJLQ6KI/TyjbW9WZIDhhEfQ4TrmNckhHlHIcr1AGQxUeJ+v4z2FUIDSz+L+u3oXpi5Fq01h9urlVg1k509CoilwNxLXvR4GMZFQbTVEzmtYPkzuWVy4OVlzv/q2IfmsjvS2gRNAyKnN1+n9dpbPHAQXExRc1rQJigL/Fil8rYiqSyKyCPnQTfyV0S8HM8DTAo0bj/Dip9AXSlip9qr98F/Rur4xfXw+9drio59q49CEn8brdlPi72WR8wT8KUw3unfiwCzcc9vJT8qInNivl/y0JTXAmuQxpIkHs/8v8HdUNNSjKbVipvMc6q+xHLUPap+6gY2ct/MHJemAIbjk5WY9/h9qHyFzu3gr+Va9atUC1HbP5c/OwtAlMiGV+fmtE+/5EpxM+H7pN6UA4Ij/XzQ9Ek/BNOGMSYgbdca/IUoGFZfib1FPqNc1ZszFtt2eJh3/GJBqsKOy1i/02ee1MECTvM+32QBX5IViwMyG8ER0us6m9SdClF206H5A1oP8jQ3lQCYStshIiqTa4i6FdXO1NiGpopmLlzwgywiZvF0/ffTdLcm0/zhNdhWK2wUtGUhaS/nknDHpBPJo+EDZ+31QeWixn7gyxujf166HJrDViyAgzDu5pZ+Y4AKoyFL5PRUhbmFaYRu4JKrSWjbRKdMuEHXypEvUDXqtfB0eBG6AORcEqjjekqALTY0xGvaFQ45ha86YqNKtTBwqm012f1cgURvBz7DDE2sVPdQpwkjFd8okj9asuQARjO237vcfOFj+5fYqb6uWRjDt4u13ApGFDWhfdebxmCBKI8Fb3CX8zzIibhEssJQIgS54jXt6k9uyYVhZOdgG7MZclYF8gV2sh0fMRDznVw4B6LfbD8dXexWFHa858Z7FYUT+4ma6iElTwHjUk9IwuIYnW/0CgZGRherOVIScC+x/CThmOSHTOOkc6LZTdY8wWYPhY5NCY9UNKzoRo7uIamhw/DHLO2/jiq39alFKUsiRM45ZjYAKB+kN/vvGABESgWZCCqUZyG4s9mSXnSbcVeANpVrYzzjIuwCDvMK5XMe1bho724j6fhHtn3g+HL2RnqPjI3f3NlrBXAmKQnW9rwwxMoGysrQwSw8p/Q+oqIr13n1TK3WVInEg3n54DtMJRQdrodyaAye4jK8eeNVuM6AiehYmhvZ/9fH5sSI0ZfRuu75wllTAqmHXuYJosVaPAL0ubLqZnox5eupOUEEkhwA47KEUBKB2K41vp+9wuAxen7s0c5BKNZ8vv/2F06UtOBzZ8ZcuF0CZ3xoeIFhRS7NZfYihd/8tyz0qR1obwUEpM54lwBRXkAiCYfmR3j6s0jTog8QOFxF24aBO6p3e6wGbybNFAUagXl/3kre0gLJ3AJutp9de/k5ovQz4XFO0WjD9YS5pMc+pr4LhnpJyb9KXMsqPnFfAbnqgGspLvIEvLcbHOTEmLYOBATg/7mxrBwLM6AgrOhFnXBNbiFVTliwB0JrGJK7Tq21n8WgsjcW8liqSyRQk8VhczyNTHCagFQIGukUw5cTAPaF5UBCvaNqHpf363S57KveWSwdBcwQeY5sAxfLWXRzZ6A5ouHZeFvsHxaTgYTQz1bKsnTOV2+P61y6FHKl00l8j84cSk6P3z+apdJRSzzj3JhFaZ1rHi5Or+VIxVQKG7H8NuWrWxg0mXcUhil9oIeNAzRXQ52LVzmfKvCImcLt6T4I1jK3ZcYODEazKN99oiLgb2U8oM2Y4mJdQZodQ1AcJYQkfl44HAyWSsuY4Iyx+tatn7bOaEOewo/7UPxh2srW3ti6hD5xVHUtEd01MHzwE2omumV3krN4Ee5rekNmKSdPiY756frDUioZg64uYEMEfV1kU63DNiJJfVmxu87Lc+mkilloVa4wvExUU+kity7bS1r64bnKLhUd8H0HDLHgjsHCUSXuwybwP+QN5MDgVZXnUc33rHbopRkwKRrxv2r1BKz1ba5imCu3q291bOg0nJ/eG0u0LXcM5iWBA69M5H9CHgQuQsTj8uFHrO/pSmV81oI7VmjmrdOSKI0kRyU+HdlCOh7BHu/zPB6JxEjNS4ObNhyPQmKcT3J5Z5M8ke22+9K+K2s5oIvF0AkgOBRiWAXtR4474IP4lP8IlVW/AjeP1ZnE8JQCidX+NA8fHhMQ7p6IEyQUlyYvMROW9coimH8L6UlOg3CeAn7RTMQbf1KN47NevHvopAuUGO56jGeApJoyU9VIPo+wqLXqryaGAoq+DqCRq5oeheZdnNYg47/4F/lIhxtxJf2losgZ0kz2bvmBtUP8nzGLP8oKIwJIUKnF6bDo9fvvQ0jDW0KgjdVQT/GJHGxz/F9AaNXM4MVK1G2vkl0sqq6+fkcXqpBM2OxTV4veEJUQ5tP6//cBp5iR0igQyAYfpKZGGQ1p8l6v3qD0KK5MVQ98TQTxiG93WLJYMZumV54ogoKoau80javcyU25Bandc1FyfDJc4t8UJ55Dp67EMmna77tO+VUbR6Z7szXkOiv02tzxXfSDhY9Vcp4eYLQXDudox3h+owW725AP78/70RrbcPxN74HBZA5mG696OfqbUuSe7F4GAfQFK/1wc4eNTCyE5CB5lIqwYEq15Cu1Jq2xQP4RtEK9gyNj3DxKojK2HaCDAaN182pbD14BZ2AT/A+QRkKjOq6GN5ro2OBVeXJGuEHrWVv0z1xj/0rJg7hdIE2FuvdOBEYtW7moFZ429suPJLFFEn+lXvqkVcyQNDLGO0i8O44L+hJwycvPwyxmwnmHgBONWu/iY22uLtrFvtSyiJhuCTOwglMbvG/p8F8BFrohIAGxLMSLumGb6LGX3g7K9fE0a/wFZJt9bA268v3k9BDAv6alVMSLxb4xbmWUPv/Y6y2crAPb34vMPNa6Lj6oTv0beGVvM9DpA7eObjJzWkBa/TkGVdBR2+O+9Pp0qbIK8bxn1y8dun+EXS1GsGY3ZXNtBH+0WxwMDxrxAsZCbR7jNcXH72JT4dAEWTWjFkW/SI3a7k3NXrOyKU5Gx0N+xN4qFxVGsX1h3HaH+RbxRxumS/IRPsSyLqX9tE6/idhurFxJA6PiGjtsl9bNuQRB8dkUePGpLMgWTRC7/ZXfJGtiizRuuFO5EqL4IydLqoI3z3shhmHlaVP6QKu481LiAtNDBWQjtYNC6ef6QTnDTYvQmQ9KOV1nhPJ0TLKVf6JjvYqRqyHiLg4VH1g02ghXaH0lBVA/9Tx+dUA6czoybjpW/TYhZ/lnz70aOJCGFTi2tC9TA5MgUGqvD6BPQ8+qhyBDI9BzUcwUue5E5xXI5wH+uDiINI/vxX0TgCA4y8CpvEc0BSuAn/aucfkVUYw16Q5HE4ibdRBXQ5ywY7GHPijSqXPVx8L9F1C3TwLGPT4gU+y+YffS6N4v0iN0xmrdw3tB7XBB2IRTu0GFSzKTcMnuPKutXixzApBxMbDCC0nPNpu2+l0Eq5lbGVQnH/dcxRmdpOP9/nT0hCtukXH2RWgOkuVgQLNUSziCuFQQL4uIHj01jCMaVNne09YXzRY0jk5MQ9AkQ5HWxBPgaKjDHjPs+1BgXT9y2e58RyUBpYOFVPpA/RzNpMk3xtjTgRqRy54bITmKlpb4Cj+LXbEGWXdfCP9dZr+fwwEtBel6KPed8H6cpuQHOR05G2GtbwXZThKmfDPZAU3y1woHdIlYDzJ09u3n+GbJUV5ol5n2TpUnZzMLUU7gcRjULO0tWj/k5Mhuttz5/LYXYribqof+R6sti9RAKAdKC896mj8bb3I413jqn02wOC2Q5uBVPG0iccU5SHDRr3k7jDue61rQR7ugMsN+TCfqPsLq30EcBSHct3ai0UtsbQXOaYqjbrb13XQPPdORZyNr+8kE0mat37xYvW1gOceWpwQnGVf9TG3arOX8P8B5d4ucurjbmJtvB3wZgFpuFOhSJ++YJ+TVqWGQKTgCIjqzRZqyU11foImhvg/TdOqOjBfiY5rZiqpQ45uwBGSb4uudVxSsgPhFx5T2tjwMNaEdtGVjdOzL52kl6HKL/ihW/3YJClJCnxgVU1tQywlGo0yNmABGu+wN0GBNkDez/61mZV9iNkqVupUbGztsL9lGfjYJNLCDah2oHHF7QNxlb/VzwzUSEM999eL9s3OkDUq09Cz5nox1sbl4rWDmYon/aFWJEpv/7SrZAac0IX+3nuDlAHt+yj3UwkkSUD/5L/rzdr8mogWs3LjLaLsGAQcBlNIu3BHiUm7AAX/o1cHCzzKPvFBYL88JUyZA1IZZfKiEZ8bDHasr/ASIraA4WcaNSiMGsgekhbSv+d2fsg8k85blFXqReTolCOdSEpyk8bmAaGMawkmdOSguGFc9EmVwJWsK4UsqG67ffNFXX9CcHDUBRBOX01E2n5ygh2KsBpdvP/Ywgfl49kQeVIcbWHQIFTjhlyH3ClfiYmDiLDdgUT/hBMcA4Xm20OF+gxJ1dcAthAM5Vcb0i3YQJuI0hux9jOZ7JKAYMnRc7fJTEzZgsoJniVUcfAF/1ocgI+6+wgzbW/Ad8MMDb8SYx5YmkhUB6LYQl6+4JhQLF2XoeaYNW/MpslT1ynRq71H94HYjFUTwXcP3JU5DrkgqEoTJARAZeJPbwsvVn8WjbdyLLPnjKwZz/NwSPKynG+hYNvzl/kkafp2y668Cj3xH6Ni5NULs55PAzFA2utVCd441FflI69msvWJmPbVENzt/LJ/Obhsg2tCxG+21LMIr2+YumuesRYUpmcF9/SleVbUomf10m80YnOeS+LofdjVfYTyEtRrB0Zbug0YD65I31NPKlYMwM57esV4RdKlPvx4OxZ+SPm6K2/SBr1IIjrfiMujFQ6fmZ7hX7jOyxAUUxAurl7oC/3hLndo6aus/l9Qm3mWIbJNr1YmGbobCewd0A/kfcbKkxIlWgtqeUtPNw8wkcowR1NhXzGw0xBHKwpc5RhDKICntsbwFqjMUsjzZOn4syz4ODbiVu6E0bMAmCMRydsbKJpOmmxCbQVcSV/5rHSNPXyEhWHDQ/W1+/DJYNxzeOjbfDMJkQZvcYW1L99ByrLS0r8mz2mNY2XIRT0gDhPmAIYdsH+X6eLzSPsZPHyHiPE5uae9ZJ2oZaDEX72IVaHp0+hq3uCJk+SZo+O8rABWVmLo0Ego9BvR5CzVI/PPeq3dVrIYF3cH6c1mhG19vCpcGzppF32ND0R1uRf5kDRFwT1rW4cQ8W3r+p66jZMwdkviHVwPJh6X+mkCw69JB+Y0bpt9Y8fMxpif5oP1N9OIhtBUVC7qqqa0WqMU3KWeuGlNS5DlIoYvWd3JW1pgc+gRssqcrVjxAdR3kd0zVSlDKUVbM0e3xAqwzoJftH7pNCF2i4cQjMDkUO3UnPeXOopF4Gx0Kd/YvnvVZBNPbFUEsiYei1s4K79ljah/41DdZmIOAnvjT8OL2W1hzK7JnQ4sp1fELg62Rs31y9lINH6SqEcQgGGUsTfya/wu+oO5jjPKEFL1sCji5TUyCuYL8AnJhNu+ICaa6PmHMsER2Vkdw+hQNKm+CwFUzxaSSqSPptPDTqjS9yNxaV88RQf6G02EdTfITChiuW9kqxE6t79Scbdsw9H12yLGpEut8wnPxqfmqtLNV8I4q+uNAXUR4kHmUwyxS0UgQOykxgnSE4561NW1kPZHRE7xJFhNAMEXiRp/h7Y0D0CHUhLFPT4b+0uWt1qJLXEfFuCw8f7oJJN5q2B5SnEBkCZY/ZSSlHyr8RldOTzItgqXQJr4quUC4V/mM2AGuBFCk9FhAa84aky8HPpa0xOULX3uLHbSM1Sz0AgMXvO9TH/14cIKK83bAR8tKDGxb9HWbVRuXfbFA+AM99fWDtv0fSXEfJn2URSL8Xd5cPYGKoB+PYjBxkxIle2qTxO4svwWVoh+L17VmXvdURYBEa32E+6GRo8hjch9AayBkzwDx45bx9Bhf7wlxJpfFOOWJ9U2aBooNxiyGKlky+ta7TNSMXWvUfbexItBLylbqtC3LFTc3CiAgZ060e1s0z2SXVjoc15IMTMZniyvZhws/FCIhalfnJB01HEAc1oMoY/KNd6KXnFyT+KTzW1ZkQiuNrIOlyJjvEoJxqt9Qu/cyPe5c4/5pZMZwZ3WRs9xt0FqQyiKXUmSGFxM6HYab6fod6dDbR8psJz2pbKPR3d8LAR6dKN80MVKnblxTX8ORAUZdjam7AGSq6Tdj1NnABcgGiDS9To8u+DxtuDz+nNpVjLYsPMXdHMLTkviitMQPiQFyaBUxiVjshpnjSX+XsiZYTaDUd/iHNqKE6J3XDUCRT5cIbyJRQrV97pONyCKenyzlBKocEwX5yIOUrJI7qzz0qmhnGXcOsKAdGWsNWVMujFEOLe1+nAAxjk+9dC1anIJGwy7wMHfqohdPgogleW8H9iMoKjMR0Muc+nT7If6Y7KMBvOxIFQ7/3ea+YmwiYpDcQzw/sKYWTnHp8bZA4u5Kv6lFdoT/60BUb3vyTxjAvgfohdcWzisgYGZ2Ao1xZ9+7yvO/OwWVb+hfrL5yKRwLAOuz0RP9VQw67uXY0drcxqbAm2wHbmLC7b9IfBNx2qdvreMIWTSWTivsefIDgmacZk45cGmazO0ZmwaE5FPEyQYnaPbiciMpWrnzsdYxUwGiCSqi+6JDEgm+h/wKICouWkzlCtlYk5lpYuzRD6xIbpAb4bnP4OZS2rbTCq/WGS9OaFF5bInn6KEmh2qgjIBRpWq+F8CSbl0pEbCmK5qBdEoE5TUTJFlRwotaQFv5SsprYJF9HF22a+e6ZRiRNwfdRrRyBTmPhv/ruYOSP0HzDLD44V5/h8SfWeysyWHEuoTpqaHcOUhc9/IZMFJoK26+/SE+BjH3XGU3kks+cQgXfmnpefwr2ft4Wenu+kAuzt2cF0yoiEm5wb5arPnCF5sT6yUb4d1/9wY7EsVYwaA7YPF7FooxOpo3jh1hJE8u3ovPEbm2eGum3ylDEWnHfi1OMaSl5uHHldrVeag15/7P75TjDp8WusNNZsetQqYoy5obBOyi1JZ/0rh9NHd9cyAGst2Czg1N9ua6K7v4V4Z+7FAKOVjpf/kUq4ijQ/seW6Vsrv9QRFz4W6JrGGcrFli0oB/wrU3p4zJoCc367RYSiYhZ6xNIKbcz1YB5u+QTSxahx0o6H5e9ToDyMN94OnoEQgxJPgIIOGdQfq5aMWuMSEEmplcfPD/UfMDuEjR34Cargt4/oNXmabTB1wVB0SA5xt2ujtqTUs3Q7GjLdMq+dnHH9JBtpXsiWnHRnYD5d6VXd3E2qapS8TS/UinuZ9nv3uy4WqvS7FTnIyG1B1Vxx6kJ2XJkMv8DZw8OaL9HcG4xp0abxTqsqtupyuYJgRKjc/8WOciWLyVqyhahr8wPokfPoFJWmGiPdli0Z8sAfcW2TJVeltGIGlhssGRbrf9OgwrsEMdhr2eRSERaNPNVK2YRwGpqzBAogBBAZS4z98E2/I34UM2zjkgadvTsSzJw+fKvt9/RSyeq8uWnXzyl0IModZdeUuAXHrqPC4OWbtDSZLOiSn1A1ZvKaes8bQ1SZJkz7X09Pso35pRC+r2wYq+WSj75pJUE7IbZ+1CRWRdtpLQ9Tp4hzDS73eV17hMajjmiZvBxfcqU0MqCMBcM6hqSRo+Gq4A1RbUaMdQeRdfKP189zPmpZI3qYAjadrAeoGcGpgeqRQcoYY1jd7VayfhKElohuVCHl8aQ9UnyjKjUjNpfOnDBRR1hG9WlSJemoVfDguC88cTQYPduS0FiQO/r7vl4Ya5gwnHIWQ5gkgJM7zQCfVPArj8feFEKu/q8l51k1DX9j+mIMw2slypo/RTPSilfz8eR8A27pD4lZDbX9PdGCzzAWciPZDOceKdfe6tl29ODIcuE2L55He/aZqtGg78sh6y3+M1PkWRfJyC1fP9ASRig+Jeiq0bEcnFmwNvgm/4AUy3InXeUObonNId7ktpqWauD3b4uewFYsmXyGn+1BRfm7bC7aauKcVHIJn1Tu88XbmW+8LbTK4e11LLRC1KIEjYDUBtoC5y82U9mGTuzLP6uLBAxp+woKO6DkkxFfY5g01pk+djr/reNY0UbkO6u2XqON43rnBO6KzYT86a3yWHSDeM7JPIey4kVWIIPRD3deanbtFwOOWEaiQrEW8DktVAz23Z5xfaw/4zAt2jkc2/9cLERCKUyJkCsnMG8e1rdpHJNCX/NjGz414vz4If1cjQYyoIV6vVOBatyEjk3hG7Ax8y1rqsJbW2mT2yh49BZYWMDSUrVOqP3s1ZUjeaaaUXPjkyS1NLS2IHm59tVlLrosVqttc0cCZVFdFNnlQgSEJXDqFyvp/9qCOho46nI409PiHksNUJ9MxYKtUMRtmMadP/zIRydRImkNBx7daXJySzV1UVt7RcqhGwWsyLBgagrgGfI6jjmrS7CyX2GY5q5Wrh0j1u6NzqfQfziC8jfkeMxQiXvabzaX5ELNQJDzw34jcbV+vdJiuXAg98D21fccH/P/vu5GW5QUw/S2M+JrFDC3WjCvcAoH9p+qHolQqWUh/Qov87uGIwoqYHeWkqIDR+rYOUR4PMoEQwyI93imBHgSeWVN0WzQVC0+MgFk/SSjuoULpi/4XqJzz6DwdVUeHUBSxwBieUJ09CShLFdppLDzxZpR+ufgtfgY/2Juhu05ugjYV8oxNo/B/muQG2cxiqnDKKlEkVGiGWfoFCsNnVVRO0TK/CO+tksEdHnjmHOsPEgq0TAd7+BjWSVfW1lo5Zo+gPsGx9lNxAW7Ss1DPyeoCp7e4WLVeriXt8VlRYVYeChTDm/t4jiTxQROh/tIRSj8bORc6j3HtgiZWe6m/rIQd+2RfGBUrgJGtnzqDjr02tjcjZNWxAit0QHBPMLbh8IxDhoWJtKyHJ/AVSzSZ9m0XjuAii2/s880P4dAKd5s8nmQQ7bQUVhMfaZQ6vrWfp5P0SFVFh4f3PrNCYfst8S4nwIUElsak9kb2n+PsrgoT5agpvsn0KzC8dcW1wBXgiclPauD0M8QRT593+8wbSqcj1MNrOzxDuTk9w1YviNCjmU9OYQURS4MgjhD7N1xM160ukeGbAfjs2mW4AkSHvFWHkqaDAj30y35o2v19hfJ7Biv5ykrzZpraYWPFNSQ31H9trwBGrcqjx7B4ww180ZE9Oew0B7gPi7tl6F+FQb9Ob5bCZbw8uHsD/PUPevqvV9dKGVP/dfsE0ZAyFttMiNdpkftl0sQuXll9NWgKsFfVGRX1DqqmiDKHiLdFg7flFpRXEOjYJi9oU5dm5QwaInJVortwzvZJ1mwvSw6fhQCcfFWYqK0kuz7fV7aPeeuZSYtiQFkfML4R33MWsBG26Tv3PXsLnNS/YWRr0yO04OJC1+27ZuL5D3EEIWCdqe8gnjUWAaO0KeE+su9DNj+zkTAvO7KiK7xGbl8bU9S/XkXWFzFw7cgU6QQxjHUYkOrY5RnD+JL23l27bX54Ab0JXq0vqDH+Yr00X8mZD2fbUraqs6C9HkJioRKgd1PkiXxsxB4oDrHhZdry54+5Zz3xRQOLa+fBbypWqq4UbxUr1+NsufU06JTT1cKyCQbTBU3X5roHLfMTaO6C+pmSrn+vsuLWyGURnYeZStWFu7TUneQkTeMLMDRMsmaIzzJ0DtOz4SOak+0/DjsafGTpB7NgwdqhjQoqKzRreK23YAF630DCt/CZM00droON1ETGWve5UYFbfLZidudDguh5qa5KcLeS/eiTKW2ZV5eKK0Zc1LA6u6RWwQgA0Y8xawuH97pST0TNqjheTkHsTMUEByqVP3k0MOElVkheJ54LUzisJCjs/wQKc/HBaX2W/aNJVVuLeDaS/Ulbuq8gClSLiRNsfIxICAEmRnjnZ/uTkEs7ggdvSAT0qaYygHNicIBhgyjfqS41EIOYV++fFxsnNbSgGoPPOFFIo+Dy1X6QgdANo8dHdV/HFT0nJD1FKcFQNEiZxvSsVoYX1qXTpqCt8uoYs4oyBB9UuUsaJ86JjXTrZZs978t/2FtdboaERCaUU6rKzk4PJwZ1gVQoNI98LDM5rPLpgV42fC1EnArCjxh66tUDV2T4HjbpG/omB/zu1OnX0fsvDtj2C8asT8uF2tm4h59HfNHy/3BCp4R495DNzDeT+d0GdKNJy4t0awjIbPYEXk+EGztLhFkQuQFwZ8h/UafeF+6Xu00yKSr0hP+J6qr7NQ6BtgHyQAjGEwpjA22bcshtlYGbPhnvO2TW90cm9DyOVVIQFdsfNNfjuuRalnB+m1JmGgmCXBw3SZw7thn0O1/THFNBzIgNIR5B6nxwSfMM5wzjPUErcRMnCb6i2Df7QAVpYFqF1EtgNFFs48VNha6+383SPiglOUFZ/jCObRmjCSxoIXdxyHgVLNWg1bpnxRt8XB3MP5iMgkM4vPk97AlWm+nHZWIHJDmN54xRhfbSxYqlvJuPy3klD+I+O+dQnWgFbmAUiDiEfYAHeDl0Ivr7RrSEt8OZSVNGNAynmIJ7kZsgQmXWHqHcn0SJl8Z9c++ohMrsBgFtHCsz0wJvQJXnLKNpek0OQs+AXVbefOFEgQFHvYVa4HXvN37xqhsUTp2Yj61BV8urIGbUpY6uqDJNCfRg83ns6nKSWcbUxDC1eL6HxHeYpvhtIbNOq6g0GIoQY3/y1B0kU+QmES3v0ZXwlfj257zQMb5M931SH+d6JZZuybHXcQmI7agq+RUH9xtzgZt8uSuvGge0QNNB2UUEtWcnEjKBKvSk1yKeUfzpnTTHxsG9hq74CiiCwg/NRsW1DEeUdJi7Je5MDUNqiwtFE8QhMDxBKZhJQk4kxgSuiJGr8aSd9RaVk4gVFDBxXLJphAKH3NhC6HPAN+h1P3Oeo/jHssqvqpcnWRWX3fczjJP0jGQFI1vYU1GxLiKpTbvu/EXgP4EwyT+FAgUBeuhgobWfhzm8bgnSsLQdfzH55D00/6D3ySKbfuweDUKZWuB+IyGIs33c550oPFwx9ylOBWQUJYCV+8jmavId/av4QN/BRovcuwshWCR3evRihvZaQqPZL/kYTRQbliuecuPt8wbRBe0FBt863wE2trWbr/MzXjxGNAp9sovvSSJB7xYAXPQs64BLKYP9LSFUmpIrPbys4PJH7/FCTA+0MkppHMTfQM0FCcRY2gnIrQmKcWwDDnngqeuU8K7NklvSoQflOMv2NbuIn75X0cUXv03P8zpNimhRNVimWl3GPJfD/hU1omvLJhMOSsU6nHFUIJpWoK+Glripy5MRSyRdxTl/TzksltTuL4KtKZaR62PiFCBweBNKnvs9+tvATAHCybzlsp1MvS69BiJgzMGcPA4APDh+l9df6XyLQBWRjUW/jfhtDaHRj1+7py1R0j/itejPm7TxjdCDW16KqIFfXQhJCuKHV4/mCiGttcGnRQzT0mma7CGGOdu4YmC6yos+1m22mBbbGHdKermnAo0UEDK8PjhHd1jfi1DOATeulQYTeDy5FsYtogFG3eBRFO7k2Wj5jnhyIjh+QrtggAnb6WqlLm4zihwZtzBEc+Ps3LCTMuFEGG8eOOIRMMN/HLkQtBPjANPS/QAPTc/dV7PY8Ih3jAWhDnK7jos5+alf/ndulKwP2/nThhOotEmLvZvHBmHF/0zNAuIkzlfYOO3LoiuOoWOo2pOnMkyQnmBnmfeUnapqdH1hfBA3yzo6E7+vYzRkuNrzl5Nx3H0X855Ux0h2p4nbC0zQHvlX/ZSARtLlfBp5TZ22EPYUEecIIrP9z64IVNLwsoet/GwfVw6Z144rfsjCNLE90pOxGP+xvNd0W9BhynTKSm74418Aj4jV5/RdVY/hKTfLKb1ikm/UGk88tmVWcjz9g5Qyr3Xe5HKtS+2xXitXZs3zt/P+FzdYQxFg4CPojA47nnYmkP2rHEOGwIQUdz8y9juyk792bI4pvjQ3D7bT9ToUkoLul2TOR4hhRA3OiMLv5+61WXJe7gFUmMzDTsV14jJRBFNwyKlR/SJf6uDa9sfAFC7RrNZGhBsbdqpHensEkDy90jVsjK3Pms2Bn1u0pc1uoD9JkdsQG9w7/SDBAxLAes8qu9EY8AzrxwdE9SLbhjQehyVDiPUWcvtGTZiVeMVDelPQ9/jiiNHG9JqnyDWGkp73gGo2Wy2c5iwqD3ZYx+2KoMEAxdPEqHjOQn4ExaKhlYm/3KeSdbC5JcbsxlTL01nP6pbzMEPVTm3Y0qK982RpIizb2zIy3q6ishcIHJHPqF1uSRJgYVnACLWSiMGVIAGaUp/QDDogvroWYXrqrVwm3F8eYy0a9AlUhjAkKWrGjieQm2tL6YNJdKQfeHHlBfBqZKwp5mIns0kZkdcpjprMC+h2yViita69feEpAJHA8ggdQJjhm/IDVozr5ItQshv7yZZaCbVB1ZZ5Xc5wBjElrlck5ARwgVTrNfLwC1M8Gy7h+OWLNoxLvcWLGm4HgAmORhUuz7YqVdWHkkFrihHx21IaxtbSZWGTx1OZ2JZ4XhX/vVWiYfSouVTzWdKNJ5248iTIQb2jiSwRX3LWBUW5VZsMzXU3qfoly4HlXRCPxdN9W9pauHXgbe7pv6hubQbefdsWBgrLFBFK53XJsbp7hiR7fMB8/gbfd6S73iwygixQdBwO/LQhYO3e7JjDuQJcykCymzFfggdXZ6LPsOqHrhxTW6pRWSqzxsEhzoC39kEh3xESnHhK5+xtPLD5Wy5rXO5LuqHWF/xEZGjxezcxa/SpfsvPlteGczE+/e32TIzdfcLPnljGknzR6hVSnsFvJZTEmNX7yKDYqY/e9BNFFcdNhi+jB3IOHHm9ii13Y5cZRQAQHQEMDUHfOgEMNWAW7CAsEmM8GItNqj6XFPNfLn73u10xXPXpH+i+30d764MjCuCgjoLfsTF4yK68a5Gz8T4earvYLP/b7ncGpqAfu+jNT7OwIz7tYwScRvNe/Ia7SDbpiwrpAW16fg3Ft63rJOIBnOXglhZi7Y0svaDQl6DMHaBxfOzUs5y83U+kdK98W9CbYxQ+3hnVwG8TxxfOxDEctJ863UiNf5T4eNlkmwPulxDoUzhyRQ8cvotavjVY2IAbCQE7/cb5FMiR72BhACEHI8u5d8wY72GPnOKkc8FlZ94BmKH2pAFZJ5zrLMXSSCUPgjbgOE+yvDIcGRcJPTzWbs1NeXOfNSw4tYVRfqXX0aBBDq6r+13Ke3ECxdHmhrMWhTUGlM/huVGM07QIOuE4yIzAxbitOMBGDSUO1pJkIfeGrtS8+ISFSyWfhXXqZl1yAAwXD9Tgmb1UtOKmgz0H6fY9JQmR/0xwzd2EzpoQWgBDR9VB96MdMyqCJaA/mnh0H9C//quW2vFtbaq3fdGvMuJYhZ0evJJvwqGDCk+iYqUgG5JpSr79fbu+HK2He2gKAP4jHI7hHW0zAlVPs0JyLaQmhqQvbWsou2pMKxhkHlpHola0p6SI0XcMBM5UWh+lOFWB02LobvKK0Y3h9+wb/ejGWIH2bNg/a6qRKSSOHddwgLjQFlWfH2BuuV4WiNIvAaT28X0CP++19GqROFQvrJJX9QLLyaSSnADpY+svNc1b5BMEthEA1kECNvYIG43UVUfMO51bTtGRlYt9WW5h8f9B2dv/1Xqi6j19nMbubLnp3CWpVytNhWbzKC0OoSoi2oJuPrj/iQzcoUhgpasTK6MLp7QxL6hYJ5jvdSL+rmgB2G+4dvwTSLYH7NsAEXhfa5vJSJgdD5Mb1qneRDZbJ3kvhOLr1hetRjbvPWGP3Rb2gZHN+3+lQR5pHDXE7ILma4ZdyRJmyBTmJ2lGlF34c3IpKSEdromiHgzaeIqlP7Oa8vZFkzxTtgraHkZwvNGI1JAvcnIrwMnZO5q7+aCAYbqD+EVLLYEJKsOppxo9wttJ1vgucvO2SfIOVF8Qf9GgEVS+U6j0QyhTTt+2EHJjwgEBRZH8cOf1ExtVxdjVpfOD1rwtrIMQeh4B3BzjPK6mltrpxNJpEif3RCom+WkD1hUCDPdYrISPEaA+b59U9govs/FWBIk/AdOWLv41SnaLn4uWFHH5plN/RlEVr6ZRAaNCPaQUTVFhok9QpNUCW4n2l0a8sjgT78U8wwcLthUFa3SL6yYyTFctKY1cpqQHldIyuBZLmRkykmKcu+cT6Cz7QO774zL8Fk3nNwJp9q+pK06gz+wLqoSetGATvbhiZ3qPWs376HomUHYBcuhcEWyn3c0f3XR/TZ2BW2DrrpLNf/Rm0x5w497FdSoZScAPgjvCo5P4WQKA95ZI/4I/hxf1a0IMbYq5qawzYGXHUPJPVoFDc5eSvNuK0TfbYXZdpoDgIXOnKvUXPj5MnPij4R52XC3QgTdhq9B+AodagmDEQo4jaFb0sg1ua+jKZC+/kxEaeiBKeDZdmCccoEvAOZ7SESwnH6tnsz2WyGw/qdiUFjNAu7eutTiQzuTjUx4wg7GngbPOvNBToOBWEbhHR2Mk/6H5SSbwMJkGNHmOXHBWWAJ8aVklHZKwKSdmDL0TBF5HW7uFxhQRPyLkarpeQWpEhO+HgRBNOyxxWhgWRKiX/AsE/1thU8qViVtqEk1eCUHUZxi+7aqBTwr4uPI7JBh5dpG+SYuo3MG5khZhpGrg6tzC2bDeuLeHUrNxUYFMibPKAWuSffTJZtxRC4v+h/kZrJX63fwrU/eRNFCPjv6U87pWJi33WVooPmg4btK78wbsOuG2D3SuKlHZ695xd/Uhq2rbXem/AUnvenAuWtI4pz1Qld3gtQNF3qYilJdoBC+h287aNMWIFxMOhwzP+5FvvKcOImRXWnEqETUUysBIFuvvEiV6bLIjnjcTG4PzLpVrCHnK9tZ6xtU4sUFpK+3rclT3ypNHQ87e/XUhAuJDLMhbRJvXO6dswBx76LsFJ3dNaHK/Vnp1jZPKrEXuPc7A+JasmrRX+Dp3VyjUpMEP16QIKMZsybjQd76N3ROuhgkO5takfSsETxbO06OazxM/rt7HeRx7dacdH/7O6SmDu4DqhIHMtCoLOYP0J1kQd9Upj4iHAH5DD+e0ZB8hqTwbk33rAhtIoUY42vRv0lk7noX25vd9ArfS2LToqmPc9J72gy6Ct4s1IPM3ZXisnoPD3lwYcWiBYqxHdck+WouSk/vSH9rrEq47tlO0QbMkRKCV0tMc/7nyS2g5NvgjXlE7cOxVW7COIx7iDlYPWeIGArKg5iCJbpKVkNaT168vSbrs4jAQwQC+W/p+IZ16LBRVTa/g2mjxxouvbFYKuMC1P2QE8XjTaimrgpCNwDQcPAxV0fyETVCf/DXsXyeKiofO9BSMgjhHz/90fMDKlFWByAwmyLHJvmfN9Qk5MCSWdPx1wLDj3LEH7KxrDObES5uHJXLQapWIm+iMUiEeWboE5sRZyyn1SZImCgC+eUdjE2kiqOxbPSXzh9zBcH5TLG3PU1jQMbxFF94RbvfKZuJBE54D/MErGA8m5KKjgW++i5wvrJxofFUbtAisv45qZuzsTHd7goMp6XMqg82FAvKO8jbSSpA2x5fsduoJwEgzAb2Z8yHqm56ZxPf/StiKpCAO0OjYDeILcDJ8ZYgkWndpZrMQGrwF/4qo4hP6gRHOH8ZxH2qF2WkUcHDn+rqkSfS4XNUcTnkYLhzg7Bm6gbh50g9SIQIFvor7O79JF3x04RFw91YeGFmVNi2F35fvzD2OVVsnq4naD2rw7bDsZ54RO9WR4vhp5JaU3+pcJ6cCdO4vxSmSgB1jFnKNkWiXhCM21rVJDRl1o3k3/uok2Vz8JhThoVh5SKlLgktesUQxNPszvcjbLmCuvNJdQuytlkKsipxAGIqAM0OL2U3vMlc5FJPbrTA6cMfZudZkien1h44rW9+4lWR3Pb1SVP3pN/SxPmsR2gPMa/Jed10ghqoep0RnYWymblF1hnBmX5Buoz+kqphv6kqm9ooBzezE1Dl8Hli+8C/9TIruV3OEF4IwcHjh+tNqoeJkWon/OyCyn3TotRdG5SWfPOb8DX0r4KDdTwnhFHyJleZAaZScOrYotHq5jBvaRFcs0gWkUp7fPnrzW4fOnckTkLrd59MLz+oyvfrHvSsUF/mUAcarhYCnQ3jMKjUAqvKm+sG8zlwuxilO9Te8Kqs4Nd8YSfXQzLe7mXBoCFXN3kWEzvGUwD6b8pOWo7OqGeohJioCOtWbDis7ztJUOsuoNrbuH8UcZdLGFF0pOpzJN2iq+5YTwEPx6jgZ5oNWSC7WctELm3Sw1hilR1srn+tjESS813RYjfOmvN3724os+dN8ERifSg30dXlKgnwygi/vawQMVkp5iiFvKZiNLwKcViUy3enYxSbvNf91vPE2lWd/MQS+2X8PK7bVb0GL1S06e5Q2jAaD09RRA/iQ/ni2PA/pF2bbyohJc7aMMMQZdfqcftkjSYisWYhieV0pHKC118HsfQW5x96wJrrl6EQaf7pcWVBtcV7KGG61EvqClluTU4YWReaypVMRDzWGA9/So2sl6C0FJFv1MTUeXYI71oyXOuemo4sxKe7NvUzxVJBkb9K0Cver7Oc9yKhCg64+x9epRmabxkls6rmizx5i6d8Wd3CUl9i55taYIV6N5DggUf9rE/gyPov1kenkBHTPCjIYqFW2nxMiw9HEohDjAa1k/5/g5M/oHw1VMiuVlerQPeLnwFeC0YGzbNEIjhUd9cFIaAJZraeQOe7d/ZetEpBr2tryMQKG2G6ZWBXNJElONnHAaN5z8mvv0QFz2rwJR+uIyeEHnz+NcvyKjG/nvRvfscdGXOhucb9YOuefgHZGeer7SH/xgRVK7pV/V+fcRJC19AzRA8mTWcpvthnFe5S1eGhS7p/OStaHS6SoJPy3N3FvKz4RR+G8eydRGLWvytIqYxsz9+6lxf9GdOktxunw3vV2EZpkD8FdqDOFe2v7VzRQfS0RBHEX1vudKkkaIMqZd1SAdrhGw28ajnwwFIhpOhW8+rLYZvcNoqXMMH90d10qoa65qC63Y6lC+1+12aOCjVDEQD+1gdCMWGpdgIxoFSkVTfBgtGptu8c/X45oC/P5dXHiZh9CFbnnd0WWWfPSQITP3yv6rGOmedXdKC1q8c1bbeflUFlkvXPS1edlELGZBJGNQ6z7+R3aFPncKkNPgAR9Xp6LepDsxq61GScQxLkEEPcXPAC7KMdZ8pDlWN2H+gkTcCGiFnRfTwP8soO/FMHBGdK4mXD/PmTOiHhAiVneP/nD8yWj2yWC6nHhBU17TyGoVb5a7XY+D2P/QyWQaio5EwaQq5NpT+/bHwEWljjGf2HWqxkLAvookidUdQIjDg02CRFHFVGUIu80wnSI9ixwHFu5sBitjqv6WjSNsFExSsGkVfRXVxQfdMKwIhFTjuo/fSf84CcVXWqoEMafQbKVoyYTdkg0xlmDWOR5nK3+cyRCnjTVQjMaLsGiw5i1pGBl4a2tm50tQgeC9DGWVdi/msUx2is3ZmyMBJm5Fqh510n3JTr79I2r06B3gpOgMnTD9t2D2liJjzo+a5T9V9L9vyTeYQW+qt0Ox7q/tvdHnLoL3RWDlu/yFIhd0OOav33gnQzVZAsyl0JojGys368q9+iM6gFTBVH07OPWfXcrBzPOheqhUk8+vizrxCZsEaTdqub3OjEBJG4OXNqGK27XA4bag/u2+J+NsCWQlJNL32WblMzQgYsFTb4cd8xkP5rlA8GFOJUNkBbVhQcom3eOFoXA2p+bzDOWdTEVrkktxUYFA+/xOJvV/M9qxa5NcFhcTH5s45U62oTtII/u9vTpGBOTKBDPfIX95I0nBWSI/cLSdhWLHb6OI444M21q8zhn7Qhi3nfMRtlVBd3U00QQOYpo/fq21dIJAjf38fssV8Zx1ADXs3iXfc4BJs/yEzrdF+/W3BbDegqGnNZa48LNlmRXDKm65vcEmv9gqbD0u+BZicwFWKjb5HKg84wQbzQuRlTkvTmscoCQm/YPR67Mkh8rocVsCgtWtiQLpcj1b7wcpdkmQtlFhUCAyrd7ga0fdGZPOVJOYeHFScy6VXUvrXFkn8EF970OSYApm6kif0IFNFCQXajQMxu1vpJCkOXH8D3fP2Q4LTN5QrcAw6Qw0EIrWILr19P1rXHFgLiWQ/r1LYXG2VWPVa0GrNZBAuMWOE+I7eDXA+W42BwaSg1GQ7sEmwaFFMQoX8cSCSQx2IhKnJhXtb5GmLAsidzlVRtwfZZNQv57V90b+khzK4kEuH12LFiFt8RWMDRtXcH85P5UfzzNDdz4h47hGFU6RpPtlvB9MGZMrBK7VALYjBVGqNGZB1mnbwdPrYqMIU1JwMwHQUA4XzXFHBL1EpGpiOO4m9IkqK2CFzJ97w1d8SfZR3meew1eRZrRl8pvwx9nDIPsDgwcAYaha/ZK60cKfoJXhRMYkZ4hpBXH4xRTkd6OSyfz+cFFXgdDUxGaedCLCiQ645d0aJesOvZ29NXOphuR8K8c0H/g0hydAhqmMI+zecsemtQX2qHKtssRC79MaWTq4qbaBFfgT3Wno1XW9iLRiQ/KZ5NCgXTLhiaGLcV9RcysH9XliUHl6mqQc5+BpFF7sHrbXu8M+A9RF6glO/uM/DU92F72mHGQEEBmLDeLW4zxYNPaYfB/hKWHfUy3vsx2qxOuI22+tHBrWpCRmopoq62gEuKzf4L+4rsWurmOq/9vU/gH0sIOHy4xukcJdIMkcWdi0I/t0DOVu8hz1ziXRa4RMocVUPe3lgsYHPxWmbtEoaUgZMIGhaQGaXypeJCD05yipDpwruq5tgBZFrHm3KSVHhAi9OajAF5/7JqIfmTxMOBEHeb+xPn1F5k3+GSqmz+h4UZC3O1UETW/UKImwZLH9SZYL0TrKwClkbEyOSRPRxCQUz+/tHdmf89pe3xhkMxYv+S44hfNNanx4465d3h8TDBUFiyyTogdL8XvBoRBQXHkzYuN0zCEClU33J8Xn4wh4hhSm+//OzYJRwlOfk3jtkSTXQIIyI8tEmqqvu2CpASB8DwvZj7GJ6Ac6HGNUKfdgEaDr39cg3lPb8Ah1JiPa84rW+xeqK+poZN+Rr+rlR5i4WIVPsWyBMbtHIpeC2ZcSpzpyi8y13XP/bnDIMFOyEkOAYqfqc1DYzJCHz27qd2xMuHydhH23NvmmpWlDzxDBTkE6bVF/kdvWvr6rWwehT2YNknBqyl7WOIhcaZVj6MTw2Hm0JbYrBiZl+0Viis9+gCDfoiZ+iJfLgpddsTrkeElCWJfDOiWaVSdcN5bjV9JRDaWX1wFOST6rc/paBAv8aufEl2ZsKF436zRU3PBHWsbsxzP0I5R5taHy1m7cjcED6CUGTC0h+4pxwPEn7LxHXnsEWWEBJWh78dDqHdBQwk3ma8lwg90/R6uR2ZIQk9xL+PXdi8u8RVNTBusdBZ+PTOzynt2xlN9+hrHYI98LIFkVV+HDWAA6UL4xbqYG6JljGxLFz5ItX9d4UTo5VEEWyzBPCHe6j7fOMSICHupAe6K9ARUfaMPiOVpkAWFn/YGitnCOZHOlt9MOln/Mp6FyKZ7AJJWNH+wFbmeXTUxsAvIDJjs3tcrwGU4TJYZA7LPUFXWzTnjNpYA2pC5strHCDAP6A9A3cTHEDxaTGQ+jLTeofxbqAT5boj4rOoujTKyLsJ2GYVE54RvlIZSq92n4HvZ/FzeA1XBxW73F0rkdZ8oRoaJeRtVGnGstgUP5DELGEm9E1I0nxmqngprzXClRHWuarFiApcHt2OivgTXf9+A16rIqysxVksRVlVbiOziT6+efnXnbqC/xlHaa6iIgqBqcuei5EO55jgAV3NJVC4Uws353ftoVpdV8idXanoHUsksjud2x2dknYXwHTuYePGvgNB/HJ84H2JoTRqz3FlE5j8Bh3uwYWanOuYQcyVBTxmd8o0bBWX6Av+0I2tjY7sYEPWSHQnfkilEjbyjGRh8+29elOgp7PObuojdWlkR64Gbd6n6Ty8/PWvj2hu5RjDIYKDqx/UA1jba1iHVTxB083BZweidnI2d46LrllOuwvaGRxw0qBynZu173JCds3OjPI04KThZ2QrBTeVrlk6mgiDEYMdM652PALu1X0BDwluJvR2VD8zvVwIJBW7t+Bz9lswxx9aj5nntWHWPuPDSctVHTzzVDflvuFMQVmDAWdSkEbEu/wabUoJ2aeV1dLvk44S69hnjcRdvqlp0LborJRXvaIIq7BArenPjNNyG//L/pG5oNEC0P/Jjnz6kLhwleDvU0LfHD4T45oSUXkkpaTf+vjbWgx+bVQpaXvmQ6SellIikm8tfKCko3jIy14Ym68t53MKx1LHpxc1tVX59d0r2iSJCCLF5zIabSiFldEZHhFebUlhhHyyDny3RKf8/dY5fP8DQuQvpPX6jHN/iw5Trk+uGeShMG0bvd8mIrt8WH2Y2LuIvab1iloPDeHxZERETn4V5oRfFBUgqXyPVTwdo5bGeXxkfr6IQ1/F1vy2LInr3zc0rDc2A3JS+89qFaSpKlR+4/1yI6zFZ6XENkepoq1LVzgQ9oJARrItcLK1Z87Gvlmn3IqvYOg59a9OuMXA8jF2Uhb+9Md2le07TRgXk4KW75bOdc/JmP6vCHpVVhsl/Pj4ArskYHndHXmRJjufMt8qLI7eWeBb1VcnFKwfasWhJ89r4Nw/R/AIqcBcz9pcx3KKzk6AOZI7cMrLV/DoD4kUGSJcBmVbzFcKLvfaEbos9OoSti0cI92vQqTQg75gr77TZQ5Utz92U8YGdfje4BWQOOIDHMlI61Bs8pY26d38MUNM1fNK4Z5f/gJ8n90npY6SEUkCJkiuZfG/d0SPHBFkwM6mndc0BoH9uAI4IYpQ22y07Wdd0SpeE8pAwjRyPNQQbxV115pEPZ+FFj9aLfCbvE7RXoyrsPcsUEND+SEjZ0zvRazwCgu5KVKG/226QgvF5fxF39GGYYkydXBy4z/Jj5m6eGJSwzrdRH/UX4hOLFeqrHmcOkvnsU3S7DICMQfq8CiL5QkJ7w5p2SNRjz9ZJG9Uw89IYGaB8AIaw01KJsYPZdrivvx54c7bx4OMAFUeA+YDSMHef/vvBcH5V9XDgnuXixkEVxNmZCGobXAhEudeM3T/82ES+ePmNRhEm1atu4q7/S2EBhN00kC4GZ+/I+jF4+y83z+jCH/9RI0dZ3Qxmj91PRcvlFNiRCOWn3Gho7TYYh3SI4/9RMPnAsQMmfu8qVdQGuwMaxsg2/JtvBRAOptQgA6gKZiwdyefLRqW9LxcGYbtlrue15kaU/4aoOlN0Ax9BVF2UkQE36xRuZy8wkN2t5Hw6SKrnyq5d5jIG1H0d9evWgb821ajQPVg/FO/vlWnjlCUshfqHi6uLMrzRqhwJtw4aNdk3hVYuPcBQef5Eo3wuhipJmS15cYJMTEz7KEIVfqd2WoAUsw2puGr6QBxoRxpRhYH3wF9MWfqzD0/K+xpKzu178HOnYumUl2i/93lV1cqUp2agWU8lBBT+qf+lf3QWLurymjy6HZCATeCEsVF/2Rf3y6tzIjZT3WpMHyiPvg4XJ7rRCtZ+9V59L4nMneMbZaYvbZOBfhVHwz2nv35Fa+TbzvghojqLciMUWW9E0XM/RnudAdthy61Em7jWapG4ifLg9KhzN8aWV7WAJtEZ9g4dN7jahIUb9dkr4WSuFLRf9pVCFL3K3I0SMgnAQKh76DQFJwD0bm5m23edwEpss+m/PgHGPPPrDXjr33rj2t+sqSrZMI6IMNPXqYfHS+JVhLimEcoxCfw84AAa1RverIWQZOxionjPxawvO9r6RYK696oEqXTmsFvYMVX0C4m21pm5cqqo692GzulJP37i5q/L6PWm2EFGiOK4FOjWTswND+le4egIvbfouCUIN6pIdnnSlO8e173Bof5a0cbhOM8ZCX6LLxEjq55PLl5wa5JB7RR3KzVsMIVoQ4N6GFC7K9lJtxLwc2+Bb4bNMnCT0nBpkgFXE6ZaxQ8l9yrV0Ui/E/bb3Pn1aQ8ygdYSgPLjz4Oa38ezMfd8FTdL0eerEd7c68kl8wt3jZ9zivCkDlczkkokggkq81jX++PinBzTso/lKngubqW8VgXgLfurYzUQ2bpgQK3Cdvn7I0uBZzxeXJ0RgxH7XnPgubXplOKmzDqOah2Yte+5mmKbbcRrTyv9DM0jZeKJ3yetxY1j1tRj6mrTrAxDM5uR9mMuvRdvJuGoY3bD9wa8qeA+HSP5FoHjR5z28x/dT8cC0U+mGr/GLYE6Pwt+B/k9LJVaB0BOmabBbJWN0G+z7G6lQzMEHK+MKsYwTSJ7IfHiL+0Ox3lh27Yf7olVV0PuEI86FptctOj5bk+oECZUrGUJtg7Olvn2tMNG01MB38YSd8s4L/fUzSFHsdSe5kuzPjCmM0u/924Eo4Bua+BGhijRMapo5y0WvG2fdslwcb2WVeCcFrFkh9Qye+FEkTPB5ivrgzF4mJvnjvpGumezWcQtITZ5dEnQAS7VIsbHhp6Rju5Ms1su4wnqO1s3qDQ99pegk6d8f6E7bIf9Q/RmWteQRcoZ40aCskYmwWYbA3mAaprKEt8tj5FN2vsgUCGdzWqSXETli4Q5gOT1ES3PmRV2929SqtrHmhLOJ4kpI+1c5WjtI+ngY6F/1ihY+XpMWmkQ6vcYJYi7f1lfy0UmLusH1tgjm1445UKc6QmnOeqW/wzV5vsuxd/SKHQfCvlawUaHjR2gZf+/ii1gl7rMIIIBWFK9esc5Yu3F9mm4HlNXM3UFmHDk83fe7tmm/Qu+uNa2xcEX/JHcTJypwBip8iWh6orl4j5wfqrtU4yj8baf4rxAOdGPGxAHnJqWHXuy2zexxy8oD5ueQICKZwkoWQrc80tPIY9FYF5nXVPUasEoRWaaCkmwmmFRAYX+QGvyLjFgRwBG0emT+mAxILcRfczAxGfoJt14FYBW5I5CLdOuLdGJMTBnuaGNF5NOniPsNaFko4PFsJmtd7ygXQFd1LVFpPb1J6QYcxQZl7RtqDm+JUGS7cK5C3v0RJn3CC97IWrGQBZI6OiyooNqVeJpeHgVKy20UHjxPmGpP4uVchboR2cWnNDJxpxzaJHRCYQEoDV9TxkU3Di223O5Dlf5OD3PsdNWqW1YeWaC7/I1Q0xf5bmW786H/64e5z5ohFStfsemp49TxpHOED0hJjU3XuF4L+kvsqRM6h5gQN9e4KCE9kiAHjTXHD85EJPH7ON89R8Ukxrs7WNoqPwuY5gylViRqCSnptj1Ey8pmNrXtF3bMPw5VAo+m7W9TYVmYzyzO9IqqphU1diKLF3Hzp6z75RRbHodLX/WNa1CK6UqKVZFGknqYwR0lzuXV+pVGeRgIA9MRhh//zoD0p0Q6PhbaZECIBE8xSVGCp1N7xXdIw24c/Kvil0+cpamaRHIyxqwQaCZ9sJTufiikGnKFaQvQdyX3q76mRe7Z/GHLYVBzpe+RVqFw6CdUiY5XeFDAN27v3N/+ML4tucKoEV2egJQy9+CRrftQpUe0lq+k/5QF2Xl0laosR2bbTrOmbVZO/NkyMEWHYLvnLr6bYnV5LvY5CJbpzBSNIfs0add87VliUEgntrtYT2aQ2AEu65QdrTAYYOLhUwDgHsxmfJ1cxw63Ub6H12RKQlMT22K/itX9BWoL07i28SWAwNvs7+bvnT4sq+D7DV/7mX2hP+9KiROfGm1yuhXu0fSyLLPHUqn0zmC7EqIdjuHb/G7/+5ADXigQSIPqZngMyIwxiMG3HxVAIOxD/sKMNyoIMezMtASlH/cqwUDbuuHVP7eSjqOoHVPmCUz2zzay1F3cKFWoSmsWaC+Ec6mRADAfMSR+cykhYwxXivp5UKiPijyx77g3gJMaHotRIrSfZc8Quum7llUKwSCMrM1faQOl1b5drfEtZeD4ZFom0BTOTcggwpKuU+HGepjDrlN7cHDlUCoJpJD5dBpRSj6PpRk8UyFrEioiYyTMUK57q89Z0Tl9kTuxiRoISYNe+n58kxe+QPxYbEaWwRge2iJ/8mMRK6PfyYwSKPUVIv8yrBTfJ0LL/MWbs6qpD0OZQa2SnjhLqIqcFltqLCCJIZh1wVUSWmJEZclMeB+mm4v99wK43n63T5/Ua4zVd/Njbg6vd4qAXObrt9D3GPUlYn0ATDND7voJJ+Xpf3v/SEpsBrklyWQr1oyA6wXREiwTNvx3JfioP7fUVO4TuABnzejREynaSsXl5KuT/i+zeC8Hm4BArFOvJijtn9aAbmRbb301pBTojIUyIqKFjWz4fo8iIiAzBGL5NDShVOa1dZqlt5GA2fCe3vrYkO2epWM9YIfwqqsF2olKeT/ZyuuufYcUM5fyAFXCeM9njlggW/9btmBEcl5kkFMRtsFvpUUQmI3dSWryhx0akTselxwKfwDIu3R71GUCg+5+oSpUTeiZEZn0xHh2rqD0guGKvFBLnjJCB/dZ03j54GHIpU/Ptwg5ZSXoARMzG6e5hADxSdHNpBHsHEu4H0ManmY4cLiwl8+hWITMqCh79u5ouXfb1uSGmf2wfEIY3HZdUKhI1LgM6tL2QTwBageS/G+CrveJps8MeqVJsppzXq0L9hL7K47Lz/rFTYYoRB/f4mwU75DLtZrWE1vfACtobW+fQznAq1SHypR+oMMYsGjKnFmFbsoZ13/g4yWi2HjpOyLRLR/AJj/KJsFXs9L9nNSxVNfDOMbiSKMlP1lSsv857hEt9y0GfY09sCrqhXG6iFIkMZc/jiTCyoe/1wYpPMIz36q+AW9z5ajkH9P6FcMPjZgyg5Dh2OdUBETyDs9E2AkPlZDcho9isvQOjzj3PLIrx+NyaYGJBfCWFvxlSwD0dHQZWIZE+nEBMyzYauqGAB715YG1PjdqgJtXyRW6B5lVu9mXF6GdJ6bwJRlaKqfK/dr0paiCeTXxNEo7f8xG0iyPlY2T+f0+7piYD6Ij7Kvv65F6sq23L4/PU3VTb7azA8/55N9ZWRXXtugnIu5mWIMHK66uwOl5fTJ/sZkO0aNcqCg/RwOajWA/yqEbkOEhSdSQorUsEqo69UUyhDHdgingCHD5Qm3nbXK/lYnqYNFkXrqFcCiJRlSmTs07Q1x2kQLMwNwSPyLD6tS2JAJyEYdhgUY/+undpkZRIKjcZQC7Acp+NMjjVzT+L8Oxiw6mFrD7culD09O2zCR0C1n6NuZfhs7nsiD7/Dy8Kn8PItCFS0Rk/VTmEhuWFlpYUz/yAZiTE7vLsTW2FNvBAu9Vn7qbYAuYXAIoNS0eegWfrXohtwwB3y0vFF17xJFrRmzQut14tiAx4YQt74K8vEVk95Pd8eRIyEV9/UIARTxclZyCJwcVLHQYPQgWqNrLkAAHJ7pnSuYe/f6uZ6hO7U6ZRDQ5Nw1rvwrGNZcbE1fyDjCSE5iiV6DXUVGeiXeojmhvLn0411kTOC+cinFX/edwKCfKptE9Nq6CZG/YlE1biOknZD/NLgEnM6GgN9lELXCJhMglaJ7mrRaB4E2hDWpGzyhuBUvRIr8M+/SxiwmHAaR5w8JzbUQOH06+7HoDdmnLrmtgJQbnbytKBaqLtQGCLk2P2LaHCY1fLCZB/IRgewpJXvYBK85ZilJGat7oOtlttr6nQG5x4WT6ionmlly/xwq8y9tXmLZlfqcnIWF3qUFRtNLo0JU/4nEepv+FMnw9d3mPKsYlRBGxqI409Q62ukzjC9IQVSZsSGJaICj+1Wd1sxuBc/2fSUhDK1njDweOgdiw1rhNBxBw2ByB1oomc21N0KlqzkeuM4VoxmGehNnNpugXIRd/5gwsoILVGu1kpoK6oNKsP84CwOXQemULGyXIkWbTqNuUyodqpSBX4QK7WGk18U947wJZRp83zKvs/EI68m7IV84OrZBmKEIu/yr9tOcJ0RYVy4uWqrenH88EzS6L48Cu0cNj56KxtvD4Mnq+Ub8//ncreNr/1DChHBxTDpk0Rsjs1We+/+D2fz2nVYlEJ7F4h9Wurhb3uR+7uGmuJgAzVtOy73ipGfah9hT1DFgEsGZktonsWkATCn0Ep8PX/QSPmXAFfEqSv3ELLicBMZ+lqKGxbQIKlNhuU8oSLn/IXGvU/fYSvmyyOVc67WxHkKJALIHvjdfH0L3bpeTsklfkHPbjfJfEat1xeY8U7wIqNSdeHdFQTXSPq+TGMdWxoUu8iKu6CW+KQoqmlwbO57pBGzR5ve9EteZ2pSg9j44O/+KEOpKkNqycQ5Vyrie7sLK42RvZCu6bgO2tPiGFCJbRdukUzwsgyDa6fmBPyGBQNlvd0p4dmEKl9JJAqexwqppz3rlzB9Q0W4EbvH9f4LNF6D6zZ5ULhXXhKf1iT9weqZSipRK4oXJLhdo2SySV6hh120AL4j0NJGR5capPCLxs1DSa6AIwR+e9Lnj/GBmXwsE4RhbLUkKuhkiG4bmfVTc6gwmD+O0KjRVkDGM2P9NQiytq8zHE6nkzbe1UALWvWN0gK1v31tJHBIyMIdQx6c+tC/G39yyGOtTfG+i6mEW2N7lQmRmcwkHVPrSkghpXACGzNBcdp4u5zS9rTJ1Kva/aOROe6nfeibcwH218zGYG5p/JrwA2HO1i+i4sCvDEseDUKQEIFdK/iizqkrwBPburptqRRY5WOrbBhKZuP/PqkLcOCMf9OBHeuxJHra3TH4Tq8MDRLY5RIwBhlGdZNZyTAUQGVaojSQDYECyUHrIhLxjjx0x/JIXbgYO7n1J3z55BnWoN2fDUVHFQEBFYlieUT5kLYhlejJYdR7TmkqWuf7TBSOSES/pj/y4Z6LswIhhe77qlV7S8SCvN/nKM0BoJAQdfRLTyi1VnE6MLdYalz5p/iTfSGqOjHXbn5dGW24sGE1qaEcR7AnPHAylQnyf9U6KA2IQQmmyUY+ybud81AGLMh61K4kBIWjQ4e7HYrBYeQfOJndrtbLa7onZncfHYg1nIb4WjEeHyIkICHvfx74zfOgiWhz3nO4MGIZK+XPXbmeihWlHJOsb0BPwkR9ZEtCMgsXYHmUDIwONS7pzkcNKonGYXlfibNhhfXeXUIpXNQsa8Uq1pG6EWCIWq+qkhXE4gHEG1tn81OIAbJyzpPGhHfxIy7ZkDC27GFZMwvsvC7+esB0bBuOovs6hGxWZUp/J7sDyZGi2vSNq83+h5FOKtK1F38jyAaMlUefbC89Zvg9QEpRcumR7EwzNJ00bM9wuGNlvw9uA7CRlooou07VSxBiu6esIFiUgLN0S+7lyFsOk/GVuyg5Ai90zV9dfoOGiUkCZ3INEs8TaPUzjAZ/Xjt3VKMlu27WJUpMVAcDRWs6lf8s+jNKgBUq4z0UGWxg+2V+Erq6Uv7FgO4cnM1/zTkOb/o1eVgW03Y4pi/sWhCeujjTv7gqbpP/eW1uWZq+xtf7tFZ84AkLSWm90j76DpsPQG34pI53XBP+k3P2u2z/giWdHz6/PgkG1gEaBD5s1aLjFtmDUBlmaPl6LUtnpHX7cbdZodZ+FWYpt0eVRfL3nfGcI27vnxWMzku6hlLCHdqGxn7TmQHQxVYHS5bDpYbuAzzoy4GhYCL6SvejMRgTfPP5a8ahebEz6jfjk9w63P/2gWMQqGPpVMHHz26YCLhY2QITgYCz+VC6A5GPoN8zAht0J8NkwXf0w6w6y5y2mPc4ZJz8d8gLDxYXg0o1EWf1K8BpY/on+wj7jRu4FPZpWN90jRy0QiaD6HotUSE/FgwzGGtTQp3yh669yrn/BrJ+kM58zguKSUqfKHsijUCATiW5+bMyBixLCNGMZK2K6XldWoyVozbpy6JclxdfvohWjrMLdXE9hQJyfsD1XKvrntFbS9oXrmcu+vVpzsp/PO2+wpFxDZcUM9rRDQbVi+TdUCuR6lcG2GwKrPF4g5axZjIPckcy1adz7gRr27DTgO+VHMZrb6+4GGn2uZPM0vzIx3uejhNUmldWuzwTU+2Gno856ze8YQANFIGE5YtVnkIulv6NLZZMToFVXsDfM5sSMD1tyeTQxqxmWh2EOn+7e2MXlkPb1JRF85t3/QoRNnwGNmPcLiHG/orbq0vJsliEMH8XV/4275OsqcQFzPXadnUboNCfLRnbXYRe0ATHOurRnU/CpKZ+WPknQfIGxujytE2i+MjKt/zEk9UptOXV7JTmrwgdcHPffo9KeNKFFs3W5GAPMMbiHgQUmJCz2aZMnzYo9iEMszZ/UwdjAuKzKEt7lNpRbyi13Jpwp0k7hy+vGuQJzGo0TUAimTy0MLyjBL6ZpLinKkoh4XXJ8iSrijICDXklewgfI2FeueKzFyj9RFUr2lDu6zM8T465AAXzRXEOAPQtjHu3A3gLv5QBpp89fbKUQOx9vYFQPuTYctpzLPV972N4a2M3cQJVCSp/kab+brL93nGuqMNxCNC/3DhQ+3R2neCg59bj27AfNoWDiCgAVQrEeSRCr8jAqk1js3P69iToGfF0Urdmze7TWqf8Q5ikoQc3HMJpaNG4iz9rM/HaOPR+PYe9S73RjSdl+JTlyqEaLyWFJytNuojq6GjIQwCy57J4t5IWRXUsMgKAIGeN6OuQFpKYHQHWSI2UgdnHrEpLmic/Gv+dNWvwRO7eKXmILaKok93Xxy4eJq2jnrRZKrsveoy3M6R00W+NNIgChtX6CJJ3HUf8gkJPTSa4QHIPzEE6ro9L2CqcNarqA/3tvPgicpWF5aPaFtIWVqgUBPclsMSIHZBHR+OivPh6niCmU9KKrTAfCahafHHHz8dfwjhVWgZY/Iya4rr9XAt8HOvuY/BlR/aKrrHfl6381RL2ToJvAUbiLJ1KjO7iAW5ThxmT7Mq5OeAyWaMdGuj3gJnmO3iqo7ClwAot00adRGdNqMInl74yiyIKM9PFV1fk9NWFsboGMmJBsIZ+pOW/78hONkMwlVBrKK0afsNwfJz/2yXOqlGk/tqtEpw6gk1LRcGCvtXrrjDlWoBnXIdm16DdEuG3bpjc6gHildncq8zeUCqbDMkPc4FNxqx+FKaorjTE8Kki9ivk4KHlM5n3J96tlva+uP/8a92A7PuNTKy77VEvnIBBk2B9GzvKsFv2d0m1g4X0CgCx2RLdACZvttqBKzR7weaOLR4gAYLKSjrNdwUQYMJT8XKyN8wWXvUkfEJ0gsT2wmOpCrX/SdEQTuZrefGgnHAfpumYHcaeq5mzSDOEm+l5P2hXfpwzYm804sbfTwMSWR0BWFWv1oP+8qKPEvkjp04dXU94j5I+im0lxxjW90tiYRtPIfnLrjQ5VuglwIw+IrVUtRDPdLdFZw1gqv/Onv5MJk5WyNeCsl4hF05p/ZCpw5zTDa4G9AkedPDKIsyc3YfkERhIlnVYTURrxpE/73gdwcYPR+JfKsWo9U4dhXlA2Notu6DpkGjmsdpIdz/cnawxekG0KAoXH0Y5VZSW158eAnBFawS1vWReJIvmj1NDmuumImfSC71ZqEyT2oc9+p/YcMo0ZUJL230UHij0l79DzZXCHiLVncidknA6z1EbIdOIH3Myw2+1HM/Z18rGrrh/nxFgr1HpjowUyGbx5dBB12yZV7vuGuVlQIDWWydPdnnl5zYwmtNdbm70E+xGFKHC7U6savuuzyZAwmtizj01RLlTVWrG0XAQolyZLLXn67ABt+gHMpXdOB41rRnLEGCsJ50DguSHJ0VuPm9x1Ww6t1ETYE9c9DgG8Xe2qitDfMGIZjJ/P1bmWDjUNO5bTtRIVIBKF0Mr2nguXOlx8yfSlwkAsn6xwOag7sT8wgPz8Pa3MgRAKKYreeQUsZEW4UkFWcG6D4VxeIEl8ltvj0favLQeCGmYwrXG8NbA8/VFDJdO46g2hznFpl1x1iyWWkrBuddvISW5hl03A0hT+c8kPiEE6ujHE1d15I7zo6zRwrPcBRNWj6iFJYRTti3AesRUc/qqUyhWTnvrD8BAAO6KVRbghM47HEODClnEhExqZEADA57EsIw+3pZA8x9+Z0eQAz+k8w3nmETHkbQG5esG5VF/YzFQHLBiaOJOVfxOSoddISFH5rsbjftJvd7wQ5O06m0vMtZaz1iSXk1a+HrCWjMkCssX9+8Usb7h5BJKdFGjvZ/xKWaCyy2KIxdGHRZmkYOx2fvhxn4MEtXo2X218VKTX1J5yWY1Wy6qyGNWD+ttKwIbtHQhi3IIqUMRSOhcujBHpwpBMaYxUmNWHVt85C+j0cwiy6cvL1s7ZEynKGU5WzjAfMHR+tygdqYrUmmSg2WkGmGX6TsYAcT/2USPoOVc1iKjwwS8eL2Nu70rGsOBeLmbisCvlb5Sv+ivZ30rh+m0e+oNaAmk7gOapfCmGyBFyZDXmNQp5/PDgIMusZyIeFJPFYcykwlrxU4dvYSAXyfOE/7CPXlt4nOo19YmepKCeX2e2gfwcKRI3CVkWc/3ov61RTODvc8jhQ5sWI3+cJzav+L/JK6KkqgJoPs+DaX9XuBNKRyR+f8/XOmuno+0ltak4N2eCCXTcMu8zitOAzj5CqaYUdHhyIt7fzcifYDuLiEUQdC2XXSQeeZSmHlh/ZxSAPgFFtBHFUKItfL1fJlNKczpM5Cdt6DPiC7xCaf1lVYQeDO4dd25jzbPC2AhRCxgI5x6Ojut4agmI43pg0q8+BPhQJaHPW36b4lxg0ZIXV3AH6LCdqbiE38mnTWmgOcEH1EgRCPVi7I+oT/lygaSEAAwGQJzr6vSDW5RuEHjVIOPGBkKFRpRQPWGPo+ARLjbxoFv2C8M9Y4zoRmgmpIwc2uh6wwCPy1UcB5fYbhcKwTb7+WUB+4B7CUx7+4oa2tPxtE69iq+ri8xq5iJyzodw1FkDcRiBFtBIQSD/LsIIhIe+h8ngIC+02gmNjEiTMDN1CTLUeo8dqx4bTS+1biH2uptnSwD20GhusV/vKCj9nzkRMkkz3QihGmqxDb1ynBhlR+TBs/ppE4/kgZ7t0en0cAZtsYepa022R8z1aePuEk1shvNSJkJRoK4h6Nzlc7RB3yTEdNIIWA+hJdfKV4F6TKSB59MpCdLHOX6iUVtrLxjS8xtk+qsp0UKAwwpKBUihI7UgNtbqKOw9kKBsUKM8EFgK0YfFDeS6H4+g29KUMLnpRVjtq319EP8L5a+K76qhi/+obVpubDpRDiQxj7QgjLpHffbDe45hXrzgwmSyy5FEVUMIljbRboMA3CnlgCbSP87Qp0UlOsQY358ppRcW2Gce3zru4G4Y2RLuOLAR6TLiB1YvHpV3YpQkE9X1ctSL6D6icApVDBVx0Ncej1SXgnQCBu7NILjjCxkYdg8UVsKO8KUlD3SO+vwVHzPV4xl6yFNSBLVRVMHk8JWIjxVlZZfUT0QkOVmAbEM6O1jXqz+IfeLmAOsYeJMTm2S9sLgSQCc6BfV+MczdeWb419pAYRAX5JjZc6inqBCAm4/bxEpQmItuY/M23a0FhkKa3EDgKUD6ibPd93I2i2IiG7syTWDtCfMFuL8gtbWEdIB5vFw05HZQ2KIcL9tdDLrqV05GOEwO+6XV+842/Fu8D4FbPJi2d4G+Nq3UwJgb6Aqt6Dr1m8rTOlHEmK//ZYcdr6T2HYbu/R6Xp63Eh68Nam2cA60n9lrKMO/TZFkBq0XWvtvuXx8dtDWaQne66jX+jjusNiTPfAYWjGgdKPsJFgCqjoyQtlAANFM6/pZFTRvImbjzjz3R1WudbMFI2TtHy9dA8DTbMSLn11YVWz99J3O5igqGLQc16IzXthmI2PcBlOjaFvLc0PGM2kOvlwJ9sMoWapGRCwztz4YO8LdaTy6fG2yB4f1IuSMxQ305x6QJPSQOZoLrTYJ6KX3wPwRzIW16YV0fKFsM4XUEi4RnSFMw4gBx8hm8GScygSK1/fkvoDzEhDXeALzT04Pz50hkMZbec0Jf3dEykt/31hkr57Df/TSJ39oYlAmhVQibm2Mxr3ydQ+uq2TzRD3xcCGHROVcobhnrQrcPwvhgtf1N08QCIDC5GB6uBmSFnTGs60CZN/6KEJ/v0DyAenqjDTiR/6VsVaZOd806+X22s3l3QidpmaoAo8Sw+w1hO8PyZpXmtaeKa8xTV91jW5iO0HKRMnRLzc+OMxVpJJyd2Mfrn6jn5cAszjfr+upfUrZS946oq6Dg/1Bv2RnfbdQeDg1/Ml4uylmA5ZurWgxh3//0D4TksiHfsifZ8jTOiHmNT40E4BJu9ns5z7/N7OfP5f0EMO3OB1ac6nyJF+jX3sSiOgrQu6jCPpjFyPUaMpd9mHC8E8v08XfZQe+MmGka42C/53jm1begsSd9e9UpQEQ0C3gmZn6iAJlmKlQmYu+hZUoyKea0lJJD06mi5Zyz50Wgaomkz4UYwcE4wmT4V2qoHW9NFDr9IXY9vTtCBZ2Prm3frb4QY8vA8+IIUNPGBKILtveYTUv1fvmYA/wQ0NZUds/8P/YzU4a1OLF2HECm14q7hNwNbmnHiyggJJstih1jUCX1VocUFtsKgp/dK2AB3b1LnSUb2pv3sx6NiSQBdWNO35sIJjPfaeJkn1IzXQx/nB9QUeuRG3DOqhib55/YUPYNS9U6q9WiYGAgAr69M2ndboalXYnJ9Hc60OCjAedXFEKejtfWaiyj2zo68BLx8X/zQ7vsWfVPB5YnYKpxEJVq8iRGXZbQW4GKkBWU6UI7VZX9KPs2bmF735O0OSFQitalKXud8fdTD3tVFWzrwOgrkum108j83IMLo573NcJouyZazhWVBFws7BJTgCm9Gi73CrF1kAQIcLplliJxPwXEt7LCvtwrMF0EQwu1t62oRbkMxiwn78pr4WdY3miPJyWGWJtTRjr0nfAjHm2fASzkwrb8JWm/kQpj4mhL45kJHJLviIpsBW99RDyLcJbYnhid/9UQBYbMZeE8U71ZJWNrEmvDZeL22LVj/pusfDnvt/k+G4YMPL5jjhepM49F4+ZRFAyGfLvgDWuFKnQWg0ES5SFZIxRev25v0uXrppDfK/mokt/9idl0EN7xpBJNte2ZA4RjBNWCNRyS/WM2X2GImuUwWhRo2BSlT0bjvcWC1hKb8u0J0Pae7PYz2XEw/V1byI7cAcIEmmg/ap8qK6KH1HldQHR/JE5oRI7m8aOp6nkVgoSfePSckywmxgOAG/35vErX+5nw2LVW1JOlF7cxHuXe3zn37ZhEUUKBBpoStWA3oYfuD8JVbcVuuBZeJsAcgNBm+WTC2XV5+wYpE7PR1XhNyNytYMq4/s884kVEHTbkFSc8J6uEgK82L8+iCcZTSdWXzZla2wNpm6ABcgA8kcYZDY95icWuqzyJYcFYdZQuLbmxizKr0EHJYqwtRa6UzFl/ZjtF1PVH87eDkRrn9wnvQPM14BERqk7Xt+dxkJ7tvugztVBI24jhzO+S3y7tqpr2QHUG8sOOM0Lh3pfPVBFwxU92CK/9RuVKqcjMJktecgVnLMpRY35BrP+eOE5F2qMczKfF58Ez//BBJszPLzT/pVs1IGQ20RgtDbF/lJaB0z2MHKsDIdeuPbKgzzJ/XHBFwGrULjNY05ES/1yINpkvMEhGrYdLO+aUNw/aMOKAfhTyi5WI4lKVl/KLKojVqMH2zBMr4J9nPJztIfdNlIWzAyR95JCItNdGKalmvdIpO1eUDSzoVfXIUW+jtWf9Dpwr3EFAW7kcin1XqPMzwDD71NRR/3cQ8bNlON2Q7nJ2ZrcsUmOpkYuPBg4yIApR4mARR2DMTX6YJObs/LIZYfGJ+BPKpAJ35OMCETa7DvEUTFXIp0UIM4TxfiaNsELKsL4LPt8D1+eOfpxCEGLGpfaL06/9gobeBAQbfyaLbJktdhTYe/HDVo4Ts9OOm9FA7M9uVB3LCASbW6GrZWfPhgpRo6rOYkl0dVwxsRt6wywR5UmZIKpvP4otrpofy1TTk9A+yiy+PAJIUKzhtmTxYqYcoNghvCMTkSvzL9UhB/j8lOOpTtmha338yy8kyyEexXKjO69BuQn1Fgd70tCsvKi73ilmUmR5/X8oX/wYdggahwkwjAuibZylx503d6+yH2rjguXnUAb/U4w/hisXffiv98Rbe1jzSd09MPk73+zrZiGeBnw1WMa4MjXsqyWQQf2bdtC2iVHedIuDHLn+uQG0LEkku4Nuny1RWlSpUfPU3vndc1CbQgHgfcR0UuYg1wvwkYrTdw6FTiZvy0B0JK0WmSEEjDtMfvPLnzF0dmGj9Mqap8socks1MhrFtwl6LEsqjKZX8Jm4J+htJ0pB3WNsLnEsn4PcxFrvDqKvJcsLpOMnFjV3u/FqnsV5tpaLVuJvyfupidCcCX4xpJ5P99aLacULnyVljI4vK7qrEA58stSODJFK4pBR20eKzxZ6RLuFzc2H1HfJ315Sc7aqS34/ggfeqWG+ab4pXypi3Qv8Xr+pEXAORQlg9tx0RTwMB0Q3ZdhuvThK0sgbnzaWvLHwYWXbUgq2bNvVD+pAWuJNObLR2NGW2vMx9buJXkNfD0wglqyEowfjTqY7fbglklcg2PUtzHYE7LdSG1cdFQLttC5RzsVpZaVAynnGe3hjkwBGBk4Oxb6XcfbGydFH8HW9atruHAEv67+t6PpdmWhcCLlt5W6011DZY2j1Fr5JNEAQeX5J2BtOiRJMnIa3qv82sYd57etSgKvHlW3xxHpizdaS7yZky8ZRcDQVBbQiX4zZUg+0Zzk4P3slo1UY4Xl5IqQWyZOmyWSGGoPM76xwSWM1PeO0PB+Q3K3/ws7Kpato8n6T5awo9ul+APpm9VHt94GdYcxHeGB7ae463gsMFo5/b0C/nvPHaKQnH+MgOBagGm88gvVJelAE2y1uBMSe+1s9YolxkCedtMOx2hi6W4Mk7m7h440hMDNuk9Yr4sRSt0aTt1iBC54XFAscl/gxTOe3teLqZfVxOV/mBUF21cSSA2dzpPLHWIhYWFrGZh1SLsmyUoKfw2kS5utyJMNn7bTS0wGeaXNpzGgmM1zcJRVQxRSSMiVe658MYVSuoIvLVB/ajzff6P0N996pz56SNV0cw6BkERNkBmw/kjlbt42jxIpCgp+O4DztYSRfD+vskjxFfOVWNzalcdN+ECSke9eACveuZy5zHrWtp0/B/aD4Ki5cUGQpUAu0+f7NLWRPbIW0eY+P+QCx0EXNGebqkaVKnD4ez5qWkhqgBKIbrinKZ83glPL0Q+gU1/bke46lcJ0UlJ/bSOTJ5CQsPKKbRYictvVp7nV+oisbLy6j9gfMKY4yFDwSOV6roA35VQDHxLbA1xVP/jEFP8I/YWqj4e5bsqjFgdmwNkcj5P+se1G/8O2jGpmY6bIiF4BpbAXesbbDuM20MgTWLoDdce1da6/S3kjGftuIzq46grYzy7scn9grKmmP/I47Hj2JKgawQdkgCkGEJ548y51jZQjchEhIxtE/eRtwaKCdA8E+DV9Sq7j88IwmVs/00givtXm5G4wu38kmbnN9QbryrIXXY01m3yxJ9cGVj33uJ3sJTQrPDt/aTk8NCPg1Lh+AimhOw5A+OKfIzqPPPiOpp2SS1d+tmiLq6p5PG2BrO9LXgZHLG9+XtU6VOayaILDjpDBXw5xcFJXpHloqW+lDKYbBxYT7NpCtOmGTxYuKe/XWhsLM0HqtrVe20FCMmQzw1MaP6wc1t4VCitGLNCbOMMgvrR/j0IcqXHM7h1nHIzYK0rr0aPWAvhQ1v0uJ99Pub+VLik2igluE55pSm9M2euujoV1p0w3Ze6sBzPIVryD12UU03+zm8hy6E+hovfoAsqGpokcHoiBYKWo/Y8iyrWSZRFrW8dsFSJ2PIuVoF+JvjAndUywDLqP73DHHLrmoPxTBhh7uOna+Ee2OjpjCNDG3Ew3DUF0i0ekHEmJxbphigFDShxYVdIHqKMOeVuPSL84WMdxnSJ4yco6Nslc7UcibkbhvVpgPNI/ou9Qu+KcaIQe3peEgGfYfHaTrxMWpGu7AS3h3sp25JCKs4k92JCivcDAViZDpJpWprTnEA/GP4SF5iJv/JqGcl++2GbviwMI8vmuOaLu6tHrhPcxFGDJttGCdmCn1a/mG8E5FxoCJbDK05LsjUcNrYD7U6w3ozUF3os2qE7axOZCMaJ+U0RU16yBaECkXetSkR60fHnxV4wdOmINC4sBtWG0q6WH2VEofRpDcUpr8UYUg4i0LaOGfpk9uxE+ojBoM+7jmTmrlHsiMLYQGG5LBOv9755SN63YLiovMEBSqJD4T8eLSN1zc/TySr+9yqbW59e4J7aVebuwoLcupuw/zhApAMu6KKbfmrEQQLOrmB7lYYAfKRgeYwxYdhnk8tijEjGGdEhayRcKkark3WFSWp9RO2Z1z7N//jgTFqfu6whI44zY4WS+6DinuFFRBB2z/Cp+ZUjR3kjiZ3zxqNZhdvvyCj30kEzJSQs9zRMv9JU+wYV2tii/dEAcrrce2WuxwkXIBCU94i0VUUtwfQwT2GRFjSUgPeX5IIAm10W8xKiij167WxQWsIXPjz6roR6/4Gm7YX87Oa1W6exGOnSbTNc80zV8jkEz6sVPQPgrMT8uSX68R37buV44cJOtqylemId960pbabihurWQ0KFZ1nT9bIxePfH0ZQ61WzvUDNyz4EOn+BHe4TuV7xKHLNwJCdgwL7XHGs3tb04a5EhnqNrvYKD9JwTjfVps08mSXan1gPRwH6ZadI9AzuwTGrwQgYMtDJh29B6qemjpiE7SpIHCrLngWPnuU4KE5Zgx9h451EQANbyhER5chiZhHZQv727eJmMk4bF2Y+giBm0JU9SYb21lVo4lroRmBlqbOy+P77g4xNlM89Km3NKIZDXazi0Hls9NqupVPOSqELX0NvkZUit2X/0R+cLU0Q5u7NgO/Rc5Dhp/vs1Pi6M5Hk7ugJUdHXvad56FkHAV3fugLQjI2VXk3hd/aUrTAGRku20gXSHgQ5fW+sr0HfaWuROo7goa9DbsgYKi4vbk1Ou/7jFGMeDfEFnvnAVGrQB1zLZfeDhUU0Rx3YZcWPdvEQhvvP5lwv7OjYCp/vbq8CvWnI+rxn6YAe/eCA5smYQDgFu4Cf8A7G5k+s25nr8HXEUscTvh70Gy3OZ/5RQfaYeyw0VjzXRPKx/MHsawiLf6Oa6vieoczbBkLGBZxn02zhXQCEfDB1FpXs3dBOaM8RTCfsN+t1OYysTgORvHYl51oPCest6WAmIbJZyUtJka5/TLXS7kh/jrBFNrkGHhQWw+uKJwXt9mgJsGFkwzErZ+JjHcjXuqLBydH8QdZL+hfK+yoFL7R7wzLYRbF5U2o+2XhKmIph9TG+4iPtieIk+8d9oTP3IYeUntjJcCqwbL8DJBGbU/lFEQwMjHbbnsX8Pqs3NbK/dG1xLtBscAAdemSG1r7SOZ7SwDAc9mQUC23qxwPU3iwGeRRbp7r6o1LoWJAx78M8bXQoIqFRvRfF9pkFBR+sG/xGh4XuOdHmLTkNmY6ZbR2Tl7vIGi6IZan19y2W4ymg5KNQAdWzqH7jf1AgUnQ6NYLQkJSaR6Utm7024e/A+Ha3S6v+MXg6RlGt0TUQ7I5xUuojVt1EylMx800d0uLKG6pto7CDqB4ry1EmO8BGoic9HwP18JhSmrreCQ3150NB9EcW55Sow95V+374K5dWVY+tSsl7rKFlS1D39kQvTEx+93WKFQW+99wrFYZdqIKHJAfCyAgFMfG+gtjLjyk6S+wcaTijoB9K1u/3hyxXmXV+gGMUC5q+1apGyE+1fV3RgMvCo9OiHLTL/oYYYk0YwSOHU6FEM5t9aIhPXMAK4PK3IvX49N8NmY/YWgYZZUrZCxv1uBBTdtanvstW4E0/oIxwX9XbKbLjt+SlCVBbZ8yRM17MzJNO+U8OBi5XddgJcx6V0qsgHke/jYDCGjBn6bfj++VOSHm5vckxH3y1ltZ5wWnvQ/NfruEy9M51GO3gBnbXSp/j0YhZgAgxiEeXP7q0Eig/C1FG2yVpeILebj5fZVG9wxQ5V5Suv56U3bB3/nuOZr462qH49cH2PzgT9ulU/UWAGhBon3iwD0cV08bFP2gI22k8u5aaMYwtP4tyTPWrVm67bPLzzK5PmhhYkNKpV+FibpM6kj1uzplcUppihAFoF04S2ZYDi+0gXU6k411kdERwYW3nrgOjSrh3g3gOrzEOBsBJEJ3jurpTr+GGKEMl47q57QrjoM0/MjdkRXfl11sjsc1obIXypXh+u0QXwct/Ouwmj6Gj3FTWdImhrwj47Zv/d9OuCrdscMqJ5ncFxq5r6lw/Am3RRVdR3CMtUqwdzrSyXzi5YxlL9UNZx64ZmeV2FnTV/ZxxvBclKLNT9uMXNt0ZWov6rL5+Tngb40GMCOPk17GsYdK9ZUeHhN7FAMrtIoq0H8t5fuzILQRUsYpUKMspSke61CDTevwAeXNYOFwZCbgycV/5aSvROkB9sP7r3T7DhbO/vPlJCznGFLh/YrBO4mfp9htlGXX5ytP07xcQfOIhJKLWou3NrrAcs46dG9JPBNesMOpcxOIkRclawxOlywCmgOj8ytqa64K2jKbmqjbnPyY2K5owhwzViLQU4fR3xdSoO9RwEFBCxBVxnswzR99uhlzbbK5rHaZZXoYt1oDIPyKTZatHawNNtToF85lPyWL/uKXgtTUHhGPMs9t/W/N9VX7U50OvPa8OQ3944aSigPdUa9o9LxfQMkQoCsRox/l+gryee/uZgnNJZQlvgpYlSHG7oQu+4D2n0icADx+3/5j5YWQM1MGDCROmoGtLhB/8WFoxdmnOSVE8At8wKQGUesHNz3WjxNYZ5wWIiMaMMC2nA6JOr7TQ66XuukOvFwQudybqrOjn+4TaZ0arVQpS1XJ+nzMKwtquM0aN7tv113WtkfJgxPGjufJHCUwxobXJluhTHAUUSTiMt/4IWFq0YuPu0Hcwc5dlmz9YEhKfLj0OqbBgMhieXv2m0hVx5N2NHIg1wNg9K7Jn0swHfg0f1YxpeF7EkeuWJ7unsWLeYOnFNNYs6WtCw3aJXseQ9FDE3pR64+Cq5wHe7RyCFVpLLuyf1+7+MEMXbHslVPk4zBH7r7/q0Aa944Dx29I6q/FDkI8uAdEY8VmOUMETQF/dNwkO4PvElT2MzQ9XZCHF/764NlR9OFTmcyJRI/Nt/8ZhLxa4ZBN/bWKkGb1eniDn6S0JyZ4P9yAfm5QXU6wlC47TEZeGTz2JZU0Wtow4X+zRfn7PuxcBG36k0kZN/V1vsOBGA4SeVJ0wiowtpDBmJb9JSUWKy/tWiJ5JB6xMwhJi/Kyy6tsuzQUtAsl8Pms5y6W42Ag/L8gETpX4BYRItftujRmz9mdZqvKSeQOtRW2d08nSC7JgMzRn8O12qIU0cUpS09VlWIYRrxJU5eKCd1/DOLVWC8hDiHFhGDGGo/31gWW9ayD5TwALWlfwnNRYGs1kkax0aKYZoVox3ij/mCEmw+EEh5QLTGQHcQr8Oe4xWEVuZ6/dzNGHAelfuum3gOrlT0EEBab2xRnCHmoEOPIQPUSGK0pSwkwzFJv0t/Y7QSloMnZidejOJKxodIO43dZ4tQDfj98nH1Ik8RRZakJJnJ4djONV6qOnSD+qfkQ40kSEVxvmhNw2UfpMi2Svr8NWkFf5sS9sdzaHGsJ/3nDlj5QlxAFfQyFB6t3H6/QtEGRiePL38hkZzjTcoQLrX+rLHz79QEzZjdrUBs0hfa/PX/KAEmOgv+cSihKYFaJIBjZqbfO7MwnQWaIUUrI5KxVfyd/EmF+7Ue8kqWlPw+EYOV0aIN4R/uOhznybF1meUt8rx1ijE1PJm3T/cgR1Z4ELiK/7r2Xo8VT2Hh4Tr75vdxXlzm8gDTddkWctwhiBqyg1SgdAcNE3p183QiwuPjLtMzIf88/+Pi9PfT7xg+ZPW0eZJMW5oq4Y8XhdP7aPMke/a+qi8YcBvIo5gua0FHQhHI1rm0257CjLEmOd3kj5tDUWnmaF43Tz6Reln34KIVHZLnHIy+pjaxua6xYk0vN2GUu7Zc3GJEsrX7zHjchG6MR0A/0vY3iXK0E7PaL8VtgG1c5W8MaEJ33fIi1+JWPowNQmrU4EsTTSyavgcPE6YMiSrygCVXhc1MK5kpuRTxjCFGZ3lixlVqaf5dySqXLumYjKAPBf353Z2JsJbWD2lgKoPqNx55f91LggofCYBRCK4vbdnzvCZGZM7T3IPE4nBCYQUgAKXuQOQPIJxkBlewNiJ1NrScZNk2hFb4/8md6zlXAdhp1kWMjkYxZCzSOP29ngCbTxqg52lSJeCMtZaA1WGTVUDNSLPcyQYnPD0rp2X2KZUDPvJkjIdChXCvb+8TzzRXwusklnOuytddyh7oETQdoZDQm1e7hrJvFJcmdD7klzPnizi3DBx9HPaYLiVX+1Zvkvw2cz0mGX+Z0rkp63XZsxgacn3VgsgqJ3ktdrM87cFHYkNmCn2qFl0GEhI3c/lzx14QxbwPCjBEqMwKpk0p4YwOFVelaKmbzdjHOqh2qFzYLcXsw1fB1tgNpblfYnECHZ2KBNb0MlGhFHaTmQfS8yeWlJvKq10vlpBuuDlcoqBCeWiqwJ3lr7VJ9CBocU4WfP0zjhlgQLw3cM1njGFLL71eeVC17Mi8gfoTPGhAYWO4FhaAv11v4Mu890Cp4iffMPvGWArxufin6L75xEs7FJ1B88tRX5RYgP6C/6n/PKO0KgQUCuwgxhIZEAZNT9RGdib37UACPGLE9/ulaU40i53f77Bi1xmQwrg4pzUk47v8IFtNfjEuR8Bi5oyAsD4e+Y99ml/sWK7wX8Fsz7GSnPv4LsBiUJ4v6f87MrdSZ1QoWXtK589yO3l8TnD2MP9Ha1ZTO/S8Och4R45nJ8lMrM74reRwk/n9O8GfC/Tv3dqHkaVvXmdSZgx4K+hkiMdzAVToLxCzY/DYr81lwW1IEgtW3d6Q2YY2+LrjUBB01GrDZ1DMK+9XQf6yZX+cbpmZlV5nNcX+ZIi6CNiKv1arAJt49ofb8CJ0VJLQcOKDrLZssUpQ9bjncnqssruERniXCvZbDLtzcHjrPAtu/8QSwNYmhLeNN0FL2fMJW4WEaTx3QD+hmGMiQcXU5dzeppOUdZv9ngRd4bAnsFIdy6HGldyuIHPXTtKMgc+vgmbp6cQVP5TefWIFehX7sYkO1kJYVgZlqMtpY1a193CsXGZaKZV3Dq8TaTqi4ImNhHamGKnU8UHjbA1EYbvQpb/NhvEmfDhly8+feOoVL87TFUbRviyzDxod6SOy0mNbW6sXqpRkA+O1UOriDOhrW28GPfkJKTfzOgXPsuY3YtrR72EwR2oOtb8KB0RdKy+8K+J+6ZFDQPxx2gxHFbAF7W303GMRtkuTT8Izoe+kuNTeyKlmIWoEUtdhT474QQjFONT2cDwRjfwJduZKHh8NUkEoe7xVuVLIeYbOwYvDE68FSit/DeqiSB3CADC03nmr5fGc3GMQgr5b/RnZ09cfpHRY9ywPAND1UOb9PVgQYk10pQzZMD80La2txluzV7Rv595uWm/jhf7V2pc/8ZKIHPmQRsjhLYGKTB8AnYqYLrUTsRcGxzXKeIET2ItjYDx07DDlAWoWIxWGjgzI6QPCSxgnr/pHUfuG3tXDzN1EIPe+s/uk3j3wen4q7RcNIFwrjC7RoNP33bidA3aGcPsIAA7dTvfVIXICM2B057qbBsq0Z15G5LftckIJbWP5e4R/i9OTi0I+YMhFBXYB0vpvGL1Lirpp5XZ32DOb5hMvZUY5eHRVybZsMQfHWZYIdOuuRQmE79f3TREHOwyPbCcUWh3ARMFYokURl0GPRfPKklE6ef8qVzVVjsplfZI3jzLIR0eKx0sJkM9zgYjljCvjd9zP29Lv0XpXaXVtX75EuDdc6FoIgApj1MWh2wFe/dST3M09j96OrpToGqDF0iSqwyrOxZObzUMQSz/GC27ZWwoQXI3a+R3rqJ6oY3J6yzHrct+AXe3Yt/7lHDqQohr5efYwPJQ5Iz7jyz7Ut6CInDj0SWz7f5MOuSyRoB0J0HjQLTvpCcNBkJZy90GGafdl8mR9i87hi6vXdJQOZH5fWbyftu9otriItNybpK51T5wgzVkFoASXiubeO/QCnyYSIsmBfu8d0DNPy0dSYbkmgJ7ZNOH4Nia1K+YLBDco1G7y67h3unvcYw1iG8mGOzrUWlgPA8HmPyjGqxYIKokvk+JxAf9KuzgYsF5lSq4HsEJPd5r2eL0seHqOWDmMFbxxGG8msgx8tzDzJO/qxZC2RBGEcW/YmTfRDxuUVT7LKz7P/ycox3Lv0BjTWWS/51LewvEtjMxlecnIr649DJCT4gtw+Xmwqk1MKiwN5pacLp13X9OV8EBve5C0k+lGKW6hN8nKI4LJfg6IbQU5Gea3cdKCbLb47q4yPEMe1UjuRwOFcoIaGFU5xV5MBAl3kenGVJUtX/vE8jo9PFRFaaI3VjIckZGV72bnAZ6x5bJ42trjRFVJ7W9Wu9v3v0G/znDMGRD/fITwXzWOfY2n+RUljLnQ+jx7li4cHfils89SLs/47cySM/GJqz2e+HbXIMyPD+QoiAAViZvay/CZ5/ozSDlaWhWLfX4+PiPdSrgFEGEoZTFYr1hX42Y9/6QnCDs6xArhPxGbEW88hiRxDz48M/nP3ws1oaJ8yP0jNP3tHl72VlsMIYSDeB7ikj30+UnL/2nRI8c0sF8s6IXY5izfqDj7H5SqVQzS3BCkdYm1/91KPSVmfNTq4MtxQc+Mfa8HvgrBaZCsCmple0J39dmMK+E3BVHTsmbtTiCTSFqrXeEbGKiUrnj+aWiS0ndzkSPC3Ksbvw53qywANUfAAx5847KDELUD2B3BFdISOoLEAlXcX40uGAAlDVrVYXSigo+KOk1GIM9f23K5nOZj1Pw6Y9bDoY6QVXq7MfsAlybaNMXMITh0ARCxHqf7lrS8gwsYCugW1BCW/Y3eUtKCWMNqht35YNTFbvuRHz5xMVJkangmFDVFgSKzKgi7gddk2VI1NHMQNaqXPCVCxJLeHTJdrpxj0A/nyximkiCydl2fI7vzcHM9N4kJ/VbayRQcd4lhLquC/7kJvEq0E+OU18LmfIBMwWR+u3Wo9rV0mAD9/kJztVRdloLBa54sDUsrKAOvj1xBahAtoghqAlqeFm+Rn63I52rlLbNTZaPFogkQeISrSJnBXLW72MTmK/dP2wTxlN2eELgBy764qmHXec6cKuPPAxAWudau24kD0BqnVoBATKhN6kZiop0PO6yJHk5l0gu7DAN9JrR9tHpE5Y75htKFFPHM5Uxud4I77B9z0keht5l+8zm/GJ6EIgnFJwaZJ9jhdggg6PotWjXXJbPctcrn9UbmxZD18sIBKCVTQx/W3e2Gm/R/8kekEYy5XSg6qsyJfI4Ufz9i9DVBNb8l1xeGxD+eIVBEqVQfVSrZIqe0WaRLNZPGn1ubmqh7xsdNn57TqRJye4UOHmirg2gq5QLkgWcP2g47EZgwUlfg6ua7abgn4LzKcxYDe6974jmSr2YonGDFPeojs/P+o/4ojfOpCGgXl1FplHu3+xKYkqPprCxi1fjlkjAhg9Gai59vRjBniccbVcTicnYVmwU1Z13CNhfLh5BwuQktEoFoJyvzYWna2Zn8m2rMz7+vTZckKMe5ak71NHImipZ4AwFQtYDarvfY2eLBGLBp8/NsVwSgFiiQaYJr+AEOKkDyaUzslv8oA0QZI/f3edOlb3evuYzRneJxwmL1G+bPudeF2zah06O3Ul8twd5wZp2NlQcXFVfRwWx/bJgUiwIVgC431pHjiZL2WjH/Nr7rT9tTa8TbggGuQp654rVeFGtjil+NqnI654x6NYMYyInj2NhssFML3ciGBcjGDjJqGllqTpnLjD0l9sJ5LOIQ1ccxnSPzE8kzY52lVLL7iaObzvearY9sByNC2b8iowo43wBw8l4woqjAmwXyUSzjZ/KsNL6dlKSZc7/+MC9n6D9j2BmcgFdSSHXC/whsulcxZxkIWPIansubZv1sya5LmcOTuOAx2tcGkD+14B3nJYgckQDbXFAr+GmJ7IDpLM3+K08TRfnjn8a4YX1wdKoY4W+wQpo9SC3nmdBbD4BeR+mhE3VaQSIzKIbvqC4WehxvaFgI9ZhcdpkZ3BqVd3zYIDOzg7GJ6RUNuJ2QSaKvsILvZ3U/tDqpWq1odPEg7hFnTVHbXzA2ovN+zooW6tO1Ni6pj9r1QxeD+UqSW0dRRcaJ/v3LoqQbYFE2jWDq+vWPuW7Pt+3p9gjGbT5NwN2rI7gKJ34KcVuyf4am+yMhIhYE7orCfhT+ci7doo4ZZPIjVX4eEeQGxrrmdVm3wfOCyl3VYSux1UPJVltN/URm9z7ZMdAu7DsxG6rnBFHrOhjpdxK9EsJZSY7hWuuJxAogtXHaE05aJW/Icu8+hnwIBO9IW4vaG2KLz9Mu5zarOVFlw1jyEi39soMXdcWke2byCW1CyCAwPqOsS/59xA9MGGaPLyb5drLAcQxGc1frC04T64dODis27qhiC9kJq6YE36OKc+ozJOOg6eEQMQAywZPaqrHJFu5OPU1DV3x6Rcj0WMK/6vLTx2O6bNXMKUU8Usz20wK0Z4m35aUaQyhdgTRIYACG+xQVB0AyKJFXQg64IMnCSLPpsdkwGqLl/B18RHae9MXPX+zc23Ko41akTIUUVfNr/7/RqTaimroSg9ufv20Ca42BzNOIrdDGgS7QwM+OS11RoAgPZA8+EhewB4DO5FMS9DUcAblhBqc5+WHB4SQpaLuu6gKe0x82KHIOqLlvy2VxKpJy32fdSn5OIfABcRpAgTzAgvoK6S9FET3EfajLnCgsnNwP+0bOzZKtNuLYJiCsANpqpYABGJbK2Z+HTIJAcdoJbrlcJYTYgTbwWjVGREnH9tivqniZU/pwrNjY9sldubwnAIxsqvbbsbXbijvntaVHB5FCEMkOZyx5mWaxre5Ac+RDviyMyjQlm+03bARwgyJbtPuXrdCHPeZE8hpXpMeGgGkRZXG+KgLd6oEiulQnCl/VpOofwuwDgnNGMTHbpt5RnHrZtIeI6+l+wM83dbgUlyYioOESE2HmxTxv5QqOp5nfNcF60yfT/6ewvefGf2QgfLx76tox8f6si+5IsI9KwGyocQGTxKZpFZQaGDgUrzfV6kHLDuJlyGU1ApHVx+tol6KHmvBq0jvibTa9ZXu34pBHdc/+TVwp2CdAQemGmkViPmJp5rjj51JHMAomOScJeAomZRSPKaXsx1qTpBphe+jcvvG8JQfDAE8UcA9CNnoP38cAm09elpy6YUZuXim42pCPeggigEnY6V+1NgQD09y/qeyh2GnfpV7MZ/mWSrr3eQvqAV+EtORC6QmQ1q6HYIl94aQnEOxeYqw616/MZy32lDcn4ddf0kXSMn+xE83N7eLBky5a61beoJ7SxjOyWvxgy0c0mUKMQIDypUtO6NymmnnMujOhLMI6v9LpCpozqq4yrSjLF05Rt9ALHDwzmpGgoxPOaCTBa/fInri23TC0IupJP55sYvg/TJ4DH8ry09atKXVQtgv0448Kismqnt0CPHcwOJ499/CP2NHEfconLL1FSJkk4Aox9r3/6uTfoXZUbhqKbRNeHyUMAOy6mBZZdbYBmdCEXUB8hNk037HKJxFtGL5KJYnVs+io0P78vdK+L6pDwLd557XDr6c/JNi1nAfDNkeZeoltsDHlLIoJ+467aI17uXpOcdjOAw8WvS1yh2TWl0FBSIHCCqrKSFrSyVFMaABuq/au3wpXPVjZfp23Uf4P8prDAnNAVsJ/R+qR7lu/xwwEZv6qQu+Il95PLe5yHoixwUXLDJ1B6/5a8HHLWW2ZzZNiSqwRQy8SfxQjjBIZxP8aElP8gs3cAxNHx/Ky7wnvTg9zTMU94JX5WPQIa5ZqkKwLRas7O7OxE+zMBQz0DeSFuMxrxcN7AfoFACTAptQ5ahS+pe8/jFQWSsDnj8PdE6BizSeCzZjCdxM22a5UpK3GyEae4A/a9Ag7TwwkXaDwpvcxtzLU7cvflHtDa3vcILTHny6LTO4U0kxiSQxEhslOM62wHHLNnAg5Q93NThGWwuBf3ie6E3jnHscFbkU+BTurnFeGfxkkW/cn9hvM/Nb65WMAEsYQCFRiHLyhfzlJmFq75/0KOfEgSjkBL1dChIUver0ZszV15m9+xWMzZiZyolglChecTysvChPKqsBNq4Q63UfCLbVruRNUOZUi+z1qWbMPW/zNv0DMlWG/sx950XG3Y7PBGjkebESEm2H2R7VJn/SIIhzc1eBp4x6EDoMY+9qH3hKLLUPImaKjr2RClSciumjDNWlpd1A+Chm07yXnBC6ngl2UMzeIahjDvf/B/3h2Tb+0iUAqnFz5DpUlQrNPUUQGIrwy2m8DVlc0GoZrNt0eCFkcI/Tt5Ri9qyKCIYJ8MiN47vdK0H73MBPpv37L/1yPHebFi6tbQ9XU6QQxnyPrjMJkcY23xZnc8Pzz2ab8pJ8cxvq+MVcguTpjlPG998fNsHmKSZXaO8rXctDMHGF6mOr9vPwkYwDyG5rBzpwWTbfS5jX3dQ/QAPZ9k7i55WEqq4sJsDqCfF6MjE5FqYqzXc5nq62oIXDHVCYv8CIjQ9ynQmyyzOsIu+vAWjOXubzWz0Nf1TgYBm+ZufDwv3vTiQb50rK5TmNaxewhgsJ7IVjL1B2KxKec3sbTqhmkWU2jVwJu8OP55L84bpGzi/R/S90o7q/+Un5hUjg6rmstSzjZMzunqaRTp3eKVjCKD91kTbc0Dp2cSB13tk4Q1rl/PEGPIw0U4OogKReFRLDJzAbbtvZ3HtK51+HDpNtoNeK1TsjVlGRovh68dSk21Fs/xnbOTLJ2xxvdfLnbDqWyvZ14s+htPPVNpJhFwcC6mgvYGKdRoJxKSt558Fvkm2Lda+9ja1L26KWMhftimb37vs7UmhRXJgv/7JyGvQcMd6fMxqyics/IZ3fN9smhOVwQ9JvN7Iuvi1HfWgELca15MFdM9aqvXPl60LFH+xvPwhTJw8vFRYUBwLreBkgO7CZMFgrW3TuRaOJ2V19l/XjZqUosjdddw4OpLsRZcE0nXi68nge3CcJhkGV3ROWiv/MtLFrblDgEoJHYCizlyETYF3dY9ldzPLhr6BDUjbUMBdQEBIejEPYut6MyzioXorjFnjYBwHmL+IbD1RowOmYsF5z6iS98MGy5jmTjEZi4xIJ5j6hGeyeI8bIa3OU6EdnSzEilFRsfSnOLCHkkCzrchAUneEC0djFtZkbxKp1biwWpdQNCK6YVcGiI9VyardBNKZKLxlw8AIhoQazlWEBkqQaOJWx2VP1TkLbfY5Nwye/SdjonQU9c/kt2GOnNj8EmhtFZd1SXxlPamppqeltCweskVaSLgTUMQ+rqh6MpFqhFrIMpmeAwemVIW0NKYfIUHjkU+YZVWiZ9ZcBtwek1crUB4kBPwp9Oi+YCRMtS9rYQShOiSTFYKTxYf2olGpjqhGQ/dHSGL/Vu0k12F/IqPk1wlS3eKzXNxWDEzu2jVDlDMSI+KISx+xBgyFiyIq05kdZrvrpUAH91rcAGYpiHjdVTma1wsxR4kpOt0rQA3AOfiGp51LzjN+GNbNg1wDH4ULJ0d3LS1nWnaNsxt3IMOQO7uKacI85OgcE9fDozWg909MYpcQDS03r5sKNQ7PQqJ1EIu+zrj73DrlKi2H+OzNIDWSJz0MKJJ1elGXXWQvMHwH/hB3MIBaSrkna63DNwVhOyShzYndDFQHDDntnoimGMc8PIX523YkBGBEZ3j6sqLTJB5SmxCzH2FDl1LC4dSW/1N3Ed0SPVtnuFz4p9Yze0VhDv+SQ+5ZYumH6IV9ozd4XgpDL+5BQ7680/AkIBWKzdfe7VX03k1uGEDihn6iciEP74LhYozQhAKtpPfxqBJVDCuJp8FP+G2N0Tya7fd2Ol/JMq6+JoBiOTKwgrmvwkiQwdUBQFUZ7+Xco8ZtGHzkmLC+kB41/e/3dh80ZXWdngs7BndbnZFGUM6M7l7WblawoMZGG1MiKJNaY9EfK9r8ITADz+lkfWKoSfj/+uvU3E6d0jOlYVcnaETdSCK5QOJuNAx4ch/2XJjp+EjGeiL3rNpz0YzFWNzjhs0qi2VM/lkD8ygF5M7ZeW1yciZFNnrimuTY9vDzi8AqWXkCVV7g/rjrtAu/3wpkLvLfcMtzYbS2gtEv2D+lKfYpp2CMdWrP7t38uggHUrdYizA5akY/3naQHQQsjYqZZNwxmWbzD2PpxTOzuBs78U5i/blKLI7WMO1Z6rT9GTVhS5kJIc46dUf6t1NtCPFVwnFw3FGIWunwvzb0EBGEyO55e34j6kNvJkVk9+qoaH2XG2aPadvzSoVV9//uc8eZNAbmlXXrFtZg0Rz4fMkGvyc1KQph1vBxdIAYci6C6cZP0c+Ep/ndHEPpciMbS0mbmjQQ2se05LvUH9KC++e4T6Dr3+gJi+6dyJIV7Zu20z3akStTLUZxZU3+PT6rWVFqzTGmY6u1uup8Mi+PZmvzqQxsr/6ghJtqi3w2kVoWU3YvDIY5xoZ+iDZNraukrZWQ05Ej/FqXL9PooP4sLnLPBE8yVbLh1DDS+wUR46CVC9AyPlxAG0JDN+vyfcvEedO09WddKn831RfbUvdoqhHC8maQOw9W5yWc+8PHVTCCknCs79e6dJtTs8aZms6akLFmVL+kNPWF86LHwgKRb9N2tOBSJe/7MXHxePcXJgIIeK9Yswx+oUoU8Nkt3B3EoRNnhm864FpFehptXZBCT1MKc20FnmG5jRYZ7vpkU5V+yxyJqDYj9BL2DTKGxPVPULoKh2IVkP/NL1pL+iTbuJz0nICF/DU/GAAlsTgwgdKhi0HIt0A3qYqXg8637VmiXh3957LskSSql+0Cq/hmrbHzDpRun8/4H8tvubLAVD3vVlaS1JPe5RtbSua+B3wO/rIlfEpMopXNpvGdVRf/ZtOpX1M4M5e1pFUvEGP1NLjOfs3/xaqftHqpvaNRxfIW6DrudLiJxYtehK7jcaM30o4DMNu8G+3HjZpe3MgIrjJD7flsZ1KGQbBg4qUBQyVKR7HLXmEIDbG1mzARq0lO9kQBVt0HGH+6WUXhxrmFTGuUdirnkMEc2ufuJVISgL58TWRyq/dktl341IWavktRVRw/TAikRpqXXBb8czgXQtERRUWlb3OEPvB2/VTnH/uWSyhts/POvh/ozrwazbq166+0+NrPjADfGnxs8L2z/UsoMlH6X1E4IlDktBk6P00bqd+DjwCAP1EmAKpswMrh1gn/CrTH1Y2EG3Tc5a6wu/qMl24FunNF2U1U3ho4+3sVHmv0nZmojY19sgzbleZeH+zvOarKcojcuMUJ5uXk4YTXY2whhOKx42TjWYuV484mazGzoOoNYgMRdTe/jsBPOofjn66cS+FBfpChzD5qHim13iS4y0g77kZrUKFRkkoorXWKDatrGIyE7Rxp3LR3Z+F7QIeQN3PULimZMGptEV9XrECjKpdYi2oeWYlpxAaSS4zEl6wmv9IrERvhp/seq9JiQombDRr9CVqRnLog36yA+rxq0m3/gGEOnuHZWZg8PlawM85/0TxduFIm7PqW+CEoDuXrVvhcVBHThTz1s8FqKpk/LJT6ff2R5l2rZVA9CO2hTjvCQbYwA9En58DmyUqinU6mENILTRgMJSB5MBv69yXaHZcWOQBKPxZ2XqPcMNfN0J9ar99ao69ln6+ljvDuY8ZQmMzjwG57a4uzCK9NnJUKc/IM52k3P+V3TNQ+xp1VaIxXN2zkXNlI5vyd0DyyMnzsY4UXrLrENi4FliKae9mnk8MffxxGMgnuznG4ORqTU8mqcd4COXSquTPz0tEGlE88qC4eWMPaM+v+GGamBL/e+Mmy3oRwgrfSfuxyGeOfXNjqpI1jfTVq566tRq5NGaJHX+ndY6BuAXNHcrYUVytlB3mvvgygUfbMGC1O91lFea3cEkrxM5JhzXqxD/RtsCxRGgdqz90irFUKWDxDpPq7i1p5Hv55H+vmS6fqFByZH/ryDe98UlOKAeByJwcp8HUcH6xz2CLl64iJrDoDiIHvJDzeWGHDwmSaTsoET/URrwyVrB8/h0z3KCMIhpnyOjlgMYy3Ew3JdFBH7ujlTgnAvQVHsssf7OS3Mr0g5qWRPOh6moGIjDOIYkTn1ZtSGp5LMxTOLIEiW5uM9CIXf+1EIKPbUiojbuLCnTZhlzDHxDwDPtVAt2tbNd8vGowTxK4uclnRGNyipXwG/WNVPcVA0mjwcSrCH7iaeZlK+XJicOsemWxNjaZJVR4ZDId6VhytV6YXW8Fj1ymMLMCA9myy5rl7c8yfOBkcNawafGB4oTGOz3pE8T/NwgnjOmFKeQANO8m15CIHHlfWVM8v+T34r3/m3oPVuPCdm/HlkavIYhFg3B1UeDYA2wt/4ZjfAnADQ65+tvpHXKoCIyXYCpRPH0Op+yzVM1k3bTLuK/ZtDk4PDB8GzfolglqEoE66CB/yPzk+rPsl2GA6RcoGfyVKAk07R8bh2DU2a0G8/62T69bgOVE7+Uu8NRxC/msP5GPdWJgsEGiJH/dD7DToAPIMEkeQKR5uaDTb38od1AZfRk2pzIrirhYnfiZMfbEPzG+pOzrKEUfs16TRsldW5Rrz+cPfkNzA1ujQmt/nLjoxYBsvZl5wwLCPeiMkSN0MqyOv3Dsbkvx/4OOubtOAxKXS8NeEdErCaojgotS7AO952+oBFgE7kjosHknQMCszexQSAQD1T9C6NjDHaDzvAhASGM3df7fxDwf4w1CuD+1arei/Bv8hoGRO0EciPICSdzklYiifDmWSyGdagAL/RB4k9oei9JismelEbQ1+cDJI+z1Od++JPXYG5LJW1zXxfMuUnuEsBAY0yhXNrVjYCkVsVvUHZ7a7MKbW4G2O5Hvbex9G5+BLV4ITEri8w9jJK+ifh9wZtGqmZpMcwneH5EuTER/+XOtx+DWkrUjvZ09TGRodsYPym6D/9y5zbdiRJZUORiuVBk5JwIpnKmJgMYUncEoseGZwkoHKixOH0uvHocaLAFJvPNw8dIK+MyIBi+MUROIo/dqDFG9ek/w08AYWSc6HRpWPOfSQelyGOh66M8tfBmkUcT80BIv+mkPntvPypi3j1t2DGT3dyAJN3ZKa5Ts5ZWMxOtU+sKgQXeO5cIv6KsGfVD2cMqmEnBsvc7J7O0Te2/XJkxbrslfMwjodyVRB/oeryKOlBwzFzk9Gj7AZBrpTAlTXpkYw7Txb9CRunJA8e1z+CJxIcXC3E9j22qhvgjqQG+H6QKp7/IQWTnlkQ4SMf1Ls6wNVmPfx2SUgMax55M4uXyYve16xbEFz7OPFbd0sSJ1x6TF9y1SJprncGeTHdRaV9LvZht/xYkejNLY9Yr+iJZwTFQbVQlfdYosmS6ObiPXq4oWaUb3Md1+D9Bq/eQNcOpHhVe64Bjur5EnaR5QXEKFifp/NH/jiqdI0QbXLA3djEm3oFXj39MdHfcYrDO7e8envYq9OiD90PjUhmOS3TocPoiSlMW7ZFguBeyt8F5KLmIy000eG5cxg+FX9G6V8RNT/R1kuWzzg57SjisvC8JkkEmbF4+ER4pOr8wOVFxZc3wz9mElP1Qy5QRvnRoA+GHK5CNPY0lqz7BieNylYOrgvoE54Jie6dKsgfoXCOokKXTRZ5dzDWYXHk5WjaYoOxYB5NYjgyJtPqIBG/+dRSQxgmngnzyel44TDVi7weHXVVdiateiMPU1F37hDg8jFn8RpzDSbRc+x2oXITqeac57NCYDFFhYaXZ9TcTF2MulZMBkXVu4RcZRJNmwayJDCBjpFDDvlCWDZNdoMlNm+5G0/zCpgrhJT7pZ2KYqg6Jto5yqIP9nTo8B8fBeqK4lWLHXoekqhGwMJzf+cEPKbx6PIB0WEIF4fpnWkrTgBM4TjUnOD9mlTOGP8t0mcEqSepKj1h9b4hGi0TPj2uKrW03y0CU6fNSit4NWh4jjyRekfcIbxq5fmpXl4/q1vrmFUVA1Ts4WqRbigvE+mfKUoXTbDvpcTd8rj4HpliQNvAUeJeCm8BNnj5x3OIPwBORD4H41SgDtxpYdrTB2k60st0gNfRRDQimsqWB2VEphM1CEN6nLGkIYcoohvIPwek6oStp5MQLrbrcnTLiutj/FiXnZbB/reNptsmqFtFohgHOZEKtpLBqzFtJ+44U0eDFIsAxuNXK8mL1cZYdOtESKPZfemGXgcQEGRWpojX3qxKLaF/v1SgLFiytmBLWWhIqbya7qVRrBJMfjLVXFv2r3gx4C1yaIfixp/L/SI+jhjn+wcWAE5xKoz6VhZv3uQ2vB41l7gqISRPXdteA0p8NHuK5nmIztlsUmV97fqJZpAEzW7F6Eu0xD9nNaSd+zxQJBRMQT/VcRiwfxGiol4omT0W/ELz39QXAinXHT7TfmHBHYXlbil3X2gZROF/0JTT8A09MlQz4sTQPTqdpav/JILKKrvoGFqcMyNc1pXFCMJdjla+8Cg2xY2OeiUq0/qst/hwipixayZXbWs0aM4bZ6dzCWadMoGRGRDZUub6/Cf4fVYVDfkluNhbdyquVwlJmB3g3IPmg4gQiAOq9DBXEf6vHt4u/A9v2SvAPf+sGz9Iy2Vz7AZyGP5mkLOESld4cfSsVKFSG3v2nYyGxYLdr8GtS6o0C3Mg9wvZv7OQCREh4sJQ46ZnzlCterhE7Dp6Lazkk7DKvQ0/+C7bXeeX/MbnfUL5r1oheEd4kNq/UV6OVhhlABzajjXIG51uxS0HKITHAxf31oLHM25TkLC2N5el1z5rt0IZkjsjwrOxzuiHjThUVZYK2GEMJvbXVQA+ZJ9+XLSEnPt9wXurgcZp3BvXANyiitcR62HBDRdG+9DAwyfj9Psb1a1Ciq6UQYXN6vwJFdofZL4qsDRc+DrwREV0ZPntiVcebP416bGDDnOJxK/ikGJYyjFcsSd/d7zvcjKwQs10Kr6bzM5TQAij3zj97DMH6Lct4+PR6UruJT+wJmIX2QIFZIzm/nbsBiYqEbI+pB5y8mArYMfXhTBzSOVOV4lMywAjYQx8eJfQb86ZSmetPM4orMPj6DWKTD+Zl1csCVvN24IBXmyI1w1//DwUfW+LwtSqr3JVMe+W0bAECTD8UqOA7j1DtDph0nfU4pAS4S7h4C+o9azdm9C7UtttHjbH0bd8/kNdUVCPUKgum4wyR6Mm/UhNS8gej2TSKGIH4ULTAN4Un6078pVSxgrPkwf9K2q9fIbAxmTPDTYUsHZhl/Vb3GqJHQPS2/ANBLa6D7R+IH6janJyMJqHWYvPdc9vCRgUuxo49VbWR2TlGNs1w4kluvLuha+8gQIynIP0kZ50iQoSncRTdPhDZHhcJStNJJAQPhePRdE3nKRPYn52Egw8gTxQIbGb46zrHdvaymxPqSexny89x2jAISeKChY0hBGGKQhs51ez5dVu5zzP0FGn8u9jNlMa5cXBog6h8LKrKHmdUnqx+tb6wgEoBN2may9MfvF5etXCOP0baKIeNiPCSW4fTLfW/i/7355ZMtauBLf18JOUOuY3O8sEQHRjcbRnnCcLPo0d8BEMOhlxLj3w0phA3pWH+l7XeIs6r6k13F3sfeP82dGIBiM6lRPaSLE1ACycVRU1kfRlmq8isBiiW6K0URKYcmdHibCws4CNS9n0WzQAg3WuVFigQ9wT5cEZRhIYAcePsNk+bNgFj3SmZzsB9VHJGT2IfKs9saIu2lJAz+JT0oK5xUOj895axr0Yb6P3ABkAvoT8T3bir+EzezYQ+Gx16JcWC4yLFSVdvK9ckJLiW15fpSFAJQ6sWIJ89diHXA9pOPeE/hxFVWJXRm1woYvqqgGPZc0sLjA03dwKy4l4t62asyqHZkiTqyG9pil6t86rePCbbWOZXmkzQZUmeNYe5MUDcI5y/E8c3CAX7Z4jVScO31gAqMoZEVI6XvIeNZZM3eAb09gUkXaiv1sr6mIjiWvkII3QSBR4AwitUSJLQhzYKJOKbCckjRZ5Q0LNlps+JE3+LLrm/KhbXtK8hzXrf6yedEknV+DYNNc4aLpxlXqWNw/Yd+FCE5jT0SK4sBeD/CSKbVnHv42DdRGZqjtjAqDyfrMsUPtDUYaPSvR8WI7zp/Oc/bOdN0hHPTeD5NJ03ekhQoH5T2wmwWFvv3ZzHozHH9JYlBqPvP3SzLEE0/J9del4w/38MxkYP2WK6FHY8ee2S7pJWRMLU0olUhP8+M8tpj7eqtiGSIVcDURf3L5LJ36MZg9v/sh6pnv+SWbw4I0t/6qo+96ZTd1lrP+PDOwOBHtdWlOK2+qyfe/Y4U6E15kXaGOysZZAq86pITkDye9aqU6493K2GN3uPAL/gNIO9n8DMpl+mZIi4U6HWIHMI52WBypJa8cZ4AMlNjXf0SgXg3DS0S0MXyf6L3rW5xkhod1FJ6n3JWvrhCbVsWTpGUWyt7dHZYWhMLfuqQFrKIXgQyiWARYvabz9+hqvv4A9XCzwS3EMqvzGOIctE0zPuHvr2R/IBrP85iTwDPYmA13UhhBcXWR7bwZvNMk04ifQX8LiFxRKCsRBA9NsWQK5t0lzjDhDiyKHC1orIMNXAaYA2izftYfy+bTWMdKrjX4k6gkOgQeX6M3/34Z9biDKmWU++keMa5t/fRpDdLPL6vXZDR5ZluCYyVh2eKKM0JpOboEb/WL8MxE86UgCm6sIYU9ijvB1PSi63cewE5ck+0m944GufDmo39/2jCB9lTKrBGm7jzv/pzuvAz3CPkKSbtUnppKxydq2a0K7KzTkhQ4tj53XEQTN7E6FuTdaLaS2XpEWMNECyB8nnLhU9PvFeAeIy4WBmNaoAN5x6NePeN29IL88ND0Ehn9zI5YIPgbakOuPP/H1T5Fa1b4ScsX0DWe0pU7mMK+x1gqPEMBE2+t321cN2UO6yr4l8h2Z8L95pLCGS9KuJDtRKXsSy0Hv2GEarZhirEW1pY/ZeyjieqKGa6DJvLgoxBRIkVs5cBwP3hDkOuT5FPi3LBqpDy1/AxDnQEfDMTcz5yiG1D6mCkhqezlrdECcxgp9nnstSaiiUktBV8YbFNtbjDalTui+aU4fmEQbgxj2pG7QRJG7+ox/2lPsfFK1hAhc95944bDXLpwHodOkmBu2EypF/MQeT86Z4XjrOuR6Jn3cZukS1tuI9WDk07ZbmmS1zBKpxAGdCYcRKWAsWCyq/cjidxjGCbNVImT5cY6G5NZq0zgc5BIVGXM+h1J6ODcl9v7BqHNpob3sI9zxwLYpoPomSDHtvsU1wtSauuGZA6rFpx9CFTSxv6Fw/qtLQaS2kd4zHcbbOHNltbBXtSXC8kpda0k8AQAHjO5dbjhluVzdLIBMeLqu2fCO/eSuqHeD936TmOYjl7lQFJVN1Crbn+JNQ3oir70yuqR9sSOKYttFMl4eM7zI10EKApdafym5oOT1ygeBDYutxfLV3DHg+gIdPIGLzWpUTU/Cr5pnm4ZLwB5nt9aALstQrAma4xJm/I0CZ7f1HGaLKbJpA0aeSITkxP5or7tszpzNr8xIniGnaY1PCblk3n1EPYdNDQRqQhrq2RG8OOxonfi00ApxZk6tbY90n+eKiL1NHcFrXKSFWrx3JjJRxVzgXbCLt9X2DO6n7pEFXBR9VnholuxR9HQqBeZv/NYgvnA7+poICkVhWAN7nddHrFd0eOgV6uAlIkuWK0Ah9FE34SqSQdVR8zM9/eaP1sNfOoHOl0VQY8t7jPRGV18QEUjwdqKum3Y2Au8N3cwPAANUfP717Wqj1N30t73zgF6a6UvpztxN/LLmIABg95YIBVeusWc80QseX1i82Q6iE8/U2eILPTwt82fX9QeM5+yyWNHalvu3jTiLZBb9tz8owYhWq3ebVDgPuyTvV1JrWGBnMkTuxstOIbS30xW8po53KPNjmRMcOVgKxN+tFNiYXZHDEzZmEyKthvezpYCsm8nyGZmPA4k3nZo9HD/OvAyOKvYiq4nmtdKhem7eyrFJUQ6hvxlZVm37IbRuv185kaM+ddHlh6xrp4zdE8wDA6OlN1Jt/Dj3RWMuSXoGuxLyvkn3XjVxrm9Oib5RVo31WeT1IPKGiie6BzIYXKTRzBUDOfwabq/Kli0NnbGspOBl71qSEA0LTILzlyzewZW3QDbQeshCrUDxV72IiolJiweNCKtfQw4CVFWzcdHbDST0izvqO4EM5VQgG64xh5f5a12YEhJA7T03YBQF1vATtt8ta7JbUEQO3y0MM6jw/52OjJA/sknR6O6wQl2JvqaUkOdoInYLfXbjBEeE7O9OhmvA6vNBcCYq5SkCcqnNW7PpS//gP7i/CrlYTitChOcp5Q0Xt7m92Xbv+y49ERDe/e506XPu+/yQ3kTOcqbKpJDv/rl581JQDE1mrSg44tjgepWRUOD0Oor84qDEd+iTX3bCkG9NnscA0pqoiFtuJTLoN+bAfziA746wDy5vIuRTbgq4M9DloOGTPLC9OpYABgRNHSMK1e+Iw6knFi5d7g6NbZXiedYyW5UnRFlgyMeJwBmK83gtchRbqCVtXHXL3SCan2r+AsxJqGb5Lif2Guu7RATY33p+SixCtSGqeQ/TCpLJwSn/q1M8+SpRyhkTMOUP8jaWtT8TjMZFmQ6nTPamN67fxWc+VPMjmwZT7L+ga1IW0b7kZYd0PDtQigXgvzk3f9STVU7taQ26tWy8CnrBxKnbLLKemq5+Dm5N4EE2heSyLJvMqeoSADbSsQfSkTBXP+L8TogAOR9CmXmRgkhKzj7m+pbgopc7ngUSQh+RUG17oMoee/vYc3At8rT1WdcXyMkKIoPORIa7aHuc4Q4y/LhTg8hvA6haVTduWjOLvw4gvAHxCqCjUPoOBifFRiFe1i3hh+3QkUY6U17GpwpFoUcF2ZdsHhYozqEtOeOKcXpAUonvfizsmWbnZt5KTgr0n1wBAdIi+N2Njc7Sd474X1jJg68rZWGUba5rG+Yme9H0O0+x1FqjC0lvemQlT/bg4Q9WesRv0gQRnGpYxfzpwOf8xlDtI6U+42qxcptF3lbIdeHN43RZ/NObn8UkM0kb4tgFmGCtcBp2GYwu5n2kcygnc3GSKa+6FElwg5zGhCo0l/SaXx1EfHxNHqhpawuV0FmblrCezimfze2gVX6/TSS5phW0RwIdfSklEoZxd2fe8TsP9l8IMzYQcSOt6ogD2DLsuhoJrO+GqgYlCEhmsk0mPY2/Z4V7X5MCx9BK6M1V+3d/sY9Bw3hK3TGflP5Rsxhp2Aqy88cMh2HdPPFF5lhLP8DkIiT1YIvIGkYlClUSac+tM6YFlvxwrrxjj7XwsuM0NJ7sDr5oF+PbdkUH1ng/Sg0UmX5KvO32EuiYrBUTb3ts1eyRb11xROLXXe3iAWRBWyMrH+33dstfZSgSaFl/s2D+NTLwVGu1jOxiyUyKanmoyX+WJnHgM6QZsP4oXUaqVvOLlUxbj28STEB4mAqrde5Nc5VGAySwQpoWthGvbg5Upq9K/EUDK4JJ9qPmxBLaDyG1bGiHZhBHquoiFLSvSVTyRXD8qIL3GYwEGGxK+zSh0Ao9LFryQQRV/5fmKg9KsrHgyXleoYv7hE7RdlntjfJTlMQaJfoaLiNEE2G/+Eqzzp9HoPmkldzC0hh1Zu1/gN0OdREFsefwOcTPFiTXfSH1l30sqrYXEh9nM0IMXuSka7VUeglGIMMqD9uQdawW5ici/lDZLjLEw4sreGk65QdrpFb9KwcU3D4eqm49ivgdxRnEmqmMAWdN8MkW8pp9zEcbHsH+UBm8h7hzM5cRsNAV/XDhRZsZD4+vKDpRF7gaOw+CI+6CwmmPiwjwZuZ5EHsaCpWi+2gMCWwHVzaDC+J4MFqPrNtKGDREHBbQ479MRbobJHtNtk5bkSpBmFFaOgtprKaPUqvFxPQo3mjabkSMECaIIc/Csw23CbooLHoPGBXh90p6zwGCyTS3sFof7V57Q2N+my6O1swT4T0O3WDA5m8IfriiEQJjrMusAyekf9l428KHQvqDGH9QwRT+bU7qViv6vik5BAYBCuOhcMj3n2aWM5W4SSNjLXO3sA1qruNOuEUJgIVtgI65a3RKz408JYB+TyYCq9s+b9L/jZm0dM0p1tZNK5/xJNFltJxZJQo2BLJx0Ir/9KQLNoBXN1dBiIFSGhR1K+Yqj8s/fLwfHFsrHCsaC4ykMU836s4+aOUtTOrTM0k5yIciV9Gm/SXZEIRERVhlTyG3kabMS/dh5KQieJffIA4A2pFL28N3jlsCt28knMbsnUij1wEugr5R3DvjLzquUG6AbopzX1pa8C+95TOaUloiF4smVzWWz7ySRNLSg4aPJTvIqX3t44iKRr1mB6UdkmJvCO0e98wWXDRiH+2tdevkTK5kqPnXzpxbH3eOEWAAp/9D0Ph7eJpPRfH//+pxEXg1aHwzz1+4a88jjOsvrONRzhYJMBjwss/174NqCTVbWq08lUX3EhUh729D/XdZKv7c8LIg6pEw1sMzQJ6R5n1qh6AJ+NVTxUETIWgG7FJn9rVHhrnhG9Otazm6hPLMoUkLXFkCQFR+7TEHWA2P6kRjPL36kKgj9FPDoVqlsJ/LuJ8x5JVrv3AmVDDvKAQXQJHNWIk2AX9KylSmBgrsXftiWM+e64NtO6SHQNwZABIpI2Z4r1T1dle85jZC9viJPtfh+OvR+U5TWhlzkD8zE8GzpLzFfKnerYOtYtsxipPkrO0YAyZtlJTXVMpvbWSb0qVWJtT9WQ5cBFtPxz1a0w8n1KRTNZBA0r8FqJ2Cg/ZS+QyjXwzWsUWGcM34LIMhI2PX72C0i0rd0xQSaav3vGh4M5aJEDyVnxZK5KMbAFjB05/RKziZwx6J2HbL1zOZqncBpBt7QhBQP3dYX7xygwfr8DtCREstXa2LXZ+uMnzQaKTG742vIDe1Z2LtJ8ltBt9iILn08qrfM3EjDjmy89XzIVBF+s8X8k4lExy4gOdgWamteQub3zWAOOBmYyepE1ATlaUyHikurfsjeYw9bGuRzU3qYSibFOxCQaaeXh8G6s9qVvhV5B7WNQpPlZDOJCWEnwaGYfeRGyfVtdZVmmsZ59gupEGUdKHzNd+YiCiijKz09pjH91lRDhDm++Lzl6g2UaPh9gITjE43Jcbcw5DtaoW81kAuCGy1sHi0wL+SbII1z99STDD4wRfLOITKspudlVstealHHGMC7we3WxMygcLdc5hQ8pPOeQxazs7eTU9a8hOJgncRl5nhnWaOFu47k2IGjglwvVrXFV3YDwluyRWC6s30OMoxB6ZAxzSPC4AINx4ZZ+KsROqI/a1alP7oxs90992pPZNJfCDDaa4zzW1GO0em0VTJ/4s22gkjfX/siPhTszQdiavZ3j6e7p1ipiHnu+tP15k08w3JlckjEW7X1Zw3+rIJbkPsbiFrUaZQO/M0RZ7sf3CBH1OcPhY6aLVw1J+iZzlMw1s5Edo5Y5tsc6la2vZmr3S47fyH9guB+picioVBACXeilfKMjnPuQJScyd92VV7LWAw+EgyD1RwNMiK6LBH2c8pCcDbDdGtWelyTCCDbkyzUVb/Mkf3MKkNcEWblGxkMBAqDyK+BYsnh1LE++BYeOApYscEFQ1lL8i6Sl9qbhr99mNOlPjWYS1QrkKVboDDwPF0rKw5LUa+HAeukZGDUIgRrUxn3FNSCBr4OV6XqfeN29Vax1PDR/O5zIpRNTA4JAbrLMq4tHZ0WTqcknoHQs3C20q9MmRqX6gs+8QonJuvXyYrd2slgXjpn/7VI7BTea+8GrQ0I7dlgnv1gWAjN0WZtWqHhZaPYRw48Etfkx4zrwEXviPwE2dNsULwiym1iP1+kkOhLWSTGwmKORtF7nxT92tmut8Arqdt64n4CK1clwgs49/2QEHPxAYeeKABszueuruFe+VPAVZBpUPYCIwi9Bmij1qfaYYeO29i5kF/h6Idwbz4AZQXs02k0T8CaoJHwhf4oBdQEjr/gLrhxowGMWsdpp+5mf8yJwOx1jGg9Ei2dt9h2syjcKeCdnGJS5s0452qZQxLGEtfC59vV+GFTVf3mq7Dv095l/1pJyvFeWYMYPBqiwp6/iY5lcxLBOjezP0g61u8eadzQ0TJjGpjwgiKHJ84+2riDTJrLjcXuQPTEtKXZ2PbAP09tmTQnU5gB5vR6yOj/QH9XjpLjdDYL5SJWD3UrBKZqC0Mjk24tWkhWQrM3XMxUQ60gwn9OncVQQiCe82LYSuEGhFuvjiOrMasKbEIERwuH3Ztwnv5lVok6AojBCJhVf86DLAkly+p8hhIWySo64tKAk0M9Gum/qkzFUcZSHnjR2ahzoALy1All+HHJzun3yeygMHrJq6aUIgH8cCF61+KFsmD5dmM7VanJ5C3jHh72QiXupJ8ygk4Eg32ZSGYZJdvolzwCH7x+Gxn3n62QKrn5ozfzozYyEqfYpOXitPi4lOJhOLTg0vyqbGm78V7qhJoAGUhh0v/ixhGsPkXO1gBrjy39J/oY4DNPPjQAXUbOUuwzcavKuA2aXbhlCxgPv25HvSXRCKWQgdlvm3x1UrzXtg7I/SfHqCBOjRO+PLxHi+BpxUoN6toX2NY4S5RRaSXDcv7JgBnYb7Pv5gvY00+9tSQBIgR7knRW9XUq5QmdpegNsGflu7kMGgmFr6sB7yDx98aQVx/pltARlHKDUG9xGFX+55UntG+qS7zAFjHXbY6EQbQjm0Bpt7HJvwFvF7K7VNylZEbrHX1G9uTx7S5hrN6JU29DlQKgrBZPVISRAT5oHhWuyPyZU1bubsKGsdEn6xG4S5d0OTMvPLySTj7Wd9EB0wt29MqjDFS1eIHqKbOjKwrqXDFcuOF2rmJs48CPe00MWNbzXBJmpI6iuBE5lwBHLtvm3+7U7T4ydHQk3j3HuKhYVEWzA+DHO5q9v3+0zOyBYAqU9RBx4j8DOwDMZyupHRmn465LFca+V5DiIM/gfxd3YhEjOu8iqqx98RqxxVT4YUcY8F1COGctEKVosmZ8nvxXOIjaVdodi+7d+ssRvE4WJTW92J3htaMO6S2dZwWLvRff8fQ854z/fxlmGGaKk1cKRlydQw1FiA+k6Jc3tYS8dKBmESCMoE//e4QfkJwXp+73zuOewxfPfujUswlcF3T6XC7ETvhl43K/Zv6K364U2y4WSFIzN1F9KmUt4TtjnvWjxJKFmAntHAo3YnjlLCIds7RCI7EyBRi8QEsOWfCMwREEUROGzHeqk5b/FpRxKTkoMFFBfi6KnppyCd8wUKbIBfZ0NbT6R6W+dEYE8LpJ/Mu4ngeRdmQmT2hbBAJQ7Qf/jLjs3WhoKjmoWFZ9aJS3IkHjg2yGoruJC2ymTqpvkUWhE24kspBCHT2wWGKoPl8sh1dyb9dX+BKmKuQUSlCIuFhnqgHnKAJbMGltCGAt5XLWwmJmF0BL2iEgryTZk4Bi9vERM0j+NR5mhqjxhLEctj2+fE3BGo1Y+15SdnfQVf+vwzyWpSdWanZFi2H1ARIprvT8eg//4j6e0YpkoN5kQbOIL96cH8Ui5x8Amdw1G31cj6EopobuHPD0LMjanhOZEwbrHzaHmLchj1PUlytl/sDtfTru5FvrxoxeF7/89Nq6IghxxyHADD0ZKSqAg5D9HthPubUFF/0qA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Ors9Vz809A9tOjB0Ql3r5tWPzQmrGw1ve4RoG1xQzfCcgfQqGY2PECulfomUwOzBaui3ZUBUvTyQqkWJhs2c3iXSu/yOOh0G+0U1x6nE7e6sLQIkxwvOvecLQNBdFs/wijX0eJQL5Xb5dI7yOQNctvDjj+n17s7EZqybEWemalcDPnbnbdFvUCRqeeR0FqUg5bM6Q3LGFpmsc4Lbq2bkFxsCgni6d6E77jkQ20If+g+UkeKPaOBMPnc70w3iRgcwJloMQZIcvOol/67kgOy+8T6u2fq2EuLZ2Ng9Yw5rfrjysakvTOQ1iS/dDNkdQrk/aepdl3ej5zn1/sor/tSk0jY1SsdWBb6OxCjxBLyASFRe/P6xTWuvS2YgInEL6CAbsb8nt2Mr+uCXL+QGyfyhk1ePIhbHQl322NfC+jGwJ911SW81SEcpfS9npGcPzaz8LzmxfbZEqa4iC/OlGcwlnjZZMbPflg8LInQA4OAW7xiz/Ifj6PD0ebYD5771Dh5D66ifmAhZ3zJAihid8cvF/xzCZnt4w2vKQWsVHm8WzUOf35U7+1r4RRhOofBUE7t9IPdk3LRBNUsZkEP/6EKnSJ/fUa7kKoFjG/MAS6Q/DCUr7S7baoGlWIbMIfyaHd4oCgUywGvOQym6xYZ4JwYzDqrF7IZ9+fsq5esqCXddwRkW0Iy8MmRC9M0pn2TWeP6vRt7bhrIm4aFmw9Cyiys9msVvt1qR+EVRkhF9rw3xkTBJ11Gl9q2HuWTKwZgtlsjI/HAMyjfzqRukNWmIwiAfHxC+ADWyM+/kUHJrkZs8qbIZ+KKcZvweBdLwJAlGBSpqH6bynl4hjQV/kv+gCSyOQQi7Zd2DS2gD0w+FRtiszs/L2fa54L0RC5c8FVO1QpW/Q4wb66dgcpftk9CI+LVeKET71sNVC4495pxv+8+xefJH8WTW7iekZ82jas5RR5Br8SyfLMnD50RbNnI7sefCVPG1CRsJb+l9UDJx58fL6HukWBqZ9A+rVSkc9mnfoVd9K2UfshkmXPPOsb2uzIKlI0JhPr472uWhkfLz+tspiKwjj3yoPcBf3rbVDEWdZZez14B7Gx5hKpgyCzzUHxyL4oJTe66x0wYwLhynDcjGpMrvOwAM1Q3L2/RZVlP6pGRlij41Zb33Ut8ahMXyekrktHZ2JvYcMyvaqeSca1vGVQQMz7uH8mwWouynBbcCyoS+en6xZLutNGpGRXZGUBeHBdk383ANrqFGkwUIbmx8jSlWuqmiONWv/tbCBTccj3xypce7e8egamncCm+5LGwiWREgHhHVGo+JXLD0scnjTTRg5+91p/1wp2R6MfqKZETWaho4RyqqeVqognJz1v6mGl29k4fYrnXgYfTTDSGGcp+lu/eQtBo9y22ka+4CvSAPtPIe42oEp+gc2o/eCQUdoi3ihrIIUa06NKSVWstJzLsl+dG5UcarKTj18QsTELjN3P2gmlMUp1ABc65ThSjzupsYrdtj48h2MUX0me/0ObSrEURcraZqVJN75whBK0PDoVMv2edEPLM9+nl2mzqiYRX4d3QhZBKJPsP1rFQnGoCPaU6+qia+7s1/dI67S0RYM7pZlfQE+XphPjQdyiLS3gM3UIQOmgsltqzamn+CpYm/6G0/pk5g/dwzu3Y/RJY523+qxs2otuLfi+kxgoQi/p40jSkO1Ot2esnRyvcTk7r1l0g/tqZaXC9utE3J8TV45YPBdPYvUKSpono8VBYWL0sIew7CFosgDBCkerXEtU4r/clmP2f2MBx0aJsmXjLun3Lfuv21QauXpFMlrAG5WS9EGXliJNg/RGRbBh3AKT/wDrGatc0h3hCqu2tGm64hNZ0M9/EYdSVd82zIvTW0CY/yH6n9G7LoPPVlLvHYCFeOfaF89QjAqEfNKziwyx2//m6NmbERh9pGnt8QzI8K6FXvNTiFyGdr4ssoNcRN8COq0VXIOQidaw4YMCO3MZaG3FG/2ipCRMB/zBl1tVudVi5gPOrzrx8B4mJldIPl+WWNhMv1tlVENxx8OuxLF3paZpgZS/ZZFDlk9JKhbn7VRw6hPJcVB2xzCPiCo3iQW1LlZ0jQFYbTi0S3Lj807fvv8IWw6gn9ljVtV7ThinYOfAIOGAgYl0YkYmpIT+4djObyGcqRahd6Bn+3W3iOXF9o00X4zmUs75EMouv0HrBmcWoeGdslsTsK/gdfVd7JmBJteomY1H0Ui65TRw361Apc1EMpFFNywILVXJKR6RcIbb3r55d3KQk6rPVrr4avjs8XMAKbifxwPNKC3keKhfn2dcWBp2bv8yimzSrjeAMq/ERZ5DF+zfbInOQxQ4FPhmijvwOpwKFNjgXiL767Ws234TSymdDipYsOkbFlgXsDupGLCz5aI8k0h0hR6CDPq6PBIMf5kyo2b4tcba58WGKha6pZCJZBw2JGM1moYvSusSou5ht6xM12RLrFIjPu5AFNFMlWA6h6ey+CdsPov6z1drCKdpGoHay3ep03dz0IOLUI6uM3VJUsYjioa4jfBG1SQoHal15DTkyObIk+g4DIkvWv42ZXnEAluZW2xyxvaJm8PZyt7XBTkXUJPsogpJKwrMhge+lorE3mbxg5SS8Q+/oqrHU9puVbRMiTOelzhC6FpShRuomeS/uVC7mAa92J0ZRAJutZmnBiREggJhpyULwctzIRyHHJ0Hqx9cIlliCg47bECTrKCIT0GzlmVtIstOsPf20ZJbUjM5a5CwOJNN7dU4Nsamvts1CV/uxAz6JAOplMdEblB8dT6quwkxfbO6m0uc4UxQMn/XfT5py1i5TzXo/sDlF7t4ySvrevhir0x/94q0w8dmDcH41HXia4AQKyMZc6+6gt+Ao2ywHdc/Y8FDTnxQOHOEsnJJDHYgoEZXHRNzIvTTuo7k0gFqXFjiIAurn8CNZl9bY79+ZrBFduP5hOAVKasRMtycniMKpWWJ25WTu0oETOiW+crkIBLLgHlkANlfOGXzZ51Q9Uqi7J+yMghrzCFzoy/6hOhOV9WH8/HLNVuPl7Ndmi0X4xZbUB1yB5V2dhq3QUcMQcGo0wRumk/vWd36BuOqNdP6yk1GF5SFFqeTIQa2w33e3xVXDhghKJz+rq7Ha5bAeBGDurGEkhdKsGtnn74ip6gp0rRgfxj0jZL1mlOgydQ9y4U+A8KhekI7DH835BuxpSEqhvEYIi53xYE/GFSnNqcrIlzqGrb2XXMcliAlNAW6zgGMHJpDWzQBs1x/3Z31odw8iD6cOtkujpMKR9xW/XhgInPeHtGeID3MYCBHQuJXTq5LzUEHs3ju8HopTufL1dURsROf/235dhNOOmSW+IIyABTddmlUPTHAj+hrmPCqkve2LUzPTAdMfbotsbiSCO/1qiv08QoiRQNNTicZU3eaTKAp2VR3aDlGjlDQfbaZCPFwzl2XkgN+zFm+5SVGSGITpL30pFPVaYrOs3vKeuevRE8/EIkHPavZwZPW5+rTX+CZWPp6kdSTybmcBsZFz089St65LE9tIPxW+laliu0GosxrObOBW7knarkyuVBRctJI+hI5HfPwxZrIzpr5+4c1Qcn+Diyer1MqrSEe2kvUmwTQzpPv6NeYyHf5cuKEqIJKWJK+Ukrlcm/P3Cf2ik1X3blnG1sX91n1XRxZlsSRj0PC6DfT2KFrvel0wmWnEe+ZL91fz5AeexjedRy9YS6iRZ/xbc54wG9HF5VOoLZICt/YFujWeMw50b93/IgZgY8aBxWlYw/pp9/KNhvz9nR+qIwkq6EtSrYnQ7vk29TLRB/0SubOvfm3w38XNlHwqSxz/fJx7U80I8Z7eRrY/rGCL2effcd7lGcrzeka+qYF90tSxkQfldIANpKRPlg8ar3X1cDKqq09O3slwMNLjHeQa7/sJh8WfO/YtLn/2uWS02FGkX25KE7YoXuZYg+v+Hu8AjO44nXK07XxuD3TZwuKCMuT2AzuCu8dBb/F2Vn0OTtwxv1sPD34JwVrEiwKQfUG5OgLZ0oY9UYVNWQ755MYF8Ma67Ynfa2HK16/o4z3zRINV8tQuwCX5RB5hneGtPFWfcKz7SwktyFlZhAoOkBx99HcAaYgteO4UlE0VBcAgzkbFacVxLDVleM3pfJ/5AYOpzRl+aP44r/on0BRsCh/6WcfqfEMGMe1CdfbAeB5EjL6+lPYonlAHfAZjYC/CkSDmnx7uJ7VD7HlxQ8chkIEIOvHPCPQMPAkRvMTJFnf7HyWk+hGuIM8adYb+86G9pfL2Z07SNaOk0Sz14GIC5UtvIcpTH8ItqfPNxAEfW75LsKfjAwyymc1dM0wcuYQpaWF2tElSgh1HV32Tk92zswATbBr3BDIYVUsuf6WeZXMXB0U7LHgR/tkZgKRb+IThfXn42ZYdcAAU94mHlV+7KCifz02wqL62Ih/tRyJk/Qhg3ivCzS3S6+WE3OOer0zzxpNoHakDu1aSMuv6lnufGYkKqDPDCbMRe7IwytIQPB/rLtXoL0cfxI+POaci7YlfwxTsb2T11qoE5mqULNiVM4GULPwuIEHp5uJ/t5NPmf4QZRFj0QOqfmf1pOpLm/SH27cng6RkDcCgOkpRn69e3tTztmSqRiqXEqru55rtsx6qDHL+5U+Xs1/pBdp+NsMQSVAx8jRCTTB4pM9U4fhCVzFc9RS1omZtlPs6r499oAcHurNm5PPWhX9pUlbp6wfKzks6DWUVTqYB3kxzLcSZlWCg26qzFWOM/jhl7TAPrcajxY7cFMa5UyVWRkakZbMg9KKQ4QxZh1L5qAO0QAJ79x2SwZTSr6/LXDZxo/IZY0zlT3LfQsovWisWf3Py9UC9W85Qmd3ZOewxxfKThatqPYQE+6ZToCDkkn+YTuLmrp7hLwpZ+Z71GSPJgtJxMRN1CgK4yK5zMwfFsWR1n+/jP9yPhw08yMYgpRrgMYtvTVGyKtQqIkkJMr/uvuMTUq2n/90TFdM60w3USmq8ciTJb/3s4Pzdn6mc7Q9691ozhqMpedY/BlNth3rDb+L3VTysACP3O8ve6pS0eawJ3LEA6hzDAGHPWkxZQJGVqs0AYELc/TTapZN19uuhgprsxO98tOD1Q6+wavyzjBO2v9i+xMn7UI1StiQL01j2gIwlMIYIomoUc9wvw45KL0vRW9FzCSQKv8HjbL5PW55sM7KWOzsOTJabftchar5nURjlxfl2Y4D1Z3Brbmz2grInT0gs4pk1rVoZBu0cqqS7eiUEXQilSo9IL5cHDmBeiPWwrV7+YBxxrX46Iw7Omn0V7OjTB3TiQkj0gM22s33vM/dRzg6sNNgMY7idd2mLYg7L6zF3IN8Pc2LY0cLtoKDt8KmJ+LZd+e7OCrNByc7qyn4Cqu1qJ2quEZ+mumAbtUho7ZpHDS6dO785XAWFgftQRHbf7GhtFK3bo0qeiCXTedlX4lmPVxZApkvLcpmf4/hT17SosYDtas661D2oCbHuM2A1tg41ji8DmIeETXATAXtbOMyRo3UqdVu46ogVEa2j+qyLgMviReaTylq8oviuW+shLP3SbJdLl+H/psunUh8RZBjqn97vMUpwYolaCWm7BSst+OBAO4geCjKE04eN5/YN08/ZhN3PBR+yGtUOMHcYjIXgINfJ2kW58fnrnWNxZjnSlWi+37YG2JVmGGySHCjZtDxfW+kOUbEOUkxRfEoaRtRiLLGkw55dFeOaqrTPyIkwE1g2vuIIomX/WU4u69eJyvw9hYuwzUM9QGNZNam/WmwOf9qLGD3R0YYYA1xMPfAbqRwH2GEb0KeQrqh+bHF1QOGgZuRTFsoTe3eu2ZQkzd7ORIjQsk7qidUMLC7ZR8QQv1UxyKlK9NOQgQbNchJTApsDgMv4RVAVoDp3m+xxU726GBREuPQwtRnIOQG6Mw4zyaqBi320xL6RWr6JTqLRBMUCG4AAvxT/B/ivb7d/FJNLXvl40y/RDBHV2G4TugTLAYsaF/r7Iy1IWPFsBf19l79mmFGvwTfmdemCX1YZXytV53amrARJVMbYfz5OAxsaMY6u8U07sDZWaDziPFi5svDa+twCER/aH1kBFwD2ijhQHE4PIlCDrBU0aFDV/dZ5QCXHTACJJJSZ+Sq3suBFjZbhTn7IE3mW5P4A9LvSmN15usQ5cXXgM1ah8ZFRifeapveWx2FsN0p/WqFJWpQ3m/wpMf+8bAIfzO+yjPdwGFGOsM28ghpw0BfumiLrZABw92t1OuDmkhZ4UWdxFbUaaWNnZL6wFCzulCgE27aAafuC644QfhU5EdQqbbEJdHKu+p6qj3ZXtrcpCzmwpifi8F0OhwG5OgUqw0xbmCY14+dbHWydY8EbxQEyLwQp6Dc6V/GpjByWygI/+mKYUHUkcaUYOBqe3fKij1F3kLzex+6sSudQtvJOoHkxFfaBZZFhMa45N1w8T+uL+bCuT50cIebs1KynTBk84YlWuItzj580k9vskdrrKFF1PYa09vvW6713CECINAgckJkbiitANx6KPkhFqeMBE4adGeBk0Kltljb+YQIieYZA4eoumu7YDCtFlBJVBs4OxoRuNDb0AwhSxInuTPL4nT8EB2nBOAG0zyBlk40ybfccp5bLTwkxYiUrbr6NwxX0d++deudSR11UYyDqt4ryA9wsxlBye/9k8XVcdsnTuUwy3IAasho/BIU2EbbCKl4tkzx8BfWuRzS87b/K0fal5NkokKUWENp6Mha6LvfnNJqhzfXe1UZi7yc1ZOzUhTzQ2hpdtj3HkhD1j/BwtAnv6/7VE42+Tvwxt+IGtgiHg+6uZb7aXUek9zLo2gp2f8fZgRu/i+nB52SLA1Ki6r0od7r/nTzVhMZVLgk8AyhH5m6s16Q/CRusfg8gfjrD27s+ntToRI6oVnvOQV2g07ru/aeLYLvUGkQ4T14eB7hMYiwe0MA4X7CLLSAUBueZE1JDANl0v0ozxD651x7/XjQQy6oFHCWGuXH2SzUXMLEEhKNjvvNLlnxUQNiznqniburcaX9LkDLloZ4TmVrJTygJjkPr2Ybnabjm/uzd6vpxdcHxNNwSW6Wq1qVYm5v4ijMZT78rNT8OlgulgP7dyafv7STj0THv9PfsN/oOOHYM/k9o1wbu5bjs9vIvzQ6QJ6VkWOBNmZVAzSKiibiSBiSTLo4EdwWmkUvfOQcOi+6EHwZaR4ZBMhhg+1OESoSuJz8NVL95t2V1x47bwwb7kzkjPAZHrRLk0t9UhhUaDdmk6JRQxw2GoR9P+wKIQpA3q8TRoJnEPmT+qcyEROncLc/hq3saYqwHlQrHE/t8PmrX7nZyYaC29kLuhnPOMqmCUHy3EK1NUHS07eIjcPjj5Xdqxk3QrMpHTLSJ4/Vdu/m+C5ipOqFFgN7qQ2RGa7jmv3JBnMqjy3mZJcqcSsPFLJy3lyMyk+cKDwT685hb73/0eJJv4+2xbuo00CpcC+WNnA7ibkZNT5ckKNIiIPMTKZlLHm3xwavZfw90UtJexu6s1kjjlOzo2RwiXyf/mK4d2XBmHuYruHO4ksBbb6Ub23HE/DXdE3rlbSrFoBYSs+4auPtvSay7HhrRk8bX3XwHnH72mWr0DbJUupeplLmNU5BZ2T58iHVmWsRCQ6Ga1YfrurptrXpMhF3wo2s1LKrXx2duOI6U8a/58KQcIFMsGZMXphildivC+dXHY43713gjFYhPsKqAZqd/XsE3sb9CoPdNPE8qqCWrHezFCNQcbmNkqoM9dH6pFZHprtGMnpU9o3X3KeRWkYmVG6C/QFnJSbQLkuaowxSJIXe+z8LwKl3cQ08lS75Kag491S2kUZxP53qIUt+zS/Z65T446VBavIa6p/KLE034Pp+f3PEo1kqM0WSGrDWmKClSH9wbZ5VTtW3HDBhEsr56Qj+HMqObBkyz8o4EGKzxBCaFZVKfRGbc5yFgtIDERzrbOClUp5z21C2xnXzGhRVB4lMHjYW82GEao7Zq2MTYglgzIyDK1j7bxE3ebTsYG6YUPaOxvMIC6S9zerYYrdqNDWS2ZIFTEJxNZlUw3dEEYvvQvmou9LEUWZr0pYQdyLUwU9LFeR+yS6ErMFdcXaK0LT0Nh3qVOxdvhkgDj1rmg7bgtLjjBW7sS8BiJXGVzkdz7QIGXzLVqjznKuak76vLDnqEH9EA120JpoBCsvq201ara0g5SVHoitGQHfYbFZHpWUw7HO+qUKJFdlOk9cwC740Y/p3p+Gk3j+bv4wqB1LmirTApgRguSc0j/B/GsR8fNZHIhCJqx+gUu66uoJcRtveJITi4xhk7wg3A12Dq8krqzrnpSaEpugmDSq7s8ROSH2cxR5AlzYnGdxIXbHHBUh5BAtrwqAaKgvRi6W6SvQUpoeg4Eql7mN7aZ2/OdRaiDFkTNJqHXoHUxaQEu51x85+eNAttrcu7eVQy1dtwHvWIHJ1XRoThKh71pfOX30VBZDQWvZKYtbobFwJNe2afLmEEiZuSZN1jmuZkw8iDxAKqyD8scCGmZ+uNI7dO9VI5oYryCD0JFd2DEnrD2EbCwIu5NAHbsMSBxBEIdy2i5IwFchxaG6lrvXp6g1j3OG0wkHQd2KysUG8Fumid3eCPPnQ9BrM6JPSBWep5NB2Xmo/hCfbpnYzWx89miuiB5bCbfbmptw9tGzPQQPwL7AVxqcFBn+fY9eJRY4WK0jsOZErPeP322aq58pUpHRq+JByfMxno7ZuZ4kHGkYRtSeneSXGNhe0S5uEfIVWD5opS6y20VaYTx0NznTDE+bcpyKfUBAUW7yBDYJ9a34qy6ISz7RytniMD+79uJyl+XZHutl768jst+qGqje7aaUVmDjuX37zwEAj7lAb+oBhkxp0BLRUh8UZrwoK8Gc/F1h+CmmATf0fjF3sUOC6taXwDNtQmxG2orshglAr49fm6vUHkduv97S8seHKHA79VKyxE6+o2gpP1EPuYOrkwqAjLFSUKoMCVfHUErZH5LtKQJYKLx9JTyIDl/8eTzQCgi3HoWtGhwq6lwqeTwHt9XATds94DIRc+8wNnuFkl49P4UvqcXZyiTPaZXP0abx6IDFmPT7TvhctFTuJEU/Pi8pPHPdupBinUf3eB8/G/03OUbei/z7UGROBB1aa/oyTTVbjA9zYyagLgJbtF5eHHibJmX2UeVsJg1InUk+9iKqPeVAms2/5112uOcPd/92KKrnL4osI2RaI9MeVpi0emluNfNdsrR7JSXpOA3oFFFDmsdn16Qv/r6TzTkDN17+siF0RjaXIsMr+NWaXramAkmQF9M356rhJBYl8gvyE5tlKsQLdOsVyXotaKQIPFjR5IuSZiiYtkm3ubDTENkzItfO+iYFrk+KfsB7pBSUPR6t3/O/DJ5THzvffKqWhdCRYSOJLZjrhpqqUal75NqpW4JpeBLojpO4lypL1jOdFx/8ZocQM+BJ0GG5hl9D8NNMqrMnLrbrnZxOAp64bQTtar3GR0YQFVVypZD4tKieggzCXo9mLMKFMF9tbHPiieNbFsaW7+2ZJefVa/hjvuWv552FfK3p/caIOYj/Obiojn6UlMTjPg+lZmooz06hDxUPC282hfW88xCLnhxu/MI0JHoX3I89wckq4Ur4jfTrg9CiGzLJqmWsIjJUR1upj/5culLHIJaUHrCNcd89xYep3izePGQbZ6T7sDpf57DDf2aHB/mQgwRBXHnOzecpp0vBj8Hnspr6vefNGCRey8UFI+1IglLY7saqYA7Lgc0O64sOSfBvjeIaQ9zto3zflHqvV0sp2E8Wi2xQqXt9TXNBUeMLfI8dpylUfNhkDljKdRP6x8FVIa+Lit5Hyeh//e7cnVA57T+mpAkpEzsUQF84QI3LkWpc2I8WB/L/WilrbRd8SQsrsQludHmtX5klI0GqcAkNJ2sHotVfxK8/bbDMgLCCy0zOkFX4/Gt08ZgDXrLGUe3N+26gJqeuAenr5zchEm2oEIlukHnXfD25/NDYRo6L7aAVQjjQ/QFyNdlHW5Zf9NE2/FfZYD8x0Xu8QJjhAje0ufw3pbmqEFKB/SvMh3aCPjsgYiTUKXn/B04Zik2Gk6lmx4w96keFNVmhpzvMUmSSrL5F5c0wGdsrW2VxEuvkiN5Ymm/CvZsny+sTKDk8a31bw5BDFuXK6z3p96HFIP9Ig7zqo6fNePFaxWqXqbecbcVisZwGHfKYRGBAxpmqH45B2vecySYOcsSRDIoFG9uMman5XUoy/zI6oak4YNkAEsCo9o5dBro2HUl9lrDr7aqYmSYVxwA8AGlKPaX3NW7psUDRQeZ+l63FAIarhWjEZUypaNQDnXsN6uzT4HsjEKffyvx5Qh1iubALgV3pUBMIiRe3tlu0MSWvmfiWlJlDtKDifjjQqNHEEqKzS+VQoar7ISFkZbH7FP6QwwaIfyJLyD68u+JDvcAyrhHgHIUNtKeh66la2GgKYHSZaF1+ZkL1bJuSIAzn3aQ3tPOcGx1PSr9MWggbpfh+HDEM7Hfy1YiimENygt1ViYcTM9t11ri8rLrRgsYQaSLO+9GTSP3soFXPvOaZtrOWCOkpt0UD9RvqeG+7aVKKfDvOnQx+PABiPFpwoz9ToLf9m7GxIrvptaSXd4D9OM0G++oJ4hcYdtbpPQTFsetn48sHMmvLixGt99eRl3xeCeCmFtoQqJUiBfgl5zg50ikNz+TnqljYT38RLwfqKMw4t0Lib9SnJFSXIUrN7QHPI7ARTYVGhaTtX8oBSVmjmx+64s3SVTG1rKaJAcg3ytgC+LeFmin7BQqWe6E9WDv1TN7ICQ1PBIf6x9hha6cr/fRG8TR0rA0kqQM3+JvxCiMu8kHG8ZUgVCSv46xHUmpGSGPoQf9gOPyY3gLIOQPytkb/vsFkzWL9u7CKSchTbzygYh+FmL1cVJ3b8dQigEKaSZoA1dg9GlJcnVqpB/qqsbcG2o4jtP3NFFYYA4avmNeSCm0+gt+/UgwiM4LKa2jXKaMewIZ4PW/YYtT9NKttsMegrf4o3ZPxCbTGF5yVHxtNQDogHte7Uomkc3Oiyk15bjbmpcZe0EninV/l9KiZe9LMwOOf8uoiaufPnUw6xxAzXZIk4tBgsq05VDa9woFslPIJI9tEZpeoLaa44LY+AQeZid/r/YYhg0ZMrLP6YcKeEkd2df6cCh4bGoOh//3nFllG2l309wfv3gBsqIn1TgnrTtjoI2QiLSZYhLyvvAxSaSYbZiNP60o756pOtYZfvJ90X/Tm3kuBEtMP+4qWKKg1vd/qRuAJh7JgZIz5BomXOtWa8P1U8NikcmnqTL6r7qGBP/WiOcT8m7+aMC6XpYm7hW4xowPyANBqqSWjuliUrJiNi5yOyoDXLN+SwUNZ3qPqToAsR9JU999Iz8omKB7OcXcwtaeqgfBXybLUeNvDM5T3ehpwz5ZPU3MFndX2V/eKMS3g3qsFB5n1ta5NBcy5pOdtKKTv2WefxHTTcv1Vn9GQG8KZVLbzv9FC4m5GHZXCbdih5UTZJBcQhyJYNPTBkXwwaoqsKNSxDMd530PKJhyX17LSdnpbTwBWE35QiYDpF+1zNN5yf9SgI1WiFsFWS+uMnvdbZ9ipfs8TQY4dJbs48IrcBv5MjyRugPtHsqLgv89xLeguVQmOtg/4japCKsq3Zbkl6BhJusGaWvZTGN42HiYtL4DBkmpCW1KxAvXswuBKvr/nKQxdzspzhbMELW/IERkCuHZpnttNQNt+ZKosAraDxcOTCxmBCnfJvu8RAZp+SSHAdtWYzeW/ZgaVlk15VA/fMFmRo0QDizWNjJx3bW+EtWOmmsKOrdRVbiDwsUmBFF/VAhPgkC5bSXZ0EbS51ab92mKoF1RjQS+bhZCMikfslQZ27YmSpp1qZFHfvCwTlDG6BTHXSQHPld9KyzWRZ9F+Dl30jJ/GCza20pgzZx4rlwXIlB8z0XLF7CiKZjYQEgV7KKipbEniyky9OD1Af+ZEV4DKsP1Vp1rjqKe4B7nIkyxMdHS6bf3EVKpjbeHXzK9n5Kc29UVneEaVeM0CK1QNC0bF443noFpabJulhr9wsuQxm6DYC8fpKgpKxaCeHeRsU7ArIIqij3N8nqck0PesgUzggjs9a0sIE6NJmBHZvjM9MAiAQvNEgmmv9VESEFJCHf5b9UGTs3efCLl2YivfmEYiBJBGLLEzWZYtQzNp0lBnjTeD05bwEFUmdNbFhvw2yYQzdPaGZy4Hjtv18qEsxKjkCRmePlHhalz63qeJM/oxiTYZSAmXxscpbN8CwxApXvLm7fBa3Ig9kMRj5t/ETwTpD+50TBm+O8Bq+5us3xxych4FFcqMFBUHwTci/6/wTgXhF2P8xktWw1VWayPspis49SPmur4uyZPZQLSfKCxwdvcjN4nejpuI46rqAoPv/EFalNe0PcFF+d226rNlhvuFqvMUeqztKeDQ0EIXPz5rxNpF7suiQr+zpHpwrO/59iKoOEZ8avFKXr45J2+vhs86a5rrftQgojyiX7SnBtTk2OzVuB44F1JF0d6H7i6EUw57L6xo14fn3LcQsaA2p57NdDV/KzO7eWHgAY611SkYKo50fbUx1GiDwi/C8OD508SqRGytab2YXIID4RUwjKXrtf7bW8iM5a23R3XTOOVe4hwL5amZM/Y5G2RVAU9gDwn7iMaTPfDv1oBUjqnrbEa+nHTBS0S7dvgmSxDOuoCrDRAv43oXWsrNNDqMbnM8aBgHCVZuK0+hqjn2zqeJETOZyRD7GaVCecSaik2Azx5XDJZtVoQJKL1ibyW90FQrmh//opq/HrXXV3pOCqhdCe0eopDBI34S2VzS3TLjqMzZ2SEV0xhKbuBWFdPHxN7uQJUQbGxlOCyHP1TO7BipJs6O4fWDlwaR0ylVmyd0qPwEq5iYR0GWxqonEP5zhFbIwf7hTcT0Uz5JIE8K4sW2vhembvQUutxuRAguCEN7evKiIaVgX2qOL5gNX7Ou+O9BdRIDnk7uLU+DbyWIoP7SpQon3ZKzN3mPSt8KLf1jUTVtZ6S2502+iABdIocZS8xlj9xWIrhIxaowNaClsFnOa32GV+5fZvQa+KvnN8/b/KoSzopCtBzT8gXJc6vYjxDKh3e/IuLK5727hTDaeBYIG5EadYf10ll9pTtjPo0OGYFdAubcMCMGQbCxOvyS8fjA4knm0d/aPap64UkmnCIcXKuOEQ7RA+ZKWThAionEOjXmBpzvC88MWLMqqbingu4OW+8TrdGqkH8SHLqFIjolJvGZHh9Hkwg+Zjegmhr0lYdLS3ro0Ci7GcB2AhMtvMVbBjTISTw4qAYRqgfxuZer647DVndiV9U/45ddNKXvQZj7dUGJ2OSsptRCDcJQPx4W8vhbNU/N5vBnwbsO/cb70/H2UeLiJVuzNwiT8voBAum8yRARpemLF9P8gZIsOv1Y4sNcUKFuQDj8/3TvY6pEzzpkqRrtDAZgqZook0TYzUh1ugrK94Wur9/fFNSkJs706NmaEdRKBUb1s319Plg9g5dzZvOgC/0a1sn46OobfB2f6hfuOVPhKpDtFA6ij+i/k/Ie6exvhbC79YpIio6CtrI27kugo59hVIHVSTVy6ZhbZrlvkiAufdvw/JqhKf0RKOWzBSoFe4rvi1A7IQ7QCElngdfbeN0sdb8gZ6CcZO7fLerV0WPDAicYDxrfe7WkJfmbPzwzDc76F3br3nU7TcOWJ0cth+X4e00eyuYzWNOe6pdvnZfaxoh1nkYTmHXsjfX98A7J3Mn/I0HjUmQVq4OVAQ+Yf98NU2vOst8QlWanzibPDMGauMUawDfx2q1FPuPaeSnLsy4UTmRJcPaH4YclxJEirS5TU4/rH2bcjZ6fMJpq7MEwBoH6NGYgsrnFv9IliZlXI/iTzyDiJhOeOblio3FSFeK3oecM4TocG1ffG61jUtWe+UVz+A7oI6FMdujIiqaNeSkncwHTwUxAlneFco7REi5Bt+vq998UpbbNCbFm+KKJeYkfFy2XyJXYL91K5pis+gL6tf3D0EuDX1SLL0LfsEF2LFih4GTyZzHI6poV0XHPorAUYF9PzxCaUNV2MilR1+V8x95pVHwqKwwXsZXSPr3Kgj0BOcRcXX1ifTjQud5sApivAm0wStLso9K31QmLonIuF37DegRpgR41BWtYc8fEb+t/ituowSI8wCqurZuxJqEI1wjyLZGOlKE+TyK/2o+h73K1HyQ9JK6Uq06Gc/oXHxQ+5Wdp8eL+VWUTLOxHWUbECyutOiJM/sPS+hOMVFVXkiQSWq/cQMkexRm121GEOA1fZAYaRHzXZGKApBec00S4oq3ezwxN6uu5iyK4PEJ3R/hMraBFIESIrpGNJR0b2JcxhJNOWhIUu00p4OPyqMOmav+HiEm1sYgoy5mef3hUdcqB301U+liV45u+xQqS9talSrZ1o4XXEAAKQ+pE9XyxExZpHtb2PElu1EUycGinNtqnOTu2mqvNE/nABpH8QIfwAdxJ5xloQqvzPZXoAprQSng19w3LRl5XQDBtYuPYZ3Mub4ru6I2Q4iQHwHYHCqRW0P0xbDPpGFxk8sbq8w6UqWQBJQ3WBHC9CdhfPfnkhC9UwteneCfMedFGaiuxQ12w18aG4e/05c5AsxvNhDVcBvdKirYW9vXlquElHA9z0EjSHfGbonH1Je6N4daqpHCLQIdy8Ec1kNDoLu5CRMss7gEQD0zkXu+PRC/28dYMzz+XUeRySUIzThOCyWv73N5b1KDoJ24zRHwl7GbTKwThdlsQOXWeKsmDrEnBOTSiwh6F8Uvx5DnfM3SJSqXkBeMkQshPl7qzWFf8xE0B7R7bv9RUGsjnfm0outJXdK8+KUCeGJLKezbjRpaHeA8pL/NwMFV1DIvsGrcMxUldz6FlI/ycbUNkki5o9Utw4yiy5djDpr7zfn+L0Ism6SD5pNUaXbghVGC7yiSZ2PrKZPXmN2/n4yq8dE3dD5EvdDfDAmt/zPBlBrBufEphfIBthpPxJ/TEKSA+aFXSFyj8G5C1szXoBHY4O39/a9kdOw+/4zX+Hk1jSmB8t6mDyhirQ4eZ3y1EoRNI1F2U4radWpeZhSxe5KSKlbEgd9h+XPYGoecDbYW95JLr9lis6u7zhSsvHuvqxW0wOS/oBp6LnTK/W6302lVFKsaXBlA12DkfPxkoG0zrccFcxr2q5OH4axERPRcqtmN0qfSFUjM+Fgtl4suJTFkkOKmyjaFf0aYIWCs8r3HP49HkyYNTZ61pUo+0af4uLXV5IVuto9F/8juA3knaqFGcHbpyCmXOOG14fP+jZk5GQwJQIZosbUzK25wHK4mpCtXbPhB2SCMIJpmfXqmDjMWBlI6KbzmOsSkZPHciOFSGsYlV5dOsORfVJNjn4HSAqtG2UblOGXIB0WPuoMb/x2pUlXaLdVAJu9guki8sJBAve81B3pra7i7Vrk7inYZ1E67lUvwwqPZ4hdnY/qID3vM5sBYJajWWpJElxwVrYr6IsDSJ494Yj7WWQ09yAjtWIHmrmpOvjjPiyIWFf3rw82kibbBFd+qB1GTTG5AveuPlnk2au20Gd6w2PJcN+JHL09FMZxGkND7JzGJbanblfH/XYRXE1w0wac6nn7vjydGJLSigW96GHLSPIccnfS3ouc2eMObaVxJMkeRpVf2HM7WpOhIuk7MqE2sfZLbr8h0nElC8lLG9OjMdEUqMvEiNYOJ10e+Cy6rS+cJtpKPRaTWjdVGcetV/V0/ecmkzciWXRzMOOmvDOJtmuxakAQZx+FdLFxn8oiS8vAp7pto3No1DghBjijcp+tFpSV4t1BF0Gnpl2dnEcjOA/HwI3Nhgwz+1OW7MrW18lM+rhT8Ee9k6ZAaaOnePBbWMCyodgtgeRbdx04F7rl7SFoRzUunDF/fIzTeRaTxTfOgE6Gzlf7KY8hfYITeB2CCue6j+Iy/MuMUSYFsTeltQi/kCD1X3p2+im8V8e1yREEnNvFuTKSq0GkgFmhCxwJ6xRzXklvIEzoiNtb7ZWRrl46JW7E4if8LPL+De8hAbRCmn23GqY8YN349WsARzcBeIQxtxutGnkoFLdTfOewdaIoBRm9X6DujK4pRnKzJUArdStBm8F2inCjNt39we9r5qBIkpN5DFLFtzo+StCRo/S/lfjjyOvZWtXEo/jJ9PMERsGbsaMBhem+I0CbHCOuAPlIMLpAJFwe5Gzn0VPF2QqC6L8n863hhMs+26jeR6aUhJRpYXOxziQKf9vt9y7hby2lt8+rzIxXib5O8ntCCcgSPkIPDXJIhK3TBwh8sh7UnkoHfVTyTFhOdLSRzpnNVcqP8HlBPPa4+dehWbCbLzMy0jyZkTAvntt4oYcavaiHc2I9M8hXoXYug3uiKLRtGdiMFcPd+KH7Ltv0f1ehLoMr8keuuzV0pz1x7Cqse9KMKpeanGbCjatCwVZR++QGe4wiUB5tKpKojcs9AXXaGpErDxpPExL++lONbG+zNbH3vtEghC/MHU9bhrhW44x/Jlv2GH8fT7ZNFzqSfbyU4CyBWiPpGOFiWOwqU4nRLiOcG0YoRlBnbeU5T8dPlpXFLOykd3bD0vGNmiC2fi9/6uC+vWXW2SlgMZOU82fN8zz4iwNHgoY2dSOS6r6/hWFZLSpZoSp95WQiOpm3qzuay6xWSY3unoo+J+yEnwwI38eWkAe9Uuu8hfg9/zQl4OoNiEhBJCNWS3TxY1EB5xNP6yW3XMWi0gMWjNPnFT6hdoQA4q0Nr4Enp70G7LePpe1zYweM1aJamfYqPYUnCY/A3nzvYECE9dW1ODPiRl3xRLDH8MQfTiYrn+BtYEpnqgMc3Iud+KlnOMbw2N08EXz+UextLFDb2Wi5AlZbD+s6XcinNo1LpeDsI9CcL20g4d/Ue/vhfUUeJt117lp0jS2kRMSri8npAHquktwskBKCqoJHq+E3F/xYnN6H1ZeZpVS8iLnFx4eVyV7RdgJ8M2x4AAsnW6kwyRCecPQjIPHX06wlFMJ+OVRkbi5sZZQWGWA1gkEs6OftDQmXT7Um1btZV4k55FwiQFPQBgsSBrNCLh6hsE+fL6RKS7ENCAitpC/D8E155G0qil4gfVpod1dBoWUlwtCbfEKHlkGkq0n4Sh0OVIGmcTAY7znVghvtrTGB1UnvneumNIxE1ej9LOd8pn9dLA8Jw6n5z+vhV5FMPOv0zsqDK1POxw+87NOsz78VnMCQ9hKAks1mRG3atH1s57BVmPOUvQUjHuniThUPQzWPRaIgKkOeNfgjruNZuZKlTbZ52BSasS/ZbYc5sAWYSK1ob3ypYTgbpKIGk0al1SdtA0VglknLru7cVqMs3pOQC5Q5R/5xevkgP/VJy6qZg3WeKU20N1YZN1qHTbZgFFuVflZELlsN9UEiNa6P1/wO10m01amS4x5gK0RELm0Ia64lEuC7Oljoh3PTmOLx9DeNVDGnJZN28JNFJY7ot6tiYJhfhNQFdwaeQM+ZsyRTB9dEbEtHeSV2S9Gz+F7/w3zQk6EKENcCp8xu26mz2hIvOkee5KF63Kq4yAsrrtecKydn+6SyBaTQ3duinr2CcHNLFhjXYcPjuo/2LTVmjOAwyzwW/ngXj5wsIR3L1MBGeBV92c2khYA3sckNicaOKpnuikht0Rzzr9KePBYzy8yz15GEvGWr3kpp/0kqAsqzJrCEyFdfgyEygWwIi9uSdcp/sWfQle18goVpRAOI+8+B0yE7q90Mv++tw1EkS+5jXmfgQAFfXUvTOvzeabJsnmYCwI4FrUIMzS85Bn3G65TW0nhCjDMlgLNWJE0cYsrSq0bRqZdLfVKL7AEphgyIHLFcNyXR7jWdl8RXlTrGQD9OiPKDE8t5vJllVuJ7+5gOuIOUafiG+ifm7vqU3xF5n6tqbSv3JPbQjfXzHDU3N5ULnv4Z9A6pw24RXlf7PFLBrH1ThZke2puA9NyIN20NJ0DnYafrmhRXr4/fcg2a12MIS7Ssuc8N/w+fWBnILwdXIo62wxElub9WLnoAbPhQ3wJ9zvEV5wHMha6z/A2hqc+YFje2yFpspgkqVoZyYRq/rjd31wuO4eX2bZpwafvpztpg+XUtI8uvAvFiiW/PjQ/aacxZH1pUNy1hBWWhee85ZFWNQCPOJta14zxgi2upa/5KR7WLq90zYH8ovMl8RMvRA7h6HntUlr2HgDcZk12/BbgXEfBZMI0T71lICJ0gSAI5r/cVdoXV0qyPuC7sZZdvVfHev0dmSiGfYKRo7WCJcr5SvQbJdk9PHVock6pCmCiWHniUTJEP+57LNZoZd43L4nOvnPqRtkjlmmnt3XF+dDql+pNefhM4p3selgHdlwcR2GqK1YbKi3WorrM2mdn0TQV0tg5Dflc65j7K03HOsAnfk1j3ct1IiMHOWOI0pmY6qqsRfS84DREFiUTdtSOerNKEeX03uLIkr+/ugNJdzwi5G+iJK48bNEHdMjeIuqmo7iZoYkLPYP+jZYyCHa/ET7hmkWvVtqaSdA5dPpTvPz/c/DNGkJDhGMCrKyFeWGlKnAamdO97CYbubh/wIoiOfTXY/qpTEyroLGatrPDEnixq03LpCxeWMq4x+z+02SSCiMDDvN2fsH8Lkn1TKcJ82OEa5FSf6+2TZqI738yIMFO+HeFhDD4WEWjHTwgwiWOyCtjZoW5SbULWK4nTg2PR3cfoZoZ3oFOHIjLlBfG/DJ2KMbDt8PZAzKvadSsG7Bu9wldTB78BMLXppzz3T+/MMWqfDAXKMF769EkZjt+V/kv5NH4kOwenTU8oYvM+NvgutXmW151XcF+36FzPBvWfjdFA8CQW4Sz6m85GMXAOGJa6SmneIbFPQq4uTzNg1H9yBEo6HFpB0cA9N/RgKhY1M7TLkkvvJ54WoppQV1oVYSEo+VPhb0L74eB0Y2X8aynMNVcrReGSz2yMhj0FUBO9qVEwSa1M+h1zTu6I6pu2c2gLgugOePSPv4rVn3iKEpz3UUHWm7Oc/6Ign+RwBNDFnrOB+kmAvdkoGP7eifMFWcqDI0ROEYsR+r1uVaaqwefzzcP3mMWM18a9ZhnEmRhZafCMWVnBZjO07cJ4evBfvNX0ShnjmoQ68Au88gFsoo4jWugw864Ygs3jY6XIBylrRMr+KYckAIQokiff38DpuEa2lBGDv8DNHDqWzkbMdaUDTVAra+mv67SopF6IXNxZF+WGJcE4y5VVWUIU/ol5H468IbvkZB+jN/PCJ12VKtSk7TCbpWYXpIQ8hzLVNw2lAELTa7M4nchohTTPy67AQ23MNJJyiwBgnUukYp7UFjxTiYPHhA7rFBcCyZvWUM6Zy+Iis3dEd2HXuAn7qPbl1z/dDKP2tuQuCy0kFIhQgRwIoK84W9woyX//A4Xcamn+jYD9I+qZLSZ4pxGwPzrVw0p+A8Ni20tJHlrW1AbNtrzrhuLUej74bVx0gS2MvovgZqMeC8w9LJZEe0/78NHvTu1N0PVCJLpo/KHiLDgDtmpJ/qSNolOmW30YdIlLE+obfJwCEbTx3W4YDrhcSAN8piFocBSnJos01D56CDoc680xefcCnYOWADsAZz3IhEGE5hMX0oLQFO3SD7i/l9UJX5evSXwLen/tM+WU1GnWGIdSTWe3MoBIRnNDY3tk4MAoR6GQyOWO2HL65NiMBz5BA6ypxrQwEefgcMp23JIMJ6TSt83QtQme4ksIJbzMhUkLRTewEWcdcdgFfw2R44on0qTN0uTSrgQUu68B6uYgScWj+sw3MaZyWog3aLnl854ibHtoKEcsb5GYb+H6GE5uZpZ2oBM5dmINxhSg3u0kwaRiQcpD3E0zyz30rBzZZT2kTnxiA8rnIjeei0dJT2xYfX6cnxPS/UdSZsCmt2+07tf71ogCs4aFOKYsjnEbCR2AdNjb5ONPv2cNnyLbXRi66SEcYBCZLpnj+TRFMjNkB5KSrPfJNoH2YmmJfWq9MoSvUG/E2nUdmD9aJ/66GTJekbEIJkxTYRassUzl+hX4L3I4zGCbdl4TYgii8449Ve0YkGPXyFP9WDaRFj88h4O1S1I9V50pDhTPUI+CJ26EieXOn1qBerwnSzrb2k3UzXha3Vmp2/DFchYWZrGw/LIP67IqTUdwHVqa2zOPeC/b+dOm/+dSHq/pLL2K4koko/ec/NK/XsGT/zWOnBb7bH5M4KfFLyVDqDSOcKdYmoNhAS/9AuyMzMuTYQDeXXlD/ff9BMeouOl4nSvVFu9qKdx9WzIoepj7fo01rx3ZKKEeL2VfBE2GcCd0e1COKd0S+Wj+8vmlsIdc2hN4Bcn8UyzgJ7ol/eUrnfGVSHsg1rz4G1qbe+U+InTQ7l5LnYIEgIulBkTJEoATyI/Ig1LqAuF8Gmcd6mq8rKNGOFdU/0ZRrJnY+zDRoacMZ6LsRBv3dYfCc9cmY+nHTPGQTEFNYo5sBvwjHlxuK27/wb+jT50WIyn8PSGssoqhp8BrzuSyDqGccsHRAepOU+1lmSPULea+vDKgf0pqN4XIvlZwZS3vjfdqYpK9POY8Vyf0vDLN3oKxFXzRy2ndsUMIYI1T+BRNvw+f30ZALNCxlZQw4CvEUgynReHD07WLuQkfAt5Nutz/sja5U1FEvF27yTj9BLi2VfJK7u9P4FMD5ehrtoW72YNAnWtKNeEvst9ecHIkc+X2z9qfBNcxmBGITQoFNRML5SdZafyx+jHI9soTilJX/JQzrkTT+D+5f82NI4aT13NT7Z6Mfnwb+XnCITYik1ylWTeK7GAi9ulWl7MQ3raFHyAORTmXBTjVJeMk7FAYz70E7+wgv/Hjhpz6UUxfiyWZAkYP8YouWFjtV9YQUnybRgjKWQKZkUL5PqwAmcBPzjlDuGepuayxUGKgP0t4AN1ohNPSzy/eyxUAhqylUupJ8eLfOonH6YNPT0hvaF0Hb6H/i8Bvx6Cw0H01LeZQNj6M5AvCCW99XHMmRn8uelMLTWpFvyFgRXFHXVF1go2QYrHRYrwMTqu9nJzmke5GczNYKAKqpD46nYY4vb/UA+XPiA2r5+wpjJ0HXmobrSPhnKr57MmVeUHuJICtfeN4WT1VQXFRKMCDExaPoUC9maZbotyhKoUR0kUIFrSsrcZng1rJsNQS7I57asu7K6dGHomLizL9rTGaLQe2yKSzT2Q8gTnrSxe8jUcrxCas9CEbLNJUP+ECP1ntJLyXRLug84qH3s9gNbovFyenDIduDOXIyWdaX1Hlq6UVNEA1vrAPuIQdzBFZrQWIOIfIwEnS+P72DvSgcpPxtDN7sx+AJvwcU58/fRwpTh817QNUcLq/CI7P6gVm/BLr9AU5vQiI3I6P7j9WtJGF1yNmS/8SDNIPU9kxQwj9IeoMrBcfpCa/HrXLrNQ+mFyarGRzJ5WQwumM3u2vPIvGdwVWa39gGLVJazaYkgYZLEHa88DdAZZ98CuY4zxoUYgr58IY35pFsn5kWE8xrXbv7sSas98qfqcNnz4eqh2zP4u8oxgVWGIvuLqfOejcvTqp7HYSlxKjDB9/VgQkkBw33W4966R588xJmM1nvqsFVFk6xKZspTXebsLq1aV8atGDtQ5ztvTqF2G8JO7Oduny9+9SzgiRFzG0/IuAOGZrjpRLUXwk9D5EfTvxfr2yw2de8Fk5Pnj3p0WRyMkmlU5goqvxCArSuLww3HUr1nzDxxPY6ORiFxBlvYKNIZY95YYXNaKvWyqSdZ0Y/n1mpQX2nYBlktsYdIIfoC7qenPXglaV7FnXxGKUpoEKEkLFpN0HTn/Gw8kCK7AyWziGa+9Y5puXSfGHLCmtDTJzvZ4Dn4z/Acp4xoPSYzCD06h4XhP0Mo4550DtV9BXFiEfe0o0+HrwVjNELsxRZs66InUq5wL5HLf7/oj9zzHj5a+GkIyy2hA6W6gkEPL3ymTgz/8j0DLZ1+kwUoY/AJ8h1+rG5CjPk16vTM2LzPlRuoaW1OqpTh0qedBZL3E2HUQch96BNJmxd62w+bwYNX9tDNhkl1fuINRyqHQFnc3ITZBewNbXGLvpz0+1Yo4Z/AIMC0UyY0Y8p5BjylkJRwNJa3Vkt+WzfOP6Bxg6KJ+44kog82mYl5n94CLd00Nym7AehEjr5sWDEfWHomB9qMynMLRHYVj8NLcaiAjvAq9THNfIlbQDpYNJoC8mjJRrRtbc38m0z75MzkEO2pJT5z647+aoMRQX9pdzklUrrmfzi1ZWThwL3PZz5hvb/yjIy6zn2q4k1CDBqZOfYUBz8HjXOn+pr1B0hgwjLFzWf91WRBOqVwZj0yjwf+BO1yQ8GkKJv6+zTvFY1ahyp7S+du61geZUXcmxd2Rj0Uednh5tSSNdhDk45f2HmLeEgvNTnJ/kNvEP+N/AOjA+6V9UrbWKj4E1EKK4shKHfPowytnFZ/P6k30DoqpR1hyuDvV71Nhdgp4qTCnnSK+0v81DEfEDCVNZijK+IVMdW3xD4Hujg4F0c2KovYoYT0VJKsG7BwijsvSqGyjgCJUwWrTFdTEK5DZWEJYNXYLmSEtRVfmaZEQ359f+rhdpbq2whenjlSnLgaT1DLlIAa0DJbYebUm3wMGJ7EVLgYjXW/oh2qru9ssuJRC/vtRIelLyD1L+JuXoYLTfd0mAA5EBloiYZ9TUZPDKpRGZqyDvlvt8mW7uQ93omnoluF6WG7R0Cj+S+JzKV4QrOcni5/jtNgEPW7SVEGCoFeSjo61JWjkZ+dO4n3H061Dxn7ZdxP0IAoUTTJO4pjKLd0LdZt7gOi4JGMhXh8eYxUctRKLqsmlNk3Mwyr/+75VVa/x+ttZaI6CcLNEj1vQqcB5DbNGiaLyD7OCJeeI3iJa/p3QCbAKVo9RQM0fk7x2jSc0OHnbLZgB1Qw/8QQ8+UtjAIijPt9id3lMo7oXpPFKv9v82hgEhf+xM+ED9bmHFMc7wlNQaNd5gjLyUiURvmcQwZa156yx1J9CQ4jDgZLrv3Cg3k+nrIdrWcSki8gUrYNPSIC3Zoy1QvjJ7Bf3jN1he/x4UeKvlaapEc/JgknDmfm/AqZWGrI7OcBs0LEHjSrGZ0nIiBjVajlE2yPDm5WIYgXps9hvB0EEi5eDQQpaT0hM2nx3jyTnXq1zZv0qhSjVApaQcleAFYZcncxXqVGqO9TnDGkp00lcJDJS4o+LU+W8oSCvNWfwdUPnHXJW7CRunibPObfWTfhOQKMltuJVyeQU+Wec7atMEyw+DKyXGp4NTloclf+8klbB7cvLxsnAq5m6oB9uM6kj2XShCJmgGAIigfqImYdWopdzLBdAiAC5uBPBTmZ3e+4NwcRzsvVuZjkDhfo6rw5DsH8oQfr+ra5LKy4utGxH7mZZfP4MZt+TOl7vWCSQm9/xbVhMkNXmxbgx01bjsyuwPVSJqKPjBmfrb8M/PCVGsufSX/97DJiR+603MfRKve0E0rwW0EfMDVo2UWA8fTY6UFB04sJDUCROwK0mQCq7qKolL7lJ2UwBX6FnipOJ2EL0xn7X2W+cVQ+QjmLOpFSlaMTNQVcWuf1+gbzhs2ifzcF+NGwLox0CACbdrxEIFxJJlaRBZhUGIdW5HPlcFVqeaEvd66blv7ky7p/soS9xh9sfGqifEokCfnP+4B6zA7V8H35Ex4xo2kZyqGjyLvphwombmVcMSIEMUY2v1O0IrKAGXH6rPQLg/GLoJSr0De8daPRk6UuBft4K6vUEQBBDoJkXP9LbkuLTQc7gTCHCXHIwkU/tml7iZETe2VIzGJY4mup0Vlkulpa/Nquvp4pxz857rGsl5V5wr79ZdxnNcknkY1u5Mq2OVau1H03TATlCCsbJrVHTpjnEC6JLPOrpkxKTYHEemEF4IFjUwhqLHMdded9xgLwBhBoRxMZ7OXK/jX8sqBuryRdxj1gIacIxvtIP8Vn6sa1d3k486N8lLI7dnOzt8W9txYspVn+FDJBq7Y/pZkCXFfT6agrhQu/GKJ41XDTsAblSkGgJQcrzIuppkMO66c2UmqYN0t1kmFdyckBFzxrlqw+3NcKcUKm4MFb9+vvKk/U2bSjJ/JDDX5xN8Y4+cpFX2ah5isid+QuyQSZpL63Ade9pe1LteiPTlRwUxGkwIOgW03w6owTdNxpUarFViOynTHzfwt4fRMe4SKhU2HH719UcrowSwlMeYnSPFkSM6lZgmWYN57b8Rtm351tCIiRD/bf8PpWi1xgWRBMI2GKHA9YfI26sR73s+FTl0/4LYIpoCpsktBMjIWIvn2TeLfktZmosa/2et5Ir+vR9pY4olpKi4SgPeJMnuFqUooumW+BE5TIi34a7wfg58TBXSFhcHGyUysraidq/esChc6VhoyW8U1VDHuCkZXmvQDGdsDU9c3F9R5tyFSC4+omXuqFj9c59B7YCDE1Uwo3NedyrR5J8i1OZJWXQBS1Ufpp/NE/FMw6kn3RpQVEKzB5osjMm9ZAclmyve6OvdvM82G632fJu31UxV3x0aJwG9ZQDXFoKCkNhZ0qto/PA9jRmi5zWWRSLI5n7vNrwKynmhZSQrzIZZYT5YpvIl0dRhAH2RZadTbG4QlQqkVlFp5SSsiKHypF3FBhAzE09KIX5i8rUHffucN3Wf2sO3RLC91IkJfdFEyNGlxIYlCZ3Fg5FRT7fHtFJDEZNP5rKaU8lJSiWiZzecG1lAsSBQQ2i77XZFpUEuyyQkRTxfjeYFhYGdMDpV2iGTbxX5j0zvCKqXfCL5ex0tDG4/TWt+x++RbnB2NYNDQ2DYfDy0OBxizKeF/d0jpro7+ExI1RZ0Tz+v5KjJ4w75j5SzDGzymguc8fbrXUPJMHqMw/cy1qzEXLKS6EKmIyMdad+/2M2FNFpGFF3i7zrgGI+g6ycQA7KyzdXUwQqMcS6i5Hb1ALumMrILrgi5ntC3qDTmZUdcKwxdex7M6L0nBIu686IE2+CpBnyl4C+OMrlyHE/iZjBrbB4yGRhydOoD+408bFDk+nYEnyZ4JVLIAg4vggF43frNYTSgu8FgpQrHO8Lk0NAigyQSUCbJ4g13k21NltJpSaay66bImn902cLms1fQxBRkwCBJnn3mmhQ5FkWr8z6Ab+8dbOaDj6hxeUyTKrox1aROWLmcZArtCV5S1N8pK0q7cOeLV9Pc9+eZJCN2mx+9uPsnYuL8uNDmQOkpJB4p10oup+uUj7I+4wHB2jjrCxcQxk1vAOnURyGFF1iR5vkj8H4fvutv4DN4tacz4dhy7d0VwofJmmSZffm+MqfZcnjTFpqe8A3VOjvdbIpNpOwcy5WQP392znL499HvarKSevNQhfMso3iDz8VVBudFfej8yR9exa+DrkKIu0tasLUnjhjQTrlsNC4mEl7NP14wd+7vLgvQCyaMst0FasKvSqd3YBewwptcg2weY1Ia07Q1fh9FRkZlUPah7wLuZz0WWqqCgAzz+HZvVsxw0KHuIVJZ8yktRrkAqWZjPg6AClb9kM9gdFvq4NaYbizwnGZtPNBN9zPZwF/QUkGRW2qyhbLlWwA3rLH4GKpRsZz2N6S8pmyK8w2KbhRAzuzCE8o5wmpKYhZpKl/NuZMbXQmwC8hfdyRezN+oAX41dHZFT6tDfvYW+sQyMFn1Pm+GUcKE9y/jd1zNlD6pCVL2lnNOKi23Z06feit8zgm6Jplp3RMr/YvkR+3eDHCGFnbii11fUvM9TpuaNsPwXEBKohxA8NmUJOhjw1la1h4hZ0yEUt7/Vq+2JpWRQQ3mdet8FysXYCyMcwY/ir3TeVFJAJNQARg01NgO84l9jhJ835Wetn6AsvKMrz10lylgwCi/zfJtkrebfm999hMmddIqg2IV0e2/2NtT/f6xAue5AQ64elLil9HxNzySwAlVkATPWRr1OsrNkEg5eiLayoHXB57XIWY6HHbi28AZ24Wkn0zvPOs+t7aRjhNQe+hIVnuVBRPXrfEkGF5bfqE4Dk0eGLAyWlNWjj0bRHYGF4BrH5TG6E4UIz1u7YVBImzt173nyote/XtotvQW563TS53zYMBryeHsF1OM4oQ5jPAI/loWNdN06l4G9Wc0YyNiJm3WLy0N1L+6gwVXuNdAkyJVi2vqUhgE/4AWNwzEEqgBl9nZCWqD5LyaWVryy9WnGNOWhLz9eHlFGlElLxETyHt6Z68o3nCO7JzcQgbMKsLx1IuGih18SxiSBbFE1f2nrBqN9FamBhn0s3vVhfSuugwye58w6HZ3i+vorIxuOcYRg222RB72wz2Vwz9rlG4lgRQLfD/dbI1XdpF5adUlKnED8qjjMylHu4s5pvwWCS3/tP+7TQzZfGH1KqqesmgIz2f9su0D+HDQuV7yuBPujud0N+QOZTyjPV8X/OGiZn5k4tVXKm/De+Bp3EzzinpUhpR0euzBrN2/OTGYKvyt7U/MGkviSL5WyI/GlICJ1KDf9ucUz9t8o/FKYRb6gH8JdnPWd3LwIjOHc3DSAZq5lK0XXKU5GABx++BHwKl+m7asBIC9EEf6y9WR29at3HGwI9PzQg0tT1/FWPicNAqPd3+TdxkywjZQ4K4qjJwzApNdD8sIkmcTv9rVGlj/oTIYKOLBFF2lOAPTunEsvxDTWGZLH2LW26neVFirsTL8/Hz9z5jbcw/MlBxma01nZc9W73MRWdXl6r0h5wfjBhWc6v0v2BLy6VbFyc1XpQeScEBerTcHZgspEbMf5PALkOjMon7TnL73RtBxHx77x75kL5BQ0vft9edqRS6Hq2yY/5TtyymF3ZI+TAnxeoGjOarsa3rwxubLoA0JBkbQoN5chllW6XPzYOAdB4DWmy2PTrJeO6GerHhLHDy+C+dTY0G+wnKBk9RkHvG+J/qMtjXL7wbTBtQnsjAgS6X7uX/qFrccR8h677O9N+6t7d/s4sS+KmKIjSl+Uwm8GYUzBIq/NnP9MtHtjXVdlCt4499dlYijL08qQAc/XnYze+jWJNNd/buPU1nfzIDIzxyOXmkwEnd3JK19VZIeQHktsXg0o1qkxHvkWZAIEIhmBRbTWONWO3RuoCICR2lnG7PTOKNbf4C1DeC/Rq1ynT3dVQoBuqYR5uVlZgpktDR6EzMKYi1M8cH5ys/yA5eR86tgBDkCE/9mF9XfYX3ZYwMH0Iee44QHAivXSqpfvCJvGkQ7Ai6ACZ9CSg9y9Nl8pnTlnshL2fFYtuENwus7x71deGyy84pyXpPsoyR1kbtFNXULlYECEzWujRifbs3xBdfK3B+McLT4qywPiw3sStaBRmm6F0mkk7koCVlMmXcinWJpoCzELUMkikCNdU0F25YfKCMHYGzOGUQr/OoJshzMTNi05x9/a4z65dWMcwnrTAnssTC7YBOj/nCA33hsHTw6KF4E0pSWbWCV3oWIPsHn7b4yn373DWLUZYHmg/XbNJkDp1+Ka21q8kD3ujFD9R4mtowq6+REh3kQPwwsR/fiF666DES+c0gFNcZSA5f6riKZcjP5fZnoGAesYkjjxyuVXTj+FOOWkX8PVfDEwYlQGXo8eJv3HO6Prih7qeqx8/lfYXIhScMqzz4RewDamua1NV/0g6vz8qPgZcbNz9z2W9MQjSa0pCkov2nn5GrlSQNRP+2l/Mm9p3gkS4U48EXW8ntnr2I+fX5d/sBa+O7ndFAV+xv8nmHO6x+nne9Vb+A2RLoMS2h8AszIlMWLgwlRw/MOClcdSQM5QY6lh9x2ZPOonei1DJ+3JU8DZBFOdfnoEVLHLxqRknxVtxGnolJK4p+Tw9DjHiS1YPiV4RakfK0YPu+gW+J1YiH6/J6XvTUXqqXrvFXEmUk+T5pfl5Yh4W4ZLgFLWWS9bjjqY2izVY/pCO9yMVX2aRMzsTp9dje23ikTC/vbdPtF53AaCe7F0yNkQd0u3gAOeeGXFgJEv7qiFDa+CnMMm5bDyIRh3kIJl6GmlOWb0joD5+PBGVBSNQrkAWo7H55HDOOa10CJ8EQGhovcopyU5cyE/gyC0Gi8cKgAo3turZm2AqgmzwcKIPyV6srUpsOTrWsqeJF3/2ZSzUWs1e6VeW2WoodgP9JyL0ZCda8vCW8NVVhkeqz2fNufkHAakJfUiyCMSuZAAxuasTsPGcRUB5IQUjT73TosVIrngzxy4ic1ZQ6j4LUHieTzHoWn/0iQ3Y4qi3Bk9azu4IYIzHfDnZRjFNAQYZb09zii1qXN3kGh4FsctxsLeZzgRVh35WB8VYxRXxWBv/mBgjMhJta/zh23JqpuTC7KWmC21YAyii2+sBcqiHSl3LmmMZu/UIKvos9QtPp5FVzLYYq7lSFdAef+IDGMCSJIYoXnSME24/RyI16Ir7xWd/t9G4qa8WkWRbIwm2kKSKeexAxIfXHap5wo7L2U8ifb726fg7c9Xwfqsnwgjf/C/JU0TIjkXnJ3rX587cUIhdeD683K2PlD10ctrvTA7IDwQ7ezUi0WW6F924EHTgEVLGmam10/EY2LGJW2DolQPOyYss4Gy8a0+JtC9KRw/Z6n+aAocNBE5/PFovmVng62gTI9HhyYsZxc0d/RPJ30Fs+6RhG9RqPSbsk1EZH470eLcGochv3kZxCOe/P3q3Az6b11pFCG+F7tkKjVnnT0zAr3XRHL2fNw6PNTo/QxhN1twg6Y2Zc2JT/lSGQ4LDoIPd27acFYvSJgoWUWnpJYUxrVlnUP9HAqqxV20GXg/wPOE17LuSnXEJVMz0OLWtNkvKm8C0VlFiMOGGw/nrTJdfQrYplZNP4ACJW600yEu8Zrm6JUBOM35G0DrS5f5c3p8CXYJ96SvWlg7iUea0rGg42S0ESIRoOQ1KnlYq/D3QJDRVOhvQ5Lr4UeSuz6nXb323xxhQjn5KoXMnPYsNdbmdXqxJkWyq09KGQTQGTYsaCDfT/W5MIlotLg6j7HF6f7wJzr2zVMpzMf1E61exaj10kstVg7JSbpRHw252JR5D1z0WTsXHzTrh8HYTbOSVK6l7aFyY/GTyseummptgZefoxqUtoNnfI+OBBcr+EpPSVLFZb7eGxBLf08fttE8raEWiI9V/minoRvuGi/kCedoulxyOUSutV+p5A+VbPUQNYdRWT4et0utf373ZKZgKxAeQgQ4SUVNjSZAc4H5eY42DcsrqCQ2CFa/zUOTCTyC+5of51f4xYpG8imrbWNogLsR7SnYthgwRSzxCz5+iWofkdttfOdJi0LUXmm/wHxQE5hGdyEpj3DAqcaIgg9P2CodKVeWshov28PPLUnqKYgbF7+Q1pBuGlLKkHTWUkRWxPO6P9kNw+zqLrsP4/2t5Ca+e/tGWeRiElhPbWv/SxaPbD4fmlU2rIAVr0qAZ/QPZfcJ1/fzHh03tXrUCaSITVLK1WwGWHAosCXIF3msHpoKKVWcHnhnnmlnrSSAKMashpL9FQmHzkwNSectD3IsFM0imuR16QzpaSy9TSqZR+EA9Gn9YOulrxEIe5s+3Vuj9qx59dpmfxPwqZ+mzrGVmec+/IoUXuv1lVvIUXgwz9IZ2ys6mZOQqSBwQg0dBaKCGTigC3kqFXL8IzU9f/ws2QJ0Hg88c0qGBP0NolAwUKp6gnp0HRPw/hHqOb4a6cw5c+nMYPE2xqAL+t4P7oY5i0/O7povDWTCml0RpHuqToyUpv4SMPqz9W+dzgo3DxLfaNrmPxH5t5iKeQBmWqveCdhxcndGQddI6Tl/W5koJkWi5EJv7eI8GBmQROLDrfn6o359CZESD4XJXPcyXeLPGJSarT9P9+B6RkApbxIHnesRiGNcRjk5nCDkAR7bM2/SC5mo/qpGJrrRMg7pMbRHv8nn6BgbOvA3J/jc1DT+Sn2Z8vzLFiVusZViKYUZ8cBWL+4YnKLZXPIrliMv/u2Ge16Itxn1Es5+3KjaGTnSPD0a+L5h+CRYnOtN6FoFLvOaS2/jU5uFSjC9L9zlwHiXy+5AEIWKaMBD8C+Z2GuDUDWoL1Yx5VdXBQcLCpwafNMKlzC0IwMqH97TV5y8x3xg4Ml8MSGzLJEDoGJeyJHLmvf4yJw2+FYG7Q9zRMBWAtuV0kSwH9KCRoCoxKpEF37avPisbNqO2yItlK1BPQU0UM9Wa1088Xl8VkRAFl7tuzqjOC0I7wRUK8inAo2K4Cig50JA3DiuDF8W+6+pLWFTeaJucjAZnlLtK4+pHFkFO3zDtC9V0E50Nm3Vsz4WonJPCKCVZfwJbqnjQDRyhx5JMgpZxD1ZcvU4rPuttTT9mXZxAcul9fC8yPfWJrfiwJm1/xDzXi+BGHvDwmk+7lHiHSj15mAGHNuDHgbwdZkqcyIuO+AtqYyKNVWvJ9m5CfRjTVTu3YmJWp8FF1OeL3hGBQk06HxO6skEyPBzf+KfJfSz+FNXPne5YQFrZWifQ+fwRXCcXbpmwRW3tRWPPdmCMxQwIyv5/Ap5usQ+U7eAgfbZm0s0TIeq9IAmI7z6Zf0O8BHEEQjmS9Ns8cEahWugIwIPNhNymOJMx+7xv+D5D2QNr0Vr6Xzz9Tswk6xi5KkA0WcxhKe8lx8JKuPColOm3nyJRysINFEPwJutg5uH5rw6Q/Y4mKbVXzD6DdAsRvvvT9Bwc9Lhi+hl3KfHj70ZwCgOh2jRNpAFHy6zah0bemUUoCaK41ZIJ1drpT20n8SbQ1rpqvL7ilQex69mqeFcw69OAMyNqSxpBVBQ51ymX7dbcSvrQsP3nssLRyPTqBp2fzBqWMP6eFSNEi4xkte49AFx7R1HBqlgrw1LiZzpRasC4NOPETa8fEkLb5IgDvski6x7av0hWPf1Lqr4IhjnfzXRc3ezUE80JqJ3FPlr1YsUkTOrzZ5nChn5tOzwadGjBQp7rhhghxS7e8vTOwkqbqL34pi9bos2Vwux7n6lkYDgidQsJEhu9OW+8+D/BP4hQGDo5ZSTcrqv+w93VQ+Xhg51ffrwOafFbXlH+WsBFmKT7/hTe/zGdOiR5UvVU5otW2XtEmmYPKJErIrjL7a+5wXZTsion8JnmWGlM9jbzNomeG+PtV5hk6nCQsYg84B1ivBC+eyvcH33d9UfdAyRXNUS5nUf3qkK0q7zDyIsg4xLyvaD+v/DzyYgHx7gz/ticPM3aGSGRELDDgJUem/qOhIit80ZullXTWoke+xnOD8Qx/O20qY6XQAtcDJ/861lYA7qZ7Dl4/XYvFjtVAP61zvofaQyb5oqkamuGuabqEF+uVcbjOWb3dDpvD+XKPvor521wGrnhksvHbni0d8ZhA6bYf6tb4PpNZtlukJquybzp8Bn0TRlSarWEGEjykOxOt+WFHrVRAPKyajNahGnos5FXcVey4546tiupNRcner+tHf+CKv27n/r7+KkxKeUP4KkpNZTtjHjzhpQsvFZyxXVGthUi5O05PtF+Oc8saolcl1Iq/MytRwwqeCqU6Z49qOqs05LEpGIHnSqm03fUgfOt5LSqXRRCXuCLHyazNC9RwqNPGJqVtYkYzwjKUYJJm0lvxx+GGI6M8f0ZrDZ4Ttsh4oNXPJ6CKZZ/3MOytFPdsljRbWhvPJSpbrqDRcNZ1cn7O9sbojy6dtAp3WsiBodSm0ZmzFs20m8QHFXQxXrccgbDL0Omlkc8MOWr2TnMJkYfmTtABRCXrAEPfYeTfjiEaUeusmAEMIGGwBguf+C/CY8mINTvIQkyPuhJ5nyLJvISgkLhquDwiPXb40RWYzWcXIi6lOYbVCTtRxJ453B+nunhtiz+xiMNvcoClLu6alWqbTpXQUEfysnA3W1TWiIlrKpau7GRimAMbpYCKNQz8TsfNOQPigQMOuQNJkfWURsIH1dh9qrxU2R/zHHyX8SgFcHTI6tSm7rqf5udHeiTnIDeXZPJEUu0qbf9XPtmJGxnQCxUniAVqlRnFNiKdlMniGKtwQa8IYMu5LJH3iNq04GjM14cFmqchjyvCmLLQvFTPLASKIVMzG4zF2/4gw61AbMj4s4IXKZoKJMY3nEiQEh0YnMU1gmyHGCbmOFkRO3O+GalSzfPBw1qsfxg2Lhy9nYiQv25eCbAmo7xoASUVeIPno87oo+PtI8YKYM8k1wIsJxIDl6CxAtn2Kf9aJh9RB8ttOr6LkLi1xinBxi1nNYM/tI+Hm0GHdka68FQJ+48n7l7rxlaz/pIWgO/EX3zNrDvImucSXM0kSVqmvLY42B4qVUpiGHfS/uj/l2b1xfsdF0l9JRZ6SFE1vey409DRsWhp7a1wtBjvrIzYg7OEQ9uNRmd4VR23KM9oA1/lDvaBhCgZvU6tujUOSvUWYSAB61BhuuWupdslZgykEYtIBtdRpRpKrL1xCcYlFZmxRbO5tPT6iNIg4DLtY8asQxJlcf+QFFIgPvlB4jbcCgKeqHQoGg4yk5/8PlE5YXIqbAldsJgAAxZTTDUiQKYz2gOXX8I7QrgexH4o4xttQKvWBPBUAL4+01FM/1fmYAlExzuAw8nuDhvQwsTTBjKbeZ8up5GHigX1jtCHJMK8yWS89IrY3vGyTw3P6lVWMGxB3kt95t29yei28BsgzuTLX/j77XKhquW8QXxBd8AW8GBOjEb8NCelxUXXTse9fPnYs3ir4OnBtSzgT04pQACM2R1pTCea1u4fDrMiXbpnc3cdJtfjEYRxccA+3xGsUbPaT0VXGz/eJ5gjkedWjT2IHkz+MYm06k2Wf/wQgCUCtUj7DhvlRKu4sxIQSXSbgnfGd02h0GjFNZbP53A9pihSGurVL/bTC1MVwWhP1X2gbnGcr+3neREkGBhQK7EjyKrQvbbWyGw4R13eaKlhoe23XXVbXOId/Da2XA/9EVLXqkyvbVehY9yTpOJF0tj2cQLRMjXpUg67UVa/kNx37Na+OpbnZi4ACiqRGD68SQqUfqYcvRV7ubQhvhMxAZ3jDOgCZEfM/stsnCE0BcvHp3Ohz/7a4AUK5xLlXGd//Ii+NVKYFEqr5e5VYZmGUjzS401OP6aAkg87nAO4HNp7Ugd4i5T4sfwndixBLpMmYeSsX3NNGDBk3BsMenCmpZT4HOMJjX2GNOAKU7IZFb8wUp3xo6EnJtCAfTA3Zdwz+Y7s+aKzmNBvIch3KgZxnn+IJ2T+hRFbjzdKYBYhODxTHUz2lUjrpBDGFZYRo0nVUHdOgMmkBodjpOySA74brgYs4dLs7meQLvtys26xbHhGYPaPhq0THHkygV6lbw6w08zZtgLiFqWxXmWfiv+DY4DnEsKFcjc/dA7v1a+p1V2qLW0HsFmtZD8S8kQZIrd4vt9ONb/AGtWbVqVa2mCJ+e4wZZGX8aVwkUK5aZhXnthxcBZP0LPRCupKe7bB3M2DhfmGS25oqwftHhdrTZ3muHTMEg8NvA55KGYOU5Ew95Ce0bD/j6ijkELcjSm1c/jExzedINJUv4D7FGz88Vjg0zI5/l12HscsEJybkDxqQAmpfjsZytQmyRbmAH3li3tXbl/QHdhvVjtrWHOoO/raxSzgENCv1ZW+K9sYKSJImC1wzfi0H1cCl7l3903FhqlBUMo7JeCfX1h6wsfvB8Meyrv2+K02owxtWaCSYC1y+jp+bXJyfb15tTYBXrw/tbu5t781wsyqxfRcrcGthOhmy65T6Yn/1rXESaDxQE37flqpZ/a685gdopKdGTZFaJ9Kq73tHiuoHFAKrx3ekGA5N5HOiycWcJFQ8WOZBlgTj6OjL58cxC0l99Jenk5OQXgg9yN0PQFrW5QzGATRKuyGUlSCS6GCCB8WHDBAXT283Fk1QneHuW2AULxXXLpFwc9n1pFwPnCm9H1rZ0ybzac2IEDX+2sT4QKLnmzgsAALGbAEq+2OY/sNUqJ7B4zDWO6RwkebC79axySPlajK9k6oTiiQuC5JBVxyUHImj3Dj+CbD3mnmo5Gy+NU+p1BUyFP9VNczmCDYXGklN1qOZ4/LgQRsOzkAWeB9Axg9+PzPa1rjrNz4Wn6x5BhB1tjKmQR91fuJNlMr4I7dwwx/NCzkN7kc6Rw/fmBwg+caaVNDHgX6wxD9yej3iIaN/mwYjcB+SNXf4WPK74yzwzg3pqXddm6h/rvuSLpskgafw+gy+J/0B9lO1yJSDCovnO9XEC8tdBYCGaBG9ugRzx2PPMc9Qi0fCPQAXMApLesGuFubo/qDwIb7ZCTIJJAICRKLLb8ZCzIGBxmBgTa0TTuwYhRi1PxI2HiYMClZzc+GBPoLltVh+xvs/Ot8fxEP4sO/Op9ihU+f3qLTJIfj2EdPjIPdfigPcn13Qmw18EFqqpLEVC+8/rTnppHzvtGoTOI6wdtEjtDjGUHS4FCHQW/K/lXnco1K5AUvO2PRJk02lQ8a/7idlNSqgnVDuA3Fwpy/jmdAxieejciBIKrse6ZYEz0hNyiXR/R/sDroGy0BBE6w21xs7eIH49G4U8Lh7ONpPqowPpC9ufcFWkNRj6uVmR/XcW7pVrdR3ZyRcr441hyd291GJ2eNNgollhF/c5lzvsbWQtGXOEE+cGax+rLXteOLd04EjTvsYEasxmO4c/cssbLLjaKC9+Iz6MIS69X/Lb22OgMY7njcGhVm9EeD36ovUkaKyIM2aq0MRmFb7zM4RNESXjL9aduu+cuduZVjY3eKINuu736eQDbNWrnebrDznm4wDWG990P7ejD6pyAdh8oMBM8awyjYwevs48cgQhjcRHTPD8L7/jZP1W6hCKypmwHFW8W+AvE9J0LkquaNw6NtTtWBgJpSg5ihQOvIVqyeckuEFhCMHHKiQk4mjmwBNMrVlrOScqsB8e2Dv+mUYSD0Jo/AXjaQgBI5omxDa1xnDrNzkjMPaAaiapvtRH216mRJyEoiSfVSS5RoXYz6wvre1PzI+uAwwONPqxEXvvEdfd+DdyNDx/AIiKcP8mo7IHizB5m/hBPpHJtfKBm0IqTcw8FSmTvAZBUm8a6QYYNaKc+viyBeF1bMm6+2VGSilMLSMO+BzpqJ0r+Lc34AloL/tkbeCfRIGkdj0t3NJ1mUImCPVMaUM0ST5g22FOZqDLNUtj2IzjXN+50oIgFuMAsjaLRAFHxi07fzinTYhliluqkLltcHBzRDzZSzdvU4ejzGUMerD2PiXhrXYxEu7DQYdmK4QTWAFJRFhZsZlqTz1rpY7JeAqQIkc9e4fZN/dnXCKArHjf4yllmYdSbPx9LaDpwkX8QjgalmLoFER7Z25JFNC+2G8AIGkl8lImEmQ0cS1rF8Gj79JLLoA/uPVpShfG5zaYu2Gh41bn8J6lE/Fwf64XVMiWKG+JktKK22W9e7vQfPLTEwFOYcCFRxNVLaeQxtnaGrgNFC+1KygieM9f4AZQHxWLbGT18SRXSrU6AhYidbm7VtHu8iq9AAhxePqwSImLF4Jh0uNf+NtyZb3t+WcDF6f8NOoZizFAgwQk2ahMPzSikf/sIkokW+kntvwNPPPEnNoMV7tpDI9QD7mjUTuCv4KLKYAZpE4hTNjHe1bwL5Pkh+FJiXX6Wr6o7CESrVb0MySf6WiWu1Hje16neOPMWISiTCija/lua7GK4bVnEVyVqZAa7Jlzlif3axbQjnShJAN+I+QWLLaojuh9/43L4HgHnBdmUD+KGpx99prpZ4zrLzTsUhZaj5CYRIDO6Dq6frotUGNY2WpYdNk/Mthy7rfK+fxpNI4DWgHPEL7XDuuGGve+TXEiMfeNxWotfIm9xstFPWq9Y18oS+VDmS+8Nhu8rNx8G96ggd5P8oweGYqLfF435Uk1Y1AXz89i/e0IzwIZ7vOOQGkCimUA4XnLh/3nlZloss1mwoNXWqwzYW4q7+7gjOKutudOWduBlRxBY63reH5C8ykfR8HLx41j+auxBLil4fLZiwCSZ+PoJj8TJsNVWXBdWDkiJWqsdZEKG8yFogiDggJq3uQsNrxhyXigNbtH4wDbQRPNGppE8TiRIpYEwvkzzA+26gyPdF4ooTHU1hYMzUqo85TSjYBmkkaguUp7e/2Bpc/F0wdbRBK3AsQQVeiNam7rv3t7FI899k5KHVdAcdYuHq36V1PQ2hnQt+7vRSxsvC8Tlz7PitajqJG/GwKPfN6Co3dB+Ds//j2AIargK32B3CkpSZZ/omecwEmVKxoChdKwewHv2C+T6N8dGJM351JaGxnChPpzpT9VVrZXp0eR+VifWs4zmxfJpsQ/Selp6jsWuj3t79q6/tXmaC5K/HlEPNQyrJItHRcdVUEWNIEUKFPCnQZM/bDnzCCv3T5t8SefqjpwxkrHMK4efGGpCFxZxGDRk/tow/wkv1l0KSVW4x8fOUpDpWdSIKPJyuTmuDdsP6NhuP2Ik5T4sRPQ4H74pw3ad0iLOfgOZqYVJYHcjKH/SQ/A1sUCrkCgQ6Cb3gtCcaoCHQFLlnYd7mndEpyzh1Ha7AkDnCZc3r0+titPi2saTuxbmNA+hCFYJMILctV7ExHYygwngmfgarAJiVUlTCaHNKoiA0TuAo9sqxgg+IFk1Q5JXomdB8jPf/XzZI2EGNbMA1MWgmd7gBuridvbSO5C3wDgBVSFzP3cBhsk9cLNlpEBzwiCskN8eCR6mc74hbJAs8J5SGFWBGZ2RE1X20YKbbAStAb5XpND1mL0IRRlQEjhSalfErIQuhxa+4KFrBMkLsTHoQHfZ2toPbLBMcmbZgaz79ioIVRqAu9Hqy10yMTvPXr0fC4jsCpAnlwfa2HfqmBbFPyjECZpRjhlBIRzJtIoSxC0B8ezVrDKfCIk9nTJzciJQTlwO3GRHMVPYp75rDKD61Iche+qxBb3zo+UmspX0+XdYNVJx/ODMhdw16W8lrmD+j8oxScasp1rl0yiFhie8qNziLLa4EjGqvfqHE5RU/n80azDhovMYptRgrqtn27XoIlFcjJxNFpolFSxx6SA3xcukESFMZ7wVMF6JMWVzaDBH/q7F1MzEQUow5xTpFOCyF0p7+bi4vFZraHsFo/B4rOTyazsUGWfeDZ8oo/xFpVoByRBj2h9CQhymeNoXmnh9+1aX5vZ9CrFLlcZn1E7Q7FiY06RJd8aToi852MZaiV87AQm/ILZY+9O7ctALXapNE+1vc4L5oQNJidgir9B0sOZehpfaRm4kWkoN9i26B4hkhml1DdXrni/2ePoqFgPzfc0CGtV9oxYSyp9++CRziZ28kxZRFAaQ8jvP2YsHIucXlpfwrOZiQc41PbeotKF2U35II62n/GP8CpEDAukQePEdzXJo1FmcxCxplXPwLyRj6We1vLMDw/tfFHYoNnDUGeKD1YupeYzM44FNNhVJA1ekUM11sZrKAtClHIGrsupXrbemYKYInLVGiil8Y3vmlPqliH0hs6IcNAzBrA7+4LBDTXdemaGzlrWNygEBzbra+281gl5Ndi6d44VAvapMasKgcDuJclt/hQ0nQzIvFEiGHpiOjlVPDhjGNiZlGQWse13i+Dop5potNehbzbFpkh/4wtzAgkjsCyajb6XPNXGVPaE0sSEm3gPdBy4r2z4RC9TarCyh7gEtCcjEnEhuJXQYvHi3AFJp/Mw4MIsJZvaXKjeo98x6XdFxY49MwYvjqGRfw0tlpHTfDgKnZL03DH6eKIBJntNwheqfJMXYCteR8m4YJIFDil1X3Q9eYo60jYrnWujv2lvj0bdgPU6UaMfrLagaqADWWlmy/9rcy1SfkW33FQZlqzIuIimBkE3qCJQ3odb77gQ5VJ+rffAAflqYkWE3xzT3GlYEmmAIg/cBh8AivKSb9ECXBUTDoZdvzF+1OVDPeMqREO9DrgVoQm4nXfRDYuAYUpM9T6b9XY20lDsLaFKzZktLbDFwWcv4bH68BTpbcMqepvUuqP2UsA/4tMaqg8r2O72AB238/ikFYJBUu/j6BFzMDL0Ts1B6TJSBW3sFCO2SXdd3SXSAbMdftq9WFg/OwalWXhFU4+YCvCmPw+mKALKXuDHuER4E7XBYHZaXbq0QSRs27+5cc9cnFHpRMvb80ByRv5ts7pYzHuOvZL8z440DtZC9QMzzY1950UaQzQ08ASlAvnidJKi/k1kvSPz4t0VuWXLnfEQBJvy8R+dCz9C+kcJA8GuskijIRZgP21SEb2ywToym7pUwghJ/Vv9Mryhwx3Kkv+tlf7I/EYNkWWD983/VDXC/J0YP5Tl9Gf+z5zyK7e+sTPXvz9yLt2L5yNoyk8jLLkdrISVyuDdoovG0jS5u4QeJtDEJcUxl7XWhaoYZeTmZn4UB9Fpm1UJ2PXNSQhWrjVBgohe+DGsoQSQpjt1SeQKYiSCY6ZDJlCrl6BTU4/4Oub3EIYv4jWdxJN+x3xQF6PTcF1fhnsrguX0Je2qqdPipepvGAfBTb4vSjiadumbVAvl/XDh2NCZLXce1niOla86sZrCXRhhUHu+PaiAXV6uQ2YCNxx33hmqqoHsKsBNAaHaG1PmDS1QZ6r+HIVjg+baF7sgAk5hee6hrcY8YDd2V+1gwhxLEqh4B2z/wFOoKhldJPVZAI8E6JBhUjsPK6WWzr5cYuBl5qD0tHMQN7L8LE5exvajfwXlORTq1HVV9sFUbwCN27qy3BE3B6zLhrrjGDDsoolcjU4K2gTtj4NS34unrUbd5AMp6FFSmRyGHoFnR5gnppt+gwiiQeZ5TwNENUxgNrqE0lIsb584VhVcdyXD77/gSyPKq6kjYm05RDj64t77jpvGhZAsZpV6XggKkvXpbtra250IzZQLyfUMVkOgfy41gz8SL2cfw0dZzGsRZFbvlnLFSbcNw9J0osKQX7QkXvfKMJZqX9958TmNXA06eTc5mt4g875IokJJ5CoGBfgF+N5dyQbCX2Ey/FLVzBC1MUTwqLTH5MAR94tMnxG/6B12KibzUfZJFCTA83EN9USEIANtU5a/n6Ta0J0PfhhqbeFmhfRCzQk2keax11B3bfmFD2H81j9GdewF9jFO4cJEDxWqJM72ALXmOlMMc73ygjwNGHvAMVWqqHUiDswxCh+gqJAowSJfSuQubQt5ztIcRZCSOlKzfjsWdy9mSHmiJWu6pX0r/oMASShk8fxeuhdFCZqUoc3kGxWwOwqnxIO3y2hjG7ACM5WsMfB6uhKph9ZUbB8dOq6ocKKWKc9Oam6yo5/rJqPNVA53fgbfsqCsbKnoCIX8q0uervD0DBmhUCv+Ru4PzQzuu/Kgz2rRpJXoQ4WDeHZj9bLLMdMtgGuwf0SzOEF1FVVj/Ahdn8lbdS+HQkdF9qQqW0zPareSvmaxJ2s5RxsxSBMMhNxWEBo5sWO8btURAh6U/DoQAmdB8RRaX3lxuGUd3AC6Fnkq8hqZNp5h6dwh0/ANoMTz8I32mK5UI/4CewN0uDWC+QXr+UUcACAAerZcv35jVnxqUNiJZlaFbpewMH1hgtBwc9WIqY4hYh6c650HT5vN18OQlGI6ni9qidB/VZVUb+2kN/FW0oYJGsj2G3OqZl7zVF1rOq43CH9Bmbq4XOKBa/q5j5noPfGzDZAb1KMpB4yQZa0U2+1NwYAC0VV+1VPpLOzD8wEwwN0XILqqih2TWu0+lUCBhK7iakbmtk1PiRF5H8F9ClL/feHFQe32mYIkTIXaseHh9z4213yC484qpX7+qV7DkAzBumPPHcjOeVpEj6k9/nNRAM/JhhaMjji0CXrjIcd81FE0jK/pIrW5ftHm1zjdneZrhUSfcdBi9tuDJMA1OlecZ6e2dCl+FzyNkIntdOAfUHWOrkqobmyRDra51/plHxX4tapSDeFoF1rcReDebkgGWHy/hDNy4YrmXLoTQHRLs3iccnChdyvNkoNiuqbZ/adkvKmgpv4g2h9MAnjLDsBrsGK1nQJ29g5QBRSsBHa6nQG0NZyjVIyaXOJFG0LvF6bnIEaSDTS1HhMQ27Qlxs3nfKAmfxdFEmN5Q19WjHI0AKPVdPfYB5Jgywbqf93QUcjcOuFDS/tGrC7d/yD2i3fVhkH5hiRK7BzGR319F2pG1/oCTTcZ1vyUpeg28fBpzAuegLNtYAkCsTUzywe9QJmWqeQxXGxPM6/62QeonaUV3hgWA8n+nlrnMrQiLvfkwyIXcsdR9dXNNv/wonuCAl8qw2u4UKNszoAcEzucwWeh8gVlLCOIqz4E1ouCrdBnUEtk8jv/E2LwelTtWgrxWUEcJ6h3l0lIJC1jAuZf0++F43qF79FstRbIbSZICHTDRuEl0jUiPDLyjCya8QRH9E/Ixe5Ta4zDYmWpQlz4OyKbaKvy6E+wsVvIIctggJYlqI+8hHIl5pJLIM91zaqZO8nYt/K4Q3YA4/2UL83ij19gUkg+/utBxuRNX5pfcCPR0sgIO5Oo9OjcnQWwZTxAqhq3gn/orwQWH4daQRibVvyQb9kDv7RhXSTYLWiOCb3ghpcE9fXlBZ5d64BG0iGHRcUy9j6PL0h0Dw0H7Qf1xwliZ3bTde0cD3UFBcJx7AXMkhMw4rLRxpemCR5KvW9IAtvQX3xiZUJ1P05WIF/AlzByJVTTUY0FmE5Gaj0/wiPpUvXlMZpznbUdHMonaSvCtO65RpYSBuYgTMdoN2wnveJ8kn84AEQqWQ68IimF8PjOFt54rG0E6L6g8W47+fgsfJRGdvZazCkknT56FaN/0nIn/7dECUk/SnTKCrkkx7S/c7zEHkM3j5zasreSxL529xp/4rhhqKvLIyW104MTcRX304eJ76YGRd6+tHR84uUOALJP7IROqd83+sZdlQtQMOIBQdRDSSWQlpXxf++4oKcA6eIps+LSCPAUHLMioLj+R8VwJnzJuV5kaDDufg7kRa/p0kCAcciy26ijVSd0hUz/Dtgl7dkDdxU3tkAqbXnkHyCKOISLFPcWHVLUzk1eW3qYqhJversyjU/8iBoh+/SvldRN1HGe7wf5RdMVLAJkYDQDxmfzqOCCkQrBteox5/VjhSFxmjlbLjMN8EhjCe0k27lkDukk5YWk7DTm3OaXuwsQgYaRdsOYQ8eDxrrQC2K7GoiHSnjyBiU4ewqkQ9pA/A/NjVeCDF8Q500c67kZOxRbD8GHERUkskztbKKifIAxal7yOetpb/C0LtPYS2+eUGIK9juF4/fyuJtSLjUw3kC6Csqks9+l5pirdDziFUy40i3BoJ32mO6gE6HFElRqHh5DXhTHmrzMDBZ5miMYXRdNakHf6KMxOy+BpD1prE/NFgCg41VPcpENjNS1/3RDRo1j5wgQGDIF95hQzKKY1PA3ICdnJ22g8vn6wF1CJN6pGq1FPI6RdS0Y07TTYpX66QNE1r5lWxyceFHxTNYq/4aIQQuRQDimDdXF1rmObxB1+REjwbKiuqjgL4GImELX2/7HpyXS/1hUAzEXAzYwgNbCbnjtrNiIqjt5Bwv6x3eEddHNYEgQTr8EN+fwD24KnjuPzB87mXRtSrSQnOg6npLOMeTCxOpcnPfyKdqz5DxY3/Jj9dBPwMJ6zkPi4OW24e82rYU0vReFLEZLcrszF3M7tjZiYj1PuI7mxWP62yGD2E+ncs9kOlZrVrXdioWe7Ey1KvQo0qqywa80KdqmuCWXJ1af4YKlXCmgwsDnHDmed1/0F57Vni/6/pcfkifVEr2ZN7MaIF9oPvMDlWtljJ1J6YzN348BAJAvKPP6MAsyixRSz/sUX6irYijt232HS8N9CA9/GcP5hLbH06AKieEJumwQutLIU16k7GGY0jR4dZcO0wFCdWwJQAlXfMavmo98+kJ0pJW9Ibz+LE39f6QolQlc2YInybDECkSfwcWzGkdUAMghhxz6xuQcBiO1pFMhcaYsInM32whp1dsxMy/xd6p8LNFZtm/6Z+NjhMWOSREHlIHHHCUi5s9pCUTqTR0W4JWZo57h4tmG8JXTkRGwFfIQ2W0url5cr4/E2RTiu6/vq/HdtouALzJo5dxSQPp7FgStTAfiKHx0L5om09Os6pNftBtUlV2owGoqb5VDYL6RZopSIE+9hcCF4EjkWgF9ar+d3SjrZtuqr85tTrlnK1zJArNr0567ZtedFeh/YSIfnDWrx7iZX71JObcXAgPLPp5vmdAc18zzNP1DB/FjcdOgxWr9TUob/tt+YPqHuL7DYQezOOmCUlZPwG0ajjdHDNO977E+S5+1DfU2QZKPdIzJ7yrZK8GDHqtOqEsuKGfSHYu64TezHd2o0rQSUXjaVBWSQrSnParYVfj/TK1fjxO+4vRFnXHB0hBUgKNE6oyA1dFpcrnH5M3/J3Exjmre8Aj4/xwGqS9dfoVFQ2tR9ulvIi1FmNONcECKECOacVWYXFeoDWTFKjFy/r4glzlvNPDvmiw1qQMktXwCuEsRNVXHOHHUfaBK8BVPlw9KdyezBGAHDxMJFQaH9ZJ5f8AqxCLNuOiRMFqy6IjPIqvXOMKnthVLoVtK1YzAwNdkHc21xFXcr+obpgUF9M3mj8r6b7dejP2BN+wr3w144KUEAqVMHHEhsS5VNE+UKRJppVqVBs8ii9J7wbTlErdfOCqpi/lUuCL8WvGlsejFJk/T3pNprmW6wxDPnY0A9umQZlFeubU/SvNmjUZbmlfIZm1UpIO0rNktMA/HByiTQPnsD73KN98feLUsoVZpeaMIK5/R6bU/N59cm2VnqUBX1C7MYKTzBr4epywjzrJoEYvBDotpciDPiOG4a/flx4FxHIYd1vo8xwoLpJ7UwoLqpWq8vrzhVL0bbQ+cC8HIsOicxZX3KeD+svjizI1ulDmuqpA2Dc4BVNNU/T9Iw+/Ep2DE8BUwIGtrmjudsDIWzjOEwGkEhhlOit0+egmmJsPmgDOGcu+5RYQ3zsTpkLO2jGWXrR1KamFKYdc+ttvyYTZ8lEDyKiOwgfTs/bkgpwjXcGKn47i9fSBBT2PnWTfnvEjI9bpRlNe/sWI6miNPIivIL6rMTn1zEEqF3waIP3a+oP1vobAEQ5aL6qqWuemKgnO2kuqbuMeAhuw9wGBXDVaVaanUtfq75BNADOqTUivGY6QNPS1/VF7XMEG3kLPLVVX4hM+WOkkIuJG8nqjV1tocNsBKwdcdj/6gaHZoK2p4n6BKoFjgXuALlYOnVvsqauMIq4oqr2X3QRR9K2I5RXNqcZWodT31JUxdM5pDeL722IpoP5kYO3sxlVyiirczMH2EqUQZadPBJAEjkwx8fLfbXdJKhwwOd534siTg+JSbSzKUf1cNGN6nAAWWWySYwpML4uafiSMQO6+iFdyhgmBGIALMacQjWpAnKH5DWn4S8k7RJJ5poBNTzG2KdArgInXN644ciweX5MvTF6RJnq7Jal2DHl4ZGpM4oEpRcbTpODDmLBUoBBSWz3zQ4CuGWrhw3AIkpaIGKo2JFnzyQs/ii3pW5yuT3WoCBi/Wrjl+wDu3xdcdsw1ohw+ssUvf8jc5+Xy/ndS0OrqXa+VvugncxRtkcvYS90YA/AtE98maW1VSFy3MYzh+PZVSQbtDLL1gTba1pKGcnYxsycnrRNjreGXFpE39GgvjG8ofuEUQxnYcFMqQArEJ0iMlkzJrctbeG1QZOSEhn9nyV0BqF3b5R+y6srLryPHIcVUkaYEc/V+XozsL8iWovpCPhq4FXpnvKO3q12PLHlcNsLcKq5xvqkvcyjIaYTBI8WQdli0tT0rEF7Tds+As4/zRj1S8DRvEScwuR7UxrrzJzBBlGQXD5VRdugtZ+MV24NtumOrcJmmU7C4qDVLoOCvt+lgR5yY46xio5WkTBxVWd5AzaDfaP3FU4QfkV+GxAmScgqDDM8x8lfdfsCnP0WJcm7IFZjgRKoS0KdNbS8nix4B39s7KtG8xCF2mLpXbbcTsZCSRLQyG9x20XL+IhevE3/jTy7MqodNxfDDoqAY5pEpFl5OVbECc8L8IqOcsLLhI8xSz5CRTF2jskc3p8BYzWlgsA3ozdj07fySOZQnYQFPOWd12UQVj6I1VWWfuDJqKuA6xcET9slyqOzebqNWIiSVZjoq+73YAzJ1cUyuRuzNCs3bteIqZiBzef2iprd8fWShkEfs6HCzT9J0NsEqcCVxlitF3aWc9b7EivCnq8Ye1VCkpN/1Oz5B9ilKyZtWF+V6OQ0aMUvMtPUErqyj9FxrgCe4XPk2rFkEWIaFXsatizDFjafCErNFzw+0Lcx8mkHEIobfHuxDwpzqwYbs1lTkxVVg/z6wN7878+TQkasurxQJPGxjM7uGBXVMuzFwwi2bpMFC/yE7bnQ7H/sZ7XZTRGxk23ktMZh3CXnRUVDOffuw9aYuea+1+rEG90A1FixnMSgX/Rl+3FuJKOTl1xD0sSexDxnOxLm8S6mymEhdqq5hgyISFBjN+LWoMTczVfP17iJLp2D0ONVU84IIrLCNhgky9Eet8cs3yOvtAx3KVqoie+VCdCYIYyKzxoRmFESlAJcPXKXp7zTCW+8fWT9v+6rmU3hcqmspJlNispW/ecTvr0EKtrriGOA6zCuv3fdpK9aAT/ARcLcCZFNJ9OmT7Up26lAJtxkrp104hv8gZIWyfsdSDa+Rw/3u8tN7iIvPU2StHSKix8jqSX0nDdJs9lY0k0zL5TqIR3wrC10cCaJ3rCvdO+svQbrm/j3fzvYtfc0IdfV1WnlWaGDSeHRC+jLzEnoEMMGOOTs92W+gl7fD51VYuLH+r5pFPSWRcc6yaW1cX9krCWirLjGARZjESH0M5cRDDMxk45PXEL/mok29KwsUPlMOPFaEgdyXmOSd03ydGf1lPrUAWPS7YyLMMXlUda9FMwiMhIBUdDmpcjyiUnxMviUj6Ocsyme+N68Bd6EY64RRYlo9uWwffWn06185eij5RxYLZKT58G2Ka1nG4WJJwoxZlQoPd3+/FXj3digI22LXrgsvTcqKOJ7x4nYCl/xEAyGL6tZHAopQCpIsd4rX2Db+F2m6z68h50e3G6hox8WAgAftASYi9ICLOw49s4q8ZxFGQ/oGvJACUflzZMlkFyiDTdKsttvteIrVdnZ1qFkZITSt/JqMauxleEJUHg6QznCQmpeDg0yOv/lNuN+e6vNNDpSda5JLwxZS1w71sDFjAC/Vx2f+JwmDd1w3TIzJpFPEIe+i1Lv+1tFWAQ/5DHdmiOk4c6waPm+oxu41nAm4wZPWkxWj6YK0QFKaV4/AtxzLLGap8KDCkoyonaLCyl6Y5UxcvtFNd04astpTxwV1WmFAtJi725PK0UMbEp/IGFbE7ujB3plK5+JB/KIk2gmd42DNYMisrwI7soDO3Rp/K0UBX55yp+OYa/sI17wPlK1YJlEESk3+cAmR9I8EeVStA8D7iiMuFxe/0ZPgHYpsV/ZBfYNneR2AFCLtkI5/4vwoJj8swjmrmePY5s2DVT+2NJkwIgVxYtgHjhJtunOvzdNSyzsvmj8sUo1ofJ1qERzVHbgjt/y+LBgMlPO5Yojbx6Y7PN4bSbZ1iw76L1PJVEfZbcbvoy12fRxErFR7vSg6iS7FR8QutwbgVaiUZs1sTdTMIhFkCbOXRwLNw9fORmrH49z6EZc0OJypctkSfCCkri6AJlO6KAf5dKTclNJHXmLvANG/msxRby80Wd9mXy5VTsdiqmgHz4JLpIie1CGiNK8FYhNRSWDlr9Y6dYBV3PiNCGBJXtmBmX0H/gL/ZQz3HY+QOc3fLAq/GlD7wG2hKvq1PRgVbQGZRjL8G3CvTrI1t2+8ChlCjMuJ1nDriCbhe33sHzIZwwHUKONOFJiEPSZ8p2GM+jKwHgA1FCjRbCjWoT6mgfEfAzcsxIuvSrsOp+1NUZ/V+FcdgxFKS3Dc/LFboDe4rQ8ptUW+878TeLFq0l5vW+gX7vfVZTdNNCVi2Yy+/EmCDMI9pSewx0nh23ekgjzMNfrAX5kqwZzjyBYtz42UyJXu1bmLk2jRDFOYE3fD3Rjz5TqPaq50bn4wgwQlQwEAj7NI3Nz/xNdWvQlTKdROfHjUG6eVkODm9yEOIhX0wG5E/tvcX0sfKxJTMpIyBUrxqBgMYul7qB7PYsNsGPCcjku8Tr07BfOpblTiDIZVw18LPzNOhZ8eF5RzxGpuPvRc5u5hU3w5cQB9NLkfTDrAdlEqiv1sEa6FpyRlpscpQd1czQScO8vySIIw5vp0WxILfTa+LJPaaqImak4+ndqXi3t2v9QurMq/YSjz0J4wyvKUKQDTsCehyKu0x5+7b+qu2NcCQKGiqfGhJx5E/F23ZeEOVuCsXOEJ2pM3ijJKfpBOPjatXDoGYnLfYrcucJQMUlzEjeIiOQFlwPWG1PbypwJZPs0MZ5dSTWQJXlAa0S2A51ATP2vmh6Zao2YQc1/BdvEXSNQVCAt9nJaT/QhQyMFVkoCZ+FsAGbIcaFCXVJiF8F6r4Spn5xIgBe75kLlneiDVtnHgvIgWg93G836KINZqrjw4O4WwJiGQ+Zjtx1bSJLLic+G3Sx+/xSYUR0CA6W+BGa1zW2fToCAlPFl2ianusp5dBX/NpW63PaOp7JzTPi0SRUh/xcHmRN0RfBkdeRBpWBXNU786unN3xMLeI25RMCo/mReG6oYnXSbzzZkpHURa1mYcqlB4dCyP+Tujt3jjnN8dCnJsRC3Kqx+b3OWAwCMb/6+1nh3yot+Cl8PqtY6Ad/HLM427KMlufTZn08N7JDn6LllERlqM/j6aoJAaxJqQQI9Oj52opqqE8ZXXh+db8m6hnZ1qQCaRY/61zKNSBt+UkZgo1GUhmLMQOGi54t7I7jXhwA/SyAh72HN1iBfJa2dld0MrPew90aZ6/9pAFQd3mTpE9w9YluCywSadwSK9x+WiHqfnQIFZAP8G4TdUDfGpb77RBYMIn3Boz5dhXlkx9FjaWsAw2UjFOP6yltLRiLuyRX2NZzCYFJGel2B1fjl3+90V8/OB+F5F7LNcIYvldqgtgRbafATVOKh+p5T1SK1tIaHkPSpqIXyCWtnys+u2X6uKEmrGKfbraBoD8ISdXC0+eNCFixV3f5UEwZ2CrvB+wntravObUdpjPd0Xlholzcx2ACSzkU1uZPE3juBERAYspLhhONQZbCKbsSBxDx6rQY8qX+BGVV1abeYHIlCsc0+qT8foq6alD6UzqalB4+SgnVgK+L+brbAmIqXsKkC/4pdZLGacGTecDJ+HHYbCp4r8nUImZ5hyNH1V0PuhyMjHskNJgC3RhwuYNYqL8uFCN2E0vzWyuHFGJMGz3ZVAYHifmkELkOX9GuRkC4KFjqYqw91u0gwns/KYAeAI7ovEeu+Umm9Dh3rAH04c/sxJofFkBK8nKBdPBmOUxBmrdgKWo5fVCmKW3IPJZhFcz/UaESKc3vT7qgjuLLiEHLQ6Oj8jpBp+Ej7VAcBof6AVDmHxM+e9lKoA+sikNF86wWgRh5A/t2c9BU9XL5nSrn9E6zvCKwLKHjNqS93lvNESYrfHFL2AvXeAbBbTS1SGFvUnRL310eble5lN3P167mzO/kC2RCpo2WZxS7pvOihVTA7d4jD2DkR7QgFVCaRZgqNCMYxXw/PoZrVtNuQRjfCwHLzAIkuTpliXmzUjd7gvXRXCpn3/bZUcTFaPylwxMoqXEmhfEV+0fzxk+Mc8u1vYKvV+r7RGue1AQXcgFX583Kc92AeZDgB9aV6wG3jVL4nMQKO9TC9jTp54ldIz3KwWZlZG7IkwS/4Hg52Ul4ChfVsoysqA6pCM8Hee15AalO+D8YhUERW8uxmVeGUKf4S9I3OOL5Zbvkii2EZCMlMJRHRATL27MQTce0grW/TXRNy0SIV7q8HQkXApLqVX96L59nF88tn+KzPbEkUd3SLMpdrMZ9sfkru93GyV7bodleeNLVwTltgp4pUVFNGJjSdNbGeNEooY8WUIrCmDMhabEZl4mD3f/9LfcHYuUu8D88gOfgdbiBC8OezzYsqa5wIz6A2Liv/pD8h+mnK89dKhMur4u1L5v5242lskp9URnP19OkhPX/Zpec48FxCrkK1DqZXs2Uq+ZWKNpwjMQlmwYRyRRBUdz6eM71sx1l78eYbLHnPdMaaay6ZFLakKmBNxQXB0Z/8+VMmXCgQDynv/+YDi4KrzQsHtNpFUO3lt+Y0zycAm821ePU0A0SKpq9vTVueWSJBszLnmtzMLvOtp3r0WbZIMvo+kUBWY9hDRcj27YQUJRXW8xH2+rxfxEk4H9e/CpXnDP05dwvNPEZ6xNCihcBa1OcNN2bPvCaVAH4s3dpauAOJDeSv9Zx42NCj7Q8tWfDiSe40FcGSbmvN/PjQaNqstzFBcvwK2nZMsbdns8YQLj6fHg4/qVYBU9Wc8++HpkvEdqyePaBNXyE8KgI495iTaR0wSKMrP4IV5ExrGEztYlvUeQyAOjYpvQzV6jSp3rETzppu6MpvgjWGKLo6UqsK+Y7KSon388iFJzhJpr2tU8j65uJ7qjHMvuITm7043wX/x+NssnHwE/icGbpG3N9BKejxt2YnuIOVnjeVPhbMNwkO8Jcq0iy+slHNWtTaX10V01Lqyk1pn2y2LAsOY/qu9pvqm7CMBFXv0y9Y9Kidfeb3nfnfcT+MMOK1iJt7qSsKTuW/EQ+t+ykHQYZr2Cn2zEljBlNWbPYRfcbKi50w+XMdnsNUtqwYjAcmHBwyv26nx+A9ySG/39xKG18QsrPw7mDLoRM8FeZKf8BkO+49IyAxF+0nfaWxZFlmX82SEdH/8KxE0BaD/sU1QTVLEW/xeCyoCrecF+CeVGMsW1QgUB4qfihd5B4/LXsXzP7Zz5040TZtLLyNyHUZyRaoPlMssMCbx3StqmSjSi3l9dFY+xPKD8Ry6lsW4GP3M5uU1rEKTjiSzC2LsGsTn1WuU89X0Rm1UFFWuo5ZJOKWEy3T6rjXfb3fhH4hPiVDPdth+Qu+1qRlPLgWiNIoKmDhCH9w+YMYRlXhBu/gHLjnAkG2ZY9hLD+BnCwM5UegTRhXndxZnOnouKdjJ4BPY8xj+NPWZAN/7+6FTnbSC2OeKLTzXiswAaYbZdr7rBfrcGxmdwgto6o0A2+ZxuWBgFMWqvi9W3q3tSJf9fzUTkn9xTEQXQSWo99/xCPf0L/IBct5IRmLTWFRhU/A3MTJTI6ygruAPejo/FON1bsZNt5V11MpL+rUMW3RPp7N4x0FgeVCpKTH8Ti3yaIvpdtl2bOYmVioaXoNc6ANyOTaIusdAc3loL9njGQwCJEXYHeGzrzSv2SvAVpc7prWNXxKON2SV1Xl/9EnLhWpJ0zKB0GQugRmTVjx4Nkix099F5JEcGUcSyUW1L7doauLz0Kt+Sad5/hCL6cgSAxuP9VTAUZ952G38ZPFk2cZslYjf0QGpKLFgTK+4AYBXmIqQ/MxYdJbLtsZCn3nww/Y8Zh0nivym/lDlyYnRH+4fJa3c/dsKFqktbr+zSVqCR/sYNiRJBvo5Is2+iLnDbsZEDu1mYTtp0mm703wY7aI8bBkmjY2hw4Ofw0bJ9Uhc79FR/+4uiEPmyIiUxol6pAWJEPH9a+dF0cEaee26tUuVy4wXgN156Xg+mwdaO1sDfVvAgN3CZLkrUI/nboFlMbi5TkOKfxuujwAp053lW8/m4/GPghVXJ9M9yIzHdAxTwmdKMGcwFf5kL8O9EoXPK1JXOrsGNsKvv/vnDQQuTZq14ZnID0g5LkSRjmuN0lUFjxjsVesl40Yl8h2uTGpmnkfp26KS/mNvGwjadYSUa+8zlrafboCfKM0sHkm/AQba5pUxnNh3ep1qbBiptv6+3BYYkPgBVrxxITGRSW2EYkc0JAwW/Lpat3hcThmzDDeM0bJZCfPZN3iNdEDdUitN+ADqy+Z7NgJAId4HbLfvOXkiY9R1PYOR8yAzOyhXNuee6OYB4mry16EZgkhQ/ix0cLK5RVlCznu6XVk1RWcVozKx05V/J2fKUgEt+qR/FgpZL/n8nrdLWBBBZE4jLhhX1oP43VWYyeRGmwTbrb53nzPTbYo6EqiA35oyx7PqJD2+fxN+u233vomCWmKoGyln2so/L68buPt++Nnnd8VEdSe7eY/avEdrjkA2ktbSytlxEMvlqTJK99DcWwZoz9vmPfbF8oQw9JZV/fydEwKc53UGLG5FVh76ig22CsHZtd3fstN6ncrDn4KgEobM0A3l05DESiA+hVtCZQuOhE2q8XM4mCTsjpUi7/JEJ8wNknV5roHWQfp1lVnQgj029axXmXmn7ixaTfsq0ZWtD0ffi1RoJP4vR0L0z2h/QNLtGtRAuGxOoHX7NvwPQP3BSbKBGKhGQ3aGyt6sg8FR7nrlCwyDWwL46VtnbfaF7eHCFIwQiVvHkuLSpXWrb5dSOMFKGHLtD2EEIpmlt168qk/N2j70yeayVijN15GTlsrGYkHj/chDjaLQGX15alPGQM3a+KipcFSXE20rQ+4Odp4ES2Jg+pDFJ0OBsAtc/Vnaod8wV1FofqP/h+T+bMt51CSmP6/cxh/dxUWx6O/ze42BQ1tERK02avwJPm+mszKZExAxjGLJTrsOHeYI8ax2TXcCTN9yXjVGKNcQMXg+aIXZTscQ8mBCEhv8eNkUnZuIOaitS1MdzvbYuq/p95ZjjQGbJCoMgCfpA1mthhcrkwEu78yK6WX1IDqqS977B0M+yPYhR6+PGpPF+FxHg9WTcGs7I18TLGmh59Q6GRY5QJfgmpXnH9wqk1sObml/Q+x429dmqE+ppWjTPs3kW5k+R59N3w9tTLRIMYy4laR0VnOcoWHf18PYMPeVTLp0joNCI6D9bjOizXmTKKQBPmkHxlcmjCiMm5ZfHKMHNb0hEvvK+Z1FUiN7y3RTvYKP9WgVrbtEBN/lPb9kX/KrRcSKTQx0jhl/URzbL+/bR+P+RJmdZPHbZklz3Cq85J0gK6KoMyK33c2UT4YzLJQCxAMw5aL2rn/yyvE5ZiKGw1gDJtN9UGgiFU2YDSydrVq+kBW04Doaa4S4USJUJXryy5T6i2CzuoL2/QEGp1/YWLoIdXSa4ls+baEuXANYC7q+S/rnlHVTeBdUXAo6Otyf4hTj9feCGNKJsoeFtyCmHo4P1V7t3Q8GsSXiE1Sr8n1lSvPxvgNPNbmf4EWngyoGNpAdzTUiZuY9ITxl+PtPUiDvCoN6dyyz82/J0xUke/zFtXZyQvAWaVMvLjO1vPetVPX4MwyiLdbxQ+0DHQP9ILQsJlqgmsH0yCUQnhQCsY1Qy3ozjYK4drBJbaHZDp7yWicRHqF0PiNmBbCXYfMaXiEons0XwhIYdjfx+RU2dGXFthmjZLEZRGg1SU+2Ez0J2BTz0qeNBn7hJXFdU8Mz4RY+LNlZpZOEGPM7MqdfsRsoUWurwwXSEFKAFzmsDDAnNJjMz56qCZc+2x8tD4kV4HTmi9k3jUeCjzTN2BqWUGe7QPhJLt3KYSnec8Xvh3GyAooZBe9D3KWZl8ec9VVyeZGeO41SVEmA2orVg/2XEmEr3l6M58xqoOMGmxygsAP6pfOK0BhDxuJ3XCXNTlZXQ6n7rGF8Pe4OurC4esDAwR4wxp7h6gLhmNqccT4WfhJpt00RcCeorNRMTzYLyUGKy4341xu3e8ehHQoi+8I0BvA66Wa4FrzlwEKzrt545G10i7ZB+ySNEzrV01igtzrous1uZUZfrPLRaxqMBMEUVe0T6ZLEC8q/wEzAyd0Yt2xvWix3v18CAvByFTxH968txO13X89LT5+oTZTXtJD7GxNUBdpONyrtaMvwn1hpAk11Pjp4NZ1L6F8HJymMmWax+GCTOsoZRwbBjeWIBXyvlKrv9jflJerhusoanJo/MRY2zL5R3Gh73HHN6FhJJnvNPSt7BmVK2U0ZlV/VF0l4OzbEZdkpx/PPjfcD4MSXvoHRzvr+rfbLdLkcuHhqnS4DH7w5vpARg3FOhDiC+8xEgq7AHJm6B4APHeuyv+KTcnrmVSrk5tsYcuJnZsj+mV7Q0598E2U2GWut6XtSv0DiJUS7Ucp6Ayw+Q7OHrr86CyUNyhqT3T9ma1qRBeDvS2Fbr/CfAlUnFNHnNjESo1AhqwqZfuxKDpa2Ko47khggHBX4VPObDL9WAI/bRdsB5sFl9W+KCqEwQSktgstuxmqXhfIUIdmRS0pVjmHAI8L5AaD7Rh/hdeiijsCLVr5PbbOCsziVrZmP/plHo+zS+AQ42winuu+hAnWft7A4xBbNm0GqA/FZg+OSx8R0NXqwJKPcNhXP4fHrFoiDa2wPIb4y398+aqDbBL+R01OUPHr4kfIadeVHMSqNUAzIrQJPq8Vy4xpDm1HKgj9T/kT1qQReOJ3vTH0Ce2IHLebtqIvQo+XIZPBdAd3fPTWCoWzxXNrOsRieLAy7YLkESq1QnqDVX3Pv02Gy/3gV1ymKCYov2qMuovZf8vy++yzN3r/jHdE/vl80oGBmSA2lXWIG573occhQNJCnAVVULyTxYdvI3Ql6DZAWqpXgsSR1H34fUadogZbpN2f/afLUR/LeYfgjvrjwDSD0CfgX2v4ZtFR/fIENiv6owdPSqct61bTKd7sayOxP0Q+pJLg5Dz/FrUvsMGzHbYqaxBOWHWq3ulsh2OKxGcxmyao8+5g8mmCOT/tcaieeLd+aFBjNgyZRP7twoZVTI1cZ/NUwADiU+lG5S8kpFVXzTRY03WYMA5rFVnQh3vi1Xv45ta3wsNV552H5Lgrf/sN12CiNpeBAQvJlUrOGrZcCDd1PdJUIeC1qk5NQ=="/>
  <p:tag name="MEKKOXMLTAGS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kkRwkDcp+/igEYEdfT5g1iHzqw9xWxC6/XrxaTpFcf+LPDbhIpU0rd1jP5XauCtGSeZEpYDYel10iZFCvTOvAg4bN+K8WqQBDtilZI0DKSXguWnwGN+0+pDV5WhM1CVprs+XuZ6iPreudxzCewNNHgnKHG1cicPOEkGMqZI2W5geExxMeQYrsHAVEZ81eAncDa4IHuRWzxQt/YsfmxxWqDKx+ipcNWVDLymQJuxbcSEeADcX62cvb+S8BuhjMRjZooAEQS/U0tNmwHJXIBq6mMU1RPxxq71CT3yH29043a5b2AU8QzzOKxZBpSvC/+TrNHs22X80mEUfWSolCCuitnMvUwBitZbunkrK9n4FuWLTSf8YnNWQhpq7jzRwq++Q2y1EYzNQY6q6XZvuMj1AoUs34jCks7V362Ub6MfSQqMYqJYwvDzme5a7LLkOBe04XfkAiz6wX5+LK99SffHI78tEWA1ojDxD1Cu3bRKeG2/tZyNPLwdzr2CsmwehdDuR+qdE4RuxbbTWYIBQTaJLi9wnPAqudIb/wGnIdQ9iuDviQ0/VJ5aksujFwMQtp1KZV2hyVpRWDWPbtFKUMMXJyh5owGdZne+3M0/SShswf6g5ufBuFjunAZv9eEa2zUYfYjo+YePOXJVT1MDg1VrpRZ9NhG0a4ZEuBm9c8BRc9RDwXeDEvMnhEZwIhoNUOz6xtdKg6z9jQO2VYW+W4640Cn/aNNKOtYwxyEzoPd23mugRxiBptvHwORmTDK8xN4Z6CbmGX5wRxCSdvVL25nYvqZYCRznjJ9vw3ztCL3RR7Ip9TxLFWYEviALLXqHCdOV8dMk9rp94W0lOTUoIDsJrw92jJARzdZxezSk0i9N5rm74VX9yZoUnVLovj1G4rsCQDIyDo0yyhY63URddJnT997jOZ88mXKPoz+Ol+yadNno7hSe6JMz2jMVeQzDlxCl9fIjONVb32nh4D2wueOotY0pTLcIWYlc8jIrQvZkCz2JnfCq86T9k/SZZDcvgq3897OsjrdLy80kvUcp2gUL/AWj77Ca+6+H2hkjJUwdoRzP+0gKPhs7aSN20R4uHNcYAhpBh4AUmBkAdJTkPqg1vos2+2N0EcPC5uF3NiiyH962i2UgvjXZq0M8WADYHUuOpnq4cfndhd8RF4g6e5Cdtl1fAxzVRovB4IgW4Kzw8qMoNhxBKMCQgztYWZWrNzhImhNgfQ59wj6/bHcyMQj80w7tyujxGLHkc2ns/gn32BqR1rb6t5Y8xpBr05XfRpWh/mtrfrWph8HRJigWUG7Enq5W01bx/lRXR1apt0RUhnXrJ/uAo8uv1rtUwxEDGAT23k0uun341ndwiIk45g3INdfNbrPY5V6NyKwYjTDLykYL98vihX1YZqiuqwI4eFHoUL8ZiJYgRhHc00kEn51yxxyavtC/QMvF/PGhAIjMi08gK+S2rhyyvMp98rVE6JefxbmZF/MCC5h3/zar2+epMOa1lN+L/gwWqd/6tN/gOEqWNHJ6rCoWzKHQJXmDH6po7khmwzhOPG3izeLMsoEpf0pkvKf/x0TJM9Cf2kMQrnEyLNfPFr8RNdytxZQJJjk5oWnStsKWFw4/ikHhGaNaZA7S9OnmKGsPmoui9pLeT8vU6yzxi2E4TNEIGDzQgWugJcAJwNFXHaC/seW1N4Q+oBkptWzkmuY0pi7ap3MRwGNNuMdy3JqVImakLA0cnuEbCo5YQvRq5ut42ockI3oqNz4h7YMwdR9c/inoLIiiQNeFldqeaLMi6ms3ozjvfH79tStlYWEhw+y5b/5h1ivkZCtiiMpCByFEI2EvXkBWCru4zSKeuB2e/kV1H7KeL0ME+kmjbjxEx8lgVp/Y4niY9JpXYuPuhldWjrAU/KCY5sXrzjhI+ZY5DCuevXhR9+2tknYtoVYj7roH0oC8l+opp/pG6jazFJk+B9/o3WiOf215FwYQxo39MdTthjHHQkGnfC64KgpYSHW6fS5Ji9YXt8iYU3fijOvJYy9EMBOwNUDFuH0m01tqPaNnYkEg4IdWl4vGhhHFSqgTpmP3VEsW+7NluwRDGqG/TGzFI7J11VuMjn60zLDbTY0CSvxyWoX8NWl4Nheq0xJDjFVF0i+MSWY6g1sjlLbVjxMsDTFMvBw4MN+mY1Hx0JqxJ3MZH+gLa6qkGxDQ6RnD8tzLt4HXEfalP/LDIH3CDD8XrrN8qxtKQbDsTnZnjtaE6NxKcrrw1L9/vb0ieBjPVQXyFsDhYYne0Q/sRoZ/Ka8eBl7A23Dt5ZJbsZAj/TehDRgXE38TQof3jgRyKD3esRGwsPpND8E52SqG1Fi5m1GXn8RB9Bv7sTzK3fcrN/RfOwHO2S/LdhPHOkoTbrHHyusZS46Dxl7yFRgHGMJxarlYSDU5rJRsa0GUcihzXstetwEkq7bTjO1N1aOhmKKvoDBHdl1FPmrxBylJW8fAMWWtyd6vWEb1xF1Axlg3djE1eKwyfJnHUm72fuXwE00hPu0ZtH8b7wfgPdIsf2Pj5XlSgcJb6hDx9BlCr/TzLHYFVTRm7QraIlhv9BGLY3jnTGlwUB8T1vPs0YIk/c8edOwMkfjAzjvcJFevwR/Twp3tf/Fsd6XEOOMcwqHkmtk7ux+Y+JaZo0uz+nCcYSNtGnVGTOmjppFKFA5PEkw4ZOfUq4nmF7wYmVeFiebYDu9bapgjBsLtZcpn1JeMc4NLu0C2aX16vIlGQdiTOGg77wuWDz6wC3t81DQd/7qFCGuXAsbwjYGY3UBHlSMTN98/a+r7+GqedS5yXDnZR1zJxQdPdzcPyQdI7TNcWinb3JzqJ0cddcHFTu86YRzWTWhP/jsHevqi7LWYc582ZrKF/8/eqsR2ULLOzX80OFG9GRwgnr1RCj0gG1tKr+pLhkQG+tqNeBqOwY/G/pwUslf7I3D3tN3W1tCpphBlD5E/2FB0KzCHzmLXoFBSyHf2aGtfbTMG0i5WcRuuxt0HnwzLyn5QejesP1Hg+KwsoWr+pR8R1gzKZtrpbAAuG+wbtGQr/hYZ/oWMVoJZR9QXinDlkEUma7yHFonEmDSjmZbn5BL3oL+Tpm3Efaf9EXdYChvwuQURxxqeDT60NBUaervsoxjK31PmlwkzHVUg91ziCfEb+wfIyALSv21ODqE/Gc5hhyBCRbf+FSYlnZGEoEowjZIgRdMtJm6BcFxtbiON0RotMvBYZUn5LCZiKSbs4y79jpvbsVV+mqjXGOqJZ0D7ByC8meEd6RQ9nqpNsiJis0tvQ7vh4eKitSLieXDY2n/Z4mYCVBAXC9DTTP6njvBnQNOORhDYy5E1OkYeRpyPMjSt8eC2CCBEIpCA9gKAIhRm/NQ8IXHnt0CBqUmcfDeeOUWps0hLXzFGFASa87CA/SKSHLiW2T53S9LiNjrJ0luTgpuHc2Nla/Kw5BfQOlJ6PMEu0mCj7eVRmaNoZIANt/Q3Meu33Sw5GiPW5Lv7o18x5WRmvQ6gxu/a2Oftc4biVZi+XeC9PAR1/zoYwabv1lCU61b+raWfxZU7gnwdOM/eA01McmChE0x5M8LR+1YxXBIO2tiwgtdoiJWuJ7Nit2dPTmSbNP7aFbc4keii42xMdLX10ubTB6MAuctS4IWVaJtu2MFzuwg+9WJIwIoc0fD04b77pv3KXeeasIauFkt4SWzX58l0jOgaviYOJ+IYwDaiqxi1zV1TRqjSVwogL3epL7Z1oYQ4wA5X4eQAPG/nzPQh3nQnkjBYnyPp4IttNE7Dxq7Z9Px/0oPOtwc7cxwnXqccGYicLZBu+dU/9h7igRwa9VSGgU88VGMFhIMv/u+Ej71o1SHIMw7YRqcTj6CI6zn0lxXH0PVDQdHLvELAtFHQli7NsUwWHaHqdjBrmz8F3oJtP5HuLtOk8VhIchLSezqfYJ8RlwQ4RewT6YsHvE17fTZpN7prv4iN83SVvCCy4cfrX6BDntgp+kfPuD8J0QleV/FzN4vp3R1yDYzjz3r5xq53Vq3urbx2F8vlV9KlGlxhPBinJrDCN/I6gfdUEIbqKu4Up7cvFcfuabZd7lpjgbymUUbyqKyeQSVKNs/egOuMRk7PAZ2xDeI4axMN4vwzeeYI3MEIHVHG1To8cH7NJwBUSmFMEiuV8MeVkwYUvtgNY0yj9cYXRSSbjmRFNfwNyfq1fpa/STEkvVX7io2WDD4Z5juyvxKgw1kAisdeFW6zyphCzvkx6Qd3CibsUt1eyk/+yKx4jBGdQwQCP78y6M+9Y+jpiKB2pXeuvykzTbhhAUcm+jash12JhHL7kAsu1QQyTjM8Becu+5BQLOIn4OMQVXhT0meBuvgB5/h2hO1rTM6hiFC+i9sea0Dsi1+6XTkOdUFfDtLJm5V7rj/bxJnnMOSRTQErIvLPKQgpHH9CqH4M/aatjFt2XxMyojx7YrRqMLijwDpGTbMoLnvjylt+ZdOTCHolIgk1e6hvWDI7nQl2/iWdzcreRy/KWe0/RYm3J7SPCYmVBApDhnIFtoFwzAWlmAI/2kK1aJS8TwyRRDTZZ5oqPK0GlpgeWGks0cHpkSMAdzTGNhLUSri6HjWdJSTEgoh3U7AUqaYV7ethhU8ZIu0vAVGlk+wpLot0na8AKy3VS+qZ8xzIfRSKUkd7f/OsGpuU/keLywhdQ0F0bnNqBZe4VRseBXfiuxscg1Hn251vdB+q21o5QHbuKmSrluv2uOWmmDr+FoWPF3XUBZlDzqtKqIRbkCB7MbhDoinPymzs+vtCpKJUqE8NpnxFt6sROUffDZInxe8lTY9Wc1jHzxwZZaF9uMbCC0KmTHr9cO+tIqjm33g8D53ElcQA5s+kPkcRLgQGLRP6uVroAu6tkU6D1G+PeToXvkubH3ah2uR7oJg2KhLCGzoa7zMSc8IcfVpMaz2MLejGtb2Q4vSS4ZQz5ORlN3YpiemAKDlK3gYctJb+Pq6HZXz0LtXyVmICy5x+7sXG2dkSqYl6s2Upc18yGprOqWUX9uYwddaFty82gxPKw1PJa/fJpPR5nicvFAW2SJrV0rIFU0zLAayS2YlbBCV8LgsQfWBQZ7x2fOWeN3/8Ye2H3FtoKK/k1bFHEoHBq5+1EQVClAyW/pclxt2FP9cLlfdzVJUViHEhzsCuh8Qn7RCbatwkQ7pRjCFRq8Hkruy9RDDExNkQTeZJrP3IU0W59HLEStGD84XFxQsi8pWdQKgeI3UtEjl4SK6xu6h0PU25lOjeCKyzBdzR8OhalSO8rR7j66OhtLUcxcmS4jvV1nNdHQivCMWNzcMRA20OYcUfjY7yX4Pg/0mLha2v0I3YSpJkqp1u5OJLfgf9X9bMfF60T8oZgjoVE0U3+vj05DU3wWyHhe4bbaMrxc31ot7Ea5fmYGLOZL8nXzvsEyUlWJMT4ekkZ1GVrq5obEQr5dSpt5QJ4QbRBiGwolY+Prv2QXINuYMw9DoATRxMwuuwhjU/26/Ft6Y8L24Ge8R1fU/QTddBcJz1QtVZUmDivhwyq11rfO06ViDicx0P5GZdsT3c8xVCUGrSFzP64tWhytTR/iVxVNDSbXwO7glCyKaqu21bhNQpD+rn7bRNFLss1GMZitQFoJ0DO+KOr+oxxMLoOdLkSMpFMOzrea6py7yvS4TNvlj8T5hZsyJI+P+FF898mjwWF6/O9QUiidAWc9hRiOaMNsT+8RQ2eHbYHSrBoci+crie/2JZT2NeKoc/j0+evjH0dXgZ3WgYCAmVYCKciQGtvvIgwom7D8tr+63eIdUpUUJ8cViZegHwK7NaPybzvGasuyBqWhEuFqmSUnkGN0824T6uEMsFQJ21/fwtIj4z0dSi7ZhH4TNSUNd60tL1WpJ7H6yVc8kGR8y59qARrfFJFf/ol2NvNmHAGFfMwd3oCv+OrzI8ZwxcEwcF9ZnB3dfIO9CAf37CMDUvs8cP4CwPZS5NPmxrq1xzjx4CX9b+9O0Stzk29CJcsTjItbgzrvIR4oZLX27FoyjC71V+wBR+QnJF/Op/CXqsxJmVGqiyu0d8fi+iz7exfrXuxFbqgIT3pzsDH41XjWGU1OxBDA/31gIjMS53pKTMg1wBZ6HvEHqNqhBTc6AcgDapvdztgjieyp2JAtKtLUE3/NIdq9mqhvgE+77uYolrSn6PC/jlKXLz49rvvstRwMLCP41YpIXmDZFleXj9n15OP1Ns2VBnIh307nsN2DIWKs8C/dg34ea+EzdDLRE4VL/LoxAOoMaUufaiS7u2tEytR4PnEv5qnarnshuYEBfHfuNxm6ddoU8ToFxDbdw/ifZU1zoO2hVYQ+3/b1Gkr1rqYUqNYC0LchtsQy1gaxJV+jOu1XBCBgXyEMPL/Pt14CPGF7lQy3TpF1qpx0QLc7ZNffjxfwnOuQMAa1ZwQJUTEHVSaIZD09NHsQZilkhLHx4DlnbpXUy6HPvhjpdLJio2+XDX3N/65fTRb+MP+rMm6j1A2hmxyBUP7l0cxbcYhHJWaBorSq1g0EUzWaD3wNUXUF2BVUOTTNl59IL3KQUU1+4ZsQCxI/QzZRIXhQ6XqTyG6rv29piGiGWCKAwlGb5Q+RctSLQSmVc+J1HwNR15WIqEzxONc1qGmTg3n8Z3kMkuNwgBDrKbaZshDgo4wV3LkqtCZcHagFuKmW4o9JMCJbN7QbK9wGslfTJPRao/RNt3rgJbB1PWm9XloRmF8nZ3g0/KAug483u5qBgmd9sNbXcE5NPwAqLvIWdSX33mPBwbmMQzhqf5I/iPdryMDt2Leg0LlhLVeNHBkIYncigvPmRVCXVFHkPFjhRCrqRK8Z/xig5MutoOYHIxHV2Mc2avMJb4MmZp74SKi6A/mBYmbi90Y0kZ3A5KRI2n2NWI1jBW9auGqXlHvkUYDeiHOJhvHh/LEOVR/7CeK+NkwGUJ6xp4+g33tXNJgiGiObf75uAIqLkSE7rggMRdJMrhOGKJmA6NG9MH+2QQsL3Zczfya+hiNH412B0h69ILPQCgIe18KxZoZCWhY32lOfTGbS9tUCeDctR9K94Yn3DpOeZZ57MTD60PHsdzs4LCLs7ALy0RY/mti0p/Ud+Stk1HI+FLc4lXIh1oK9auSD6tQssJP8abvIWLcK9Z65v1G248PgW6HyDtBrTdLhxVYe0Hj/5hm8tTkxDFVpsluC1BNqLbO6X29NKd3C07HfN+6AfaiiyfgjOtIeNPumi01tpkzVF+CyaQTRZ2w2XdbOZoPi2g10tn1JMj8Rtckw7iACYcAS2sQQzQNFyKqU7aB5aNJl8Tc6b2ABQUQ9InJoB4ho7LvJdrKal4TBf09TH4YXPffhLxZhzGr+q812eVXT/KfVP9rPPx/1Ypp7w6nH8elf/Hi9zFfP6PMTgNzbgBn8lJRXKtcygOejaEdZHlXVw/Ke4kgLIB3TN+18JEfUisVZh4EY+pVZ7DhPzIKJkw3Qgr710FbTgZ2uMOjcAARQ8JM+akt/rKm0nshNeN6xzz2MVBjacaAn3ksVQn8o9faHW+FuHXyh4tWCTkGCOy1BXj+13pNDqP0LdZARmnPhuLf1hPB7ojhB9j19Sj3dDUpNmsccjMk7yW9gyz951hVDYfKzaAbNNEMeU7FOiSbaWWvrkl+2BWhte+a4GOq7/fpSX6EPst6cTSLMovJts2DwJEQS/lXQvBBP895vqJvupCI/l6I0fHlPAd4B44A0aAbSXuVr/2nI2h/LnUDFh2LHKYAQ4gmcBhJXkQdDZisk61nVlyi8H2sfWBsUZINP3Iuw03OkGcznMvuzwqcuMUx9Q5s/Snqao7qrxxXfYQy0J8a6ryI7F5duQNAvE5z7PkIwy2hFv4WHFJyMycHxHedxvnpN2bLEQmNzXCBLeFDeF2MCZyrAW4lCiOLiuxFyLJjSEiAz3kT6q/fUOx8REaIfgbpHvKbWJNxK9Im4WktUvCtxygU6lHscD7a+g5HpLBmsrzzU1pFYnujOm+4r1uoV0U3WJ2amwQwhcnPIDG6jHwjxAk1qDr8FFIJSFUGGj2QSS+T4ZYN1h2rHU0W/wFl3s8M5e8H8RSOSjrEMIwMYHmiorR35rUEAyWkWlApBexfZlOXWIPIo4X2/SIHIHcC2dyeVx+5CdkT+zh5Ily03hkW088zwGgiU5icXe6zPbEKI5ARX2jN29Wv1YRhB1DrHU0JVU/+ROWfipV1QkC6RFERHAYNUejxFyYbR0LKP1a/XLqGK/bbs4xyyqIA8EZPASleBgDN9yUrDUAq7kSnjFyHXvCS5NjNxH4pJCJ9CrPPZDUElx2F4dslKMonz6DNgCV6Fdhgf1oSqK6trRZxENAYeAcRrV9D91QN0oyM0Uv3d+p067lJEL59RtY5+JRnLMNXKhEfHJUZ+2n4yi48DaMcMd6EVFlm5hYPkLrrkempDmaTEIlJ1Swf/8GXA3qsasskVMLQ3/6RNQ39/uPtQ/zBTelaXPmOgW+IBALts5GakSii6cItDZO3lMAxu566WIIXAb/WGd6Ql89PfgKHFCCJCMgk8lOxjXp5TB7qVTRJP1mCstfH5UWceVSsQ4uKz/ofjGvt13ahC2Ibvo/1wAfYkzpHisjYaQiOcrmWr8cedkTBpL9GIQfGk5w2xYKkJT85ou2txvMZ0QWe8r4C3rL30zzau2S2FPHcazid5/vd2uFiwQG/CwfUtYtVUozWeuouO359S0I+SfozBU8Qds0UH/s9Gu1YLvlv2zD8VXdLnJ8muYC/7ibiZGC5+eW+MdDIAsQEEbBAerq2CYMvKg02NPavdAxVKiH6j9iqAM6nf+Bn0Dn8jq4n9YLtDEHkwC6a8MAv6GQuZJnZbS58LMOkDTCijj9DI7f+7MGqfOJNRhWzG32a4pXHoqgLJQ34fDEs/FecgGWYfVAhlJonFB41wKB138LGJNQhRFv1hmRidf3MbFm3lRy9A7JFaF66NaFJ3komzlqwc1D7Z3c1shj4g8hDHcSsC+DgjSJcrOVklS+YQVd9ZlB8vmHmDOZGOWzNk63SNADPhFBWqPAt7nt8bvcikznyLbSV+1F/X28KpIoz8ym/s+2vj6SoreNvJ2u1B3akGNKZs5nPOGPnCN8fNAeZBkMIPEj58D1/cTzgoOAuTrxmbIZxWS5Oulr7/QNE+lher/3bTNO58bFkFeB9XueBtfKB93CfS5hp/zhInkyHrQJBV7RhihChGNR1/rFz2RJ51L9oL17w6ZMfqrbN0XAT24vGaDtt5Y0s/Hjfg4/nI0fs7PjuunBYl+yWBLgHsgS2lFd/QJi4kLOrb1C/NXcTb9qVYTZ9EGDvPpxTIaJmud4bbEW8dv75WYgWgotedAgOc3Qrz6wOmAH0iidBi3307EerAPRsAN9NvL6ZZaVSXpiUp29D+mlwUMfUmilYjtGYvfdP1Ya+jIRd02o6ODLwGa7WU2dObVLXa8wasPz/+AhFQTawvgAvzwdeLd08FqVarwPBrZivWigLnsMqtKsCB/e69BOLsgHQk8lUV/N3S190+36haTVy+TDDuGtTXPE1Rf+UuCcHOk3/GoDLtQSk1I+hSyu1FIlB0wOXwjHdRabPjhWvWHgF+SK2J/rIsIF7rBuwMeGNYw3FVgyYq4L8iY1yoVZwuujE+Lbj7MWZXSDACq6lqa0kxoj3xYK/B+MxxTvgvaO/y5IEEHvG6GrXjGEUB4L/JGi2SVs5zHKufiPyS9SSptZBDAB2RHpeCG1vCh8Vr4xQfbgA7YG9ezugpnxgjuZCrN/1g8oFrCXdNoq6YIjUlPzTrjoWT9Z8WwCyOH5Rw4NMe4fVQzlvUvDeoLxMUxJjIruTFP0XCw6qhljNCgS7FE/EXyXdaGHJH1IYxARftkfcy9HAOZeXF1uc3o2JVZMicScGa3KfO2GD822SEn0/YFON53s96PwXNkaVEkyJMeqEmzqdTjXmUiGG/cJ5OGtWiez7Sy7grELzH5xPsAEyK9TUnmu0j1nF3/fctewWWdynVnVVgo3BtY2Cy4zC4cJzNQMx4w0M09/cfSRi/JZO8A4uzAcU/7HrYpgtY8bsELL+TtBahInxo0G1cTYOXmMGUb8qrltdg4EdUUS6nTw/9Ao6icPW//siFQ/2jiHx9LMTUO/+8geXSXY5OIqxnMH1qxBx4h6cfQLYo6iQ89iIPdR+rirLVNVAZw3MxeQG2nm5eCqJHKCXsEq2tLQe0w34wl/5NRQWmsm0BfGX25J6byj1eNHub8HFDgKpc4Ovc8WWVmpAevsmtfgjuRkYud+dtuzMwj42PJbbX3mwYzJpUelwJkkF+I94brs6Z14LLzTHc63iy7cJo0AqV0VxJqTqwaAWkHV3dS9Mbm8H0Szu4IHPb0C9m33xXTq20doBOEVmk+i0c1ByQ5owf/iiNQqxicSAUsmWdLuZXqlMV/HnsFaOBjCiU1hmZmQpEdNzTLjRP4rHcw3Z1xSClxaFMoBpxsukUn83415MgQ8zlQMWGjuw2QNZQG5yCmEspKxky6kw5hZN0JHIKMZpiSylOf06RvFZPAeSOBzCE+/niK21CSnhEdULuXbLKvIlCizMrbxcJ2A3jySIDTCgO0434ig5kgoq/iC6dQ5n1AXXQwJx5PIdVEvpmvZGRD13bM/oZH5VqU0viDBQbxAr/BKPw4Kw2Xw3AjOEy1Fh+yC82dUGUtJhfRheitHsLogxHn786HBFxF8WcfwkdJS19ZYhM9Z4JJfE7pxV+YXCQzieJb4Z1Ny1yBdg2QddvB9agk9nllnhZyf6dPt0AsiNUFwi7I1SJEAMxh1pbs+xLf2oQoLjiOvPQ9Ala9GzC/guf+x3ygxoUxb71X1N2OztFJy3XqHN7Jle2ZaxEfOU+GnlQCf489f92LYu5NmP0YjwzZJtt37iJA5Je2w445yFEztdQ0uLa7zrL11RROkIWCyw+fQxdxb73q/pTFYZcvk5DOhIB0whG91ykqVQHS/vmOezX+ajJZdMJHDxs/K1tmLrT4ywb3xgwjnHjvxipBAjCGdIuimpmSSqLMa1rj42OQMJR3jzx1TXWkkY3eE9Be1hWNMq3UNYr6CaAKGGB2rw1KHEzVYs/m9lUhJF0oJ68CkTgJudXMUd7fxpewE9uP8i7WgX6nOSCaSXfK/CgUsp4IZvsHmE2VWEMMl4It2gq0oKXi4axQzDkC3fv+aqzlkl/ZckFAbG0i5AOlSwPK04tfuooqgti5k81LRVXtzHgH3wy9mykZ8P7BbmUOKQkmsODSO9y2BQ+jmxQnwYHpKzVQzE87qt6BQixRrLORwWauqbOVOG/YXJi/qL6O1zHMUKJwWf55H0RkboHXYBODgLS2JZyIlNTKHWT/NtepGvSuHSeFp6DtsjAIZnSTYS5ckj1YVvxSPz0XZrb3Hc7npPM+gep/KLrsG4qCTOwhrafvM/e+5JWNICXcTUxkFEfhpMdLfkkYTuDFD/wcjHtJR6kTWOkX+CbFxz18F/PpWDU+SJUVnwV2JDN1ddMUuv3nJR+fgcbcCxsg7qxxy4AXXfbHhUwRo10XafPf62Vlo1WETkf0CeWs4h4h0Awk8qHaJNsDausfo615abJN9p+ist82iUXis4FN52YEx+nMJWLqKXvHwq+yqeslHnzHx1nMRypwjXobsSncySELkeeBHfELE4EmzrpH2b12txOJmJUBYFv8UF1rawybnjeBVzyjuaG7A8pDMdSqFZOcCyK0hoI2Xcd5F32lCaawfltsb4AHcIG8bOsQf2XkhEMI/yzt0lyCh+p5AlihzxOUwvTSQ/QV3mUnxwHB6uqATa0R4E66RiJ/F8a6ga7mtYIIf4yC6nciSX63/HJIZWM5YKgM89JVDyotuTp984+Q7KdhUDRbfVw4/TnHYlR6QduwDoGntJT7/NoUDNoBLesqJYbNppge6gX3xCSxqoolsWbIj90+32CAXSL+am28bvrNNLdzaUsNqKVQ00AGXAlwuDPEpu8xDmF71ZuKJC9EgZ7wZF3Gv5MALVupyiSP4NaZfvB0bSoePV2lB/KO2xaEuBXnmnjYItNEuZLvk30fM96eG5fqazSXw+p2e16SFgsKqg9zGj12X+hQMwn+tumckL4DUkQJOeEtnC5M909IOJAE8XsHSvuCtwKgww644vQlsuDXNctz6VEOQPF3iTYvqWkELFQQ630sL6pf326lztIUDBTdo181FmzP0s/bhGlniJ/SwNrzNf1PN+B1jmoLHPKXv6dfX8HwATBDEKL+Ia0yV+sZcT8njd7M9QPXtPC/CwKeu8MAXaK3SXFyv9q5x6iAs/cyuweY7PVYG/skvdU7UBhezRNmRVDhnL0Qis9UgceQtxdeM67LPWRBevLOLrAmIj5CpGAeywAgZvFL4LbvCUDddvKOBFS6sGmEq94WOXjF4794cZM0E3NVNdP+455nSXx6zes+JfFZ71mhf+hj5OVlSIsrSiFvXHtPwFd2FRT9p7Wh9DxLKD8My27b45KxCxsgc5QPa7lhGr7Nmd/tB5ZS7d1G05sVBJ8XmUPPL7esUbjvDX3ADhvWHJEDPOdQGiooceVg5eActdNVCZIW9XVuskAVSfbNGux6+L3u2dg97U8NRkveCZbKvOhQaW1W61DA40QA5v5VjD6lqv8RPV2tVjfJdS2CkY9ygB1VdyPYU8yOuLNG30ev0C6s47z2T7XJdfrMAYItB+1mVdOIXUzqpIIn4//892jhahiRK2RXUcP0V/bAfL0OA44+9wm3T9Y6QQmtb7Sansldq2lu7uG2HOf8aA4/5BOfGl/kbTMcGOpTHQcJzqco3LmTfWh9HifMu5Q6+TCaqyxxintJHU7+PazKCDbdEc6wskW43D2/NI0jc0QymI/vCn16AnAiW0dIYx956YcibtugFUzhBx5Dbf5ajxzjc9Y3cndO40uFkSUvKT969wdTq+H+k+nx5AArkm4bbFxFROD7jbuhnGFcRKltK/Fjc7HL/vUqxBjckBxc3JM0Vr033MJSvWocUOsBJSa6t0p/0NNb8xziSw4AvC9612973x3Ag/DYdQezVpg/YCdhhG2wkb8RsiF/2URmYFtSoqUti3DT6+h2/k9qOWiQd2of1IQ9ZEJH1sTuiUdjpNbBAwfI6ttZF0x/fCwCjTKSyFWpbHmRX8jk+xVQKHWwvu7elsCNjJu40xdH/t23/sfUIqjvg3IIWV/rXQ/11GIDkdYSO7lR2E7u9btfEqV0Kp9Rx34kAAEKOliknCR1bmXn/byaqyOucbu62Be87ooyJ6ydoh99Ck9h5Ypz3s8hCAO6qfEj2hgtrL8HVQa8SFL24dIj9Uf0gdOl024MXCCtt8UCLxoZjOUH3ORKgXB9Bx3V7R9w/BQUe0FMzjN5lx5xal2lHhStB/ww3W7pUZtq0N3CSw+d3QJmuY6MJqH7sHUV/0wSAvKzM8RNT8vvMopJ3GBcbBz98FSeeOP2XH20PW02+2d9+nMoa+odcx0PrH7B+V86djOYTDMzwAhBpU64kiP2cN29PToeug73OTTv7TKCqTPs2aap5HKHy17EqjNdV601HJBt1o3cS3WGdJIQKaTeSkOISeQbkzMAByxoQqu7q4vzxn9wxJKPq5hi0aIRjKHQ+BR+6wBf/1PcaU21g5vX8dkd2dAXRV3JsczdC6aa6+vFKu6mp6W+IYaFfZqg6BuVHRkcSa5bxSsUwMjZ96sNJ1UbVdsUhvMjUyPh03o5d5QErR1vODUpQBy7R+e0236CUz6GtvpNFUWKLW5W023BwwSseXnk/KRJahnTmGhe4DgxBq1fimHaiTSSxa/A/cOm6Ah2qKx16WV8GN+OUZvAR0r8py5+buk87PoCO0uWyUsjZUT9L5spcL8sxp8H/MEAWR3JWnPhazDtYgBMvzOLes0ugVyiFyqQRNSAiJvD6xETt9PBsmO2I6i5fAGnbIYZHX36HiM84Gki5GJ8ZlAO45ymAggCTkPjDhhkcVYWklYsuhGkqaDc2ts6FYvUWJN6tm+fwT1+HEzpZeu4ogtMZUO2CAsteY3sX7xyozmiiweiUP2XNDoxqTtVW8aA0zWZzauNSQcTQEBs/PWjdh9GXYNSFuSovWeFT6ENPOUHrrb3F00ZItMdUwJOhGtddNq6f+vQlVxWjlJ6Me+AQNP4cy1dghw5jV5yA/0dbIBmbfjYc92JyuxqhuKQMHc2eJq85OEa04Yl9dRdiee7wRRkODRXc7ohKkI2/0s1A/DUiyc/RIy8BnPXeQw06MlgXD/fbslpTh9LEqtoEUNBX9ejH95ssBtEUh+ZFqDzCfR/p/+xRXG6nqdHKzw6Hi2BjsBX4n/BLaxujQat6jW8a/dZNQ9e04dkfdm6MrpIlkbxuADdcfQc/Nh/jSQhebmTkiemvJh6DMZKsvnoguBHM7LLYbeII6oV+ne9EOe0Cv9bBfDgKLEcxN+IglVQA/izVkXkrzDqhkeoBH+aEcmyNHChP6CUfM1RY/PSwaCf0glAhLv+Wt1RAViC2Km/2gDwj7kk0B2rFpMkYMung85HbbMtWv5kcoZkQXXa210r7PXII7KWFvxcJuPPrXWyN+kWlNv14cNmoq+BV92OhbDt4H+HrS0hMJTAqBIjVn3z0EirBxkKge5emDWOmx0J0kssTZBjkGAElDQBtUBbEDG7P9HuHQkIsk0pGk85g9MDkqhCsHS80HI603gsOqkR5Gx8IPQC9ZJFvn8lEjDo1Fmk5X3777sVtx3EmdfSZXW872R7mJjmj6DK+AXJ6Uuj8Qj7D0ec6Gk8zNzb2Wi23osC7RVoRcd/kMJXO7YOu/IQ86dlrPmF+OlFgqep2/rkJupmlT3Flh7n29PjjP1L6FwI8ejsx39EX48H7WlceifI2/5TasIpcb7PWYqaaWrAzQaXQ6I23fOujsDSfrRcYOVTdvsE6RwxtS7sqFd4rS3cIyyptstGHGZUJwpaj4k+wfBmkQfpx0nrkvKc/+ERL0Fx5txBx/dyDVGyGbQCwm9Ui8aRtq6SIPiJiRs0XFmZZdEfbpuWr9YWKjdWVVS+VKfC3cIq+N1sB+qnbfPTQotwGaZpZJxp4S+GwqE+O4wzS7GaGbh8H53679YX8ANBLTGA57tfoIwnk5quc1+6qZCAsiANS3THjxffD2fOjT4VwP78wSaUNSiFmNzKe5NhJn/wncKQpVbCuYbzGn7dEdboSoxfH8UkK7mv1fFL2PE2pOD0MpYhyfNvXE9wODol0YuP8aC2MrT2XXPnp7jmUNAjg/dyVPj25uOpoIpDXYAvV7QCRScEA2rIyeR7lPlK2njj3mPsJo6YuSefDMZUnofYa71MINGm0eOVXa9fmYlZzxZOtiTWe3Z64uBAPuwfkljFUPwMbUE6HjQGZ9TjbybeLIsH4s2ckCCAgZ8WKFyyHxHXkMpt/V7wj7LxQvIEgVibpjPqNcFqTmqr83ieZkgV/V7fMHIMT1XzxfOyE9x7uOOC9pM2Fhc/VicedO5YR1v2MikydFTtAgexEE4JDD/s/vE9rnQeFzrhC67SP3nt2bvd2PUI7pE8JmFzZm5qrD5FAhzpAk0eV7yo6HDHvL3jFUbAfbtkhdl1OYlJcbzm+GHpm9D/6G9kxJwwOAi1YRrjtsZgz+mxnlM3Rl790ASR2XXQ2uYJVhp8+WNh8ryhBn9SIVh0qfY3VR97chk/1ky5IK6kBQs2pFTlwKuFYZ4egZK68pT9TDwUEUuQWgVepiPKuFZ4XmF/5duBjA3aJDgvXh3ORiG302KEuWxQsQnxKp/2ikLs8oHugaIBb3qdLuSeQQMmWhYkSmAecXMeZ/P5Q3ODq6ZDTaqU8mPLPN5zPpYcRP0g/O+COiSxKCxfKL6GdMBEmRjdQfb28sRQ6S7xo+WTOZUIzsV5MSvuFxgO/o21w/P3UcNK6ddPrnxlywUSeDJ1gs7fmIA47mfFIZddQ+fr0LNp27j7Nyke8FDbp3owIDs/1L0XAH5XtlG5ZFfj1e9+FbArfTh7+6I4nPc5cYMEvZcIGhjMM6IyrYQvYN7dEWRmGg0M/5EtQA1pNo91BDuFJBFNIt8xRDwMI+vYwatY1icsDwqaAotyDhUKadmdDg0xXvFNaKm+9SycbCvJZw03JFfHPu5MiFB8IULgU6fDbnpXmMX+M2TQt5esySIzeFFLTJnGz8FLFDCRJcOPMHP5hLZH/2JJSrwWYDPDpNZny2XB8tEjXDNyri0FVhp9/FHJXu9KvQR5tQilI2M0IP2ByIygHv3dvi72NI/M8nVQQ1xsK/QU7Unr26flePDQ+zCC8GK4idDf2QNSMWj00J3EA7ojkW8brptJp+pPlOjFqGRziv9k2CmURczOuuui5/ehiSoGvg8HEibFYOGoJ1J9DXnXAbe0RDo2snks+5uegQNdwt/JrOpM5h5WHZTzHk4RjzoBcsDTGtxt6aW4+QkpkRPPeo0tjCU0YTivtqMjudY4mhH2+olPdIpZcgNGtDcubaAmle+I+ySPv0vgAVS5l0XTXK4QXym5U85EXMdOcbfkIv6P6cbGsrE4fHpu+roFzHQIQr8UyggFIRAJ4FWqxEnXVKFypo6529oD8acjkdKHaEanlcOZGBflEMJeKWwSMlvTVr6yCPTFfXTk6kUQWx1iEiwfz9W/89v4bylCSm2OVLdmZSTVwHGkeM8aOgPtHg/3BkbKZOKhaJlqAECfBiEJe75rG8AHRgBtrrJn50/TsgLfoZDVZRhe7fnRkWodt8Qs7kTtEqUyvd6cn/ZNoGiXYpFBTxI9fpSYIgDK2aKTC71q20ay4C//UaFbKdYv3GMP6ayailq6ZRiJ6ZSeLRbX0wJZFtu6L6zed00BgqYFmuVs8D2/o9QyaUNiyo3nIsxcVlsuL1LBKgDCLo56Rm18GRYL5+NMm//sz7nrZ5ItT+BTiL8gXypqeCipo5iBwGB6DrqEXHze9bPjB+KIC3rONn80W5YbCil0RcZw5mIcK6PZ67Zx69aCEhhEDPrByHybfdrPyPLM5zB96Op2+T+H16xVatlTgi1cQil9eaCN2b4I6Ld2amM27AX3V2Acbm0rGNNUJBqBmbmW9liMif0KDElM+FCN9x4Dq5J1dIpqYvseXC002px0ypBmsJLWNUxhUZnVq8cmP/evTcdDGTQDOEM1sw2Jf7RJP9+9j2i49itnEdTmYvtZNaVftEV8WCj8dbMpb8j0HPu+YqMQJ5PjffvoIU3liDoGKQBOQGtqWROuSc4g0irqaBFzqHpRh3eJBIVyy20fq8W/UTBsr+3hbk/fD9Jl0ZCHpxKs9JBjYU883GV44NowDq3Sup6TS4UEsI6mdpXqVbGzXcvSrcTCwagNHdQStPuUGT5ORXFa/cbUmQNaf4GMhbvEPgruSmAt/37ziTQBe4cFD+FiQu/GelCRKvUqTY03wAK4dSlg9s2T4q4mdXwoY3AaPKBZiKE3BA3ukIyKuiW9TnOwA/ODJRosAdczsn4jwa7YByu10L6qPRBMrEeHm36mvLUhiqkhXooCXPb4lPjAL2ln1mG1fNEC4rjkr+76NZPsP4jwNTWH/eb4a6IRNVv2Psbg1D0tcaYgqmBsiJvrbgH5Gc6/ycFEVkEMUJjCzE2/WEWtbBRYwsjWquEDjxjlAw5jLlWBvb8dTln4sZ95+zCblUZINVM36zKFTfe2zrKCZjrpfAlw+nzG6fhgEhQwuOZV7GgH9Rkroly9eTn1Ej8yEgwoSlD+9euCyk1WDVolJ74PU34MmiLnVadxxdE5rF7DtG1Ilk3+VgtaFh3MxbhBZ5D/XJvgxDc96b31jeMHoaDCb8YhcIxRpgg5XF+6XzPgASfTL2C+nRnQb+m/Ed0UPOQinm75lOVuvQQimU6QrfLX/ko+/nP08aemV3ed/LO3g1+3uEXDA0WtLYQGTWz8MPL0Qbz1tF/3ZeiKOUpFEbBtXX2gLVliqS+WVATbL1f13eX2Z1b8O7opMNdFbo3Xdpu01y0n64/bBcJxWniaHXWj6Zz2tpgKtbncYRc+hMOJ6Bjrvc7GEOMj8AJQSYWzjyGDD9SgZzs2srrKwDADtTi4Ao/z5N0u01PPm+ygSG8vEOjh2Eb5zi53HPEX75NXbS/vBBUm6i+rlsxl/2v7/zLotYEB3j6ZOX+h/w0zlDecxwAZ445kC76SkDiGjwh8QsCLg3wL4ss0SWC4ZUUcaTYJYHNxxlPcRGnC25JaLtHS61w3950TOloI/2bMduNjGrr+rQoG64THm5qp3R9C7LnwWdhOET22Q7Va1HfV9y3Q7XorqYyTGSljlweZ6mXIQhBgnObH2pMgbGyBqy2Ww63llYBfc8Qcehkwj+oQcgO0mrMHnrgKAL+Za5NpOh9WIk2T+lfRiAq2wZ/7pfbtsO+o1ZRbre/ed5/8JKcT4CG/2KFCXonV9lqKPUkUWpEE3BGYA+SoaXkdRIhMLK6ciX47zSkFlcuYnDgaLEtewMxq84tDx9n8ACjxv6duXDAux0xBIK/ccsEVb86tHRvDX1vcZMnGHsXSjw0mUiHkCmLVAA7r1I/6L5aM5DLSanwc8nw5N5URClOwqmN9MnLEK2XypwVq3yIianR0IqooDgvwXBF9FJToYRr0sUgseqUWWAfeeSWOmvedEgrgb+kajZab8wxNY0zPPfIkB2EXtU7TrLTWFdfVJxiwAy2JOa6jXioYn4MUj51rO1qen1+5ZDd9UJRbFPqFuvD4ccMPNNMPZ4f/Jr7IemhgJcZDvivXLKM4Q9oTW2NrMrow54VfxNeY9BRqtXn41+88VbjPcrmOAwyuYEO8Wp51m79xyHKA6pNhheshutlEtYiMDNs2JeRT48fSnH7vwO3RNTT9npm2esJBEGtZkxo0QVbVZlC9iS1+bpLduZn0mUdUxTPMNwZtyj59f+WTnuK7Q78jsaC/hZN13A0lpP1u8OYbMKbYwrQIW0qk66frAcw2BqRJQFAHM0HfeNrXU1Y1h2LOLCz0pStjh3V09m29tU8QgmG5aRgK032VT2na1lJ/u5AmMhAJsJCdf8mySDmAfOFGJoGH1hGSfzVsdAySuo82DcdyurosgK9Th3Ei3aHpXXxckNmiudXyLqbrYdgRmST609sIOm4Tz95prjDq1jfSFiIEIg8V4v9bLzSIq02MtEr64oKF3qfuFgRLY82t+aqlv0LpR0pwsGeKQyZ042VfNmfZro4HqtMYe36ZL5OUakXYlVMN66fuhREhQAj0PCZZ6fR3cEqjERZ0ipkyYdwFUubhymXiFGj6c40scIGihFIlC0tfk82+EjWeFx7gh6+bM332vmfa5f/dZLoipqvU3BagFj7cIBdXYNP4VYraZeXqgbL7QgdU//MHegDAQfgw9VniQBwtojMOb5oS5aPbUo+GQU3NBp+hVPbjwCZ/zK4Qsf4fTAxRDN8UX6akPWnokTDXUZ+jzSVaMlL6J8HScxVg+Z1zZIS9gOdzh7la8qmg0zlBCPE9m58THZN3UsfoI61GuS9iSioW7C0aycFSlYnqwPhA/FJQbyYi+3iDu6iL6dO6EbVXh64X/R2y8k1YmOVPjy8fDy+FrtA42eYF/cVxgZjFNm+4TEeOGJp7pkOKGCc1lrlxzqRj90zpEv0OoSnQHshkp7/2uPzRfLk+3aSq3PIK0tnxrtYnMdPjPKZSISd8xyQ5CkE8g0H4Gg4oDpzXzS6agM+XR9H/zelDOQLBDA+XlBSLPxmZR7VxqX2YDyBjF/zhqakAxSj6kztKXvBh4SQsF5ylGXOfTMJ8i6Y6WNXlcBM2Mrz2NBUj9v5xxPMaQUfabZYdTbLv29iWYPJI679CVwvM9Udh8P97g5OSSdkSwvrfhcXDtsfKVarFjOPqz0ZBLr0a+yBYwqIvl3+7T7E/kk7PbKcAHP1KCjNl0PUb0H8xmLm80mBti5RD3/x+2HttKJnZVcWOzGAMmmixZQZkyp9/qA3vRK0hP9Ey58GsokS9RdqhOnbBtOmROS3/Q+768UR99mVzuBZ5y3f5tzvxFNmKKpCQmKg0g9N40wQcAghkhM8aMG+0FI4J7dElIiy2qZZ7HtTQALo46JNrwcDD2o8k2nOgIBzakJiGhVhVL+GMl4KVAvqkEgPAyCU8rbcXKldMHv0FtdXE+cRPDKaHxxzydFAWf63j4WCSFPFmEDYwGEmSmPsnyd3mGuX/eZA1fF9pgy0qkFo7AFwSkVp1EssWkk4oM6/2ddGpyJlqTrMScwkmfsqdW+V/ciV2+UUWXiCfNE4/5zYHLV7RXeq6GEiGkdYyhgY541ZY996q45xauLI+/X3VpxI7G0sNDwEC96f/YGRjFhQc0gGfYza/9Y758JOkLNJSLU57/Xk7gSo3doUzkRue+5Tzv2tU8wvbJMISnA1E/vBPLY1Z43jrdyH+VFEJUpFtkG6MMLocA897L5ITwpFEgjnuAi8Nq104t7SwQ5eeXuT255581hIOBJQue/GRVGdXznECCGUSqGZzhNj4nJBy7+pj/aDwZtp4YrOl/G2XzVtwU747VCTN+Wl9HMjgbK1ZVF6MifPKAtrp9K7DcEm6rZf5dMj0EILnZJgTJwHCoU/TUoqtPrmdwhf8ucuIXF5kzAVVpAt99cqWjmFgRK9WWlzX1IAoW9QdCuADGiiYAEfMG8ALBmOg4mop1JxdNotmBhagIsIkZz/eD1L6jTr16i9xP1KveiJMdGgWIhsNVW38kNsE/2/31HDZLm6fnjqPxHNGgecQF1gX9YVHfHNcSMR7g5KPwAcB/umUEk4JIyiIF9wrarhO9kLEhnEJoHnywhNQECJKMglQVtINKmza52v2mK3A1twJIcUaW8MfhMLGRCgltcsP3gmn+48WTMnNUJx0iEy6SJqDP7rOEL2klcRyX4Rgqs80sQQOIQ7TaVp6r/TFDvhmNnezBPGDCpCiux/iUbLcHz5Qv2fjaHrR3Ktfqd8bAX/gcypqccG07nxE7Ux6ziF8BEduNMMv48JERFTX2q2y/MHKd9nfIzDQd8J5cYlPRD858zsx31hSCe6wyARdaNS6EDQAfywc4vcpi7udzQ0T9pMTLPUYEwdAu9IyDo07G6pv5VSqaD8FBOwdTqFcF0QS51u4Fm7Oo6oMaNQ1ZCUSx3nUgIpgbCHcyVxmjB3LHe7FQesTXY2b4y7ZABa/vJT1klR/iUOVSnNhPSKozB3q8gPrDPBXDGVmpxKrNi2rOwnQMXT2qLdVQalSu65VCtTlEdiyY5bVdOfsyIokE5ayqvJupAB+bQ0Nl4RYhwFpyB76OHjxjI50QxGtwXOzDcg3CkhMQPOsIrOgF8biYnmrwqN80Umb9QmLqbV+X8i1iF+OLj2W3nAAWoKZ7eASUw8ZzyXsBO83d2w4TQeYf7/o65C2aSKYZr/85sIIPUZVxXJaHKjFrKqUo/oRQD1AdXx8SAXL78rh/6nC5CFr4+VJpOplTvUGZfMbpdDHAGbvkQD0Jko85hCt7NL9unRq8a1Jvzzwu54AokvGHX2ZOovbjT6mW9LDsiu62ezTNmQ+Dfqf/MlKw6iou5RTIA3W2rxGn8sLABsPRzy5uGrYtfUH4S/V0C8uUKm/bXOxXTWXICj3PrqOLWoMGTQwIQ2cr117HLa/SmKXaCtHFVT6lLYsbW1FVA27Q4UnxcnQ5Ji+BhD/qWoX8sVCoc0wVUATPrhXTcXs2Z/3gAoLwLtp4ucxKYtUu9Ft+xQBnLx8SZ937mCkehlXvnE8nNSVX1jPQ+5LLwQ1WH/GB3+sK1MVnXpSbIzfN7Ke8OBkgvSTA1wHLU0Njs3jLYMB5cCvtTmU3mVeUlso+n4MQDAPjIhqrGQaBUApSI2UWUxmqbsAi9SHBX+hTwakKUWMc/8c9iWOFcZDO7Hsda/DoduWNeKbsBCM+/OrnXbuZvU6JInbzfLcACU2OOpqdGVP3nC/oYvwlPt9hdSdJy6EOhqMw+3xfu9CCoWkiaHqV8K98y+tFQRwlVJXgO8j+dVGuQB29rPcJglYsyDs32DQkaaHwd2RIWNAIDDhUhu3F51E7FFhOgE7n4lT6mpEPBQxN7BqIBqbUBGgbPX6Y3WOC8VSZHIWy+6gZDm48mJksiYI9FmmffIRjJE7c8rBILcqSdfOT1QbAvS+qVsifrvhuNZ/gBklLOm0by2HMUHivocwhWc7SQMx+iL8Th8ezjD73auaOPiIxvozOWoRBL17Io6OKQdUu6O4UjolUG6Y3vmgfbDXZc/wfhIp10t8wU5hUr5b3MmexpRyEgHF29MnAzXouZo4U8N+8f6bbWh/zfJedS3LDK2ZTLNEmmMWWuc6TzEuV8WCESyKh8dafWdP0QOfcG+piNCbLfrb0X2Pimvu6zU4syP0A8piX4Ex2m1BToUSm+V1TO9Qyyxa4Dw1UgEtmZuz0BBWnh/PYoA9YENC7uSj8bG80sVf5AC0Np1evHGtgZRe/ZJn60GdpjGE6QjEMTqmNwtcPggCDMcncBH/ddi6pmS+i8fSoNBVlGGdzaLMa0Wq2ZEJTGGIHtXiwrHQ11MSXfIsElzrt1pVxXwoefEXGNHCv+oguvR07F/nAJf7QXVtgNceDW91OhWGulWTWABb2z0QlcREiYWJgOU2dpHmpg/k/ZHcsXZLhf82MUz3kBNz+z0lEshqAeqau0ug+AsS96kUMq0eWzwHgDm4g9rf6EUr3DsjAY2fHA7KUKvagdLib/1P+/yI54LWx4/rUSKxzEQ4HjV1MxC/jfvlMbVu9QY/4ZoBgiZEvZFn9GrR9mMYY+UmaByQLmq4PiK8aDXmG9uiWpKH2qu78xrUPeVjye5YK27RUzJOi3wi0ERz7sVdWh/aQK0HuG8aXkZSPmWJ1R0uapd56X3RT+9q7eT0tFh+zfKLivuzQaN5wwIWT6q6w3mFYJW9A5FmNUmo+w4mO8TN99+8yVvjJjPYDV/j4Dfo/2Yk/K+hCWtNL1yMCbCbUPRXPOsEuodDoiIsHt5hwnHitdIkbLt9zVuh8UWj/RtrqslbGsHUWQDXwbXJqfUrvX8f9C2QH1YGGhPs+ui6f9/x3J5m+jzIw5KhY6hHvsmPGbQ8G6mFNzDffQspBIMbiRh58hcwYOKJF8O3FgsR+8TnTxtlQ8lnXSXCogjyBUktvcjaKEi3u7a9Tau9uDd9SaNW41MgJF7oKWVKgS+PUTmThRcppbokUW4XyemXxBSE3LaY21Lh/Jjk7XzXZCaQaCey5IgxC6k1WZw7hP5GjBA3odQDcCaKahtlW3wkp8WRNTjBi0fsjkBB10IKxtUp8OzJV2BTr8t0T8hFgQvQshJ1rgYPTNa/DdJU3D3oA4yORVA4mMKsydrP4p1Tk/Slnq0KxgwEVZLVTjUIR28ifTw3p1oRzM53AvdihM1faWfYN5uPtIWYCpyKjkrcE1O3KRg+lqMt3Kw10UwEydUAY4tCbsXfjVaylHl0tjTYAwqCHqnDuo1cTN6iQGk8kaVnRY4e5qsm5JVOJI2u19TH0/p8QDtE2Hk3lDyJO2qELIs7oiPGTk41RuHdY48n4u0HiD2x3/7Ezae4VbG1QGaho9pESK0YTIq9LKiOmc3DfN2/jtRyAd8BpSCKEX9FrIgyb64ESFeSUUlLiykcZgrmu3HYxA47TqKmRWh0uvJ7XH5LZ4guSPVs8WCgs+U4C0HMe0VhRQW7Ao2e6MpFr8p1R6J51zYNh3dTfuXXMfofSv90oWDqAvNWoYvO+PtnOXc59+3OPRTW0Vcf8/bzV4A9/CrD2y3oogwVVASB8ATEZxoCoQotZdKmdjiAV9CTOkQNxcI1+DPapF+oXzN58uFwYRY4lZEzpDRVG0F836JkKchC1AK2d8PFS8Vil1ehgmxHcsmBSCHrbXlmD/DOlbypFvsTU+O7M6LnJZm5NIG+KJkvdZ4NOM4KyGNNKJqHTLIzWqEIQLpw6O0qQTBB+MCNIdPQFoob0DXaJ0qIS16KOlNByNKzq+t2ox+2uF39Ll+cF5auIJ/8bhL2tlUC3ilI7XnkW7lELLe5GjQYooA1cKmxz87Fm+EAZq+5KPnrOJaZO5bQr3IyQKyN+tUXfvnyud3KWcAHN5sNIOJGTEbWmmqD346Fxuv8UkLRsW3FjLufF1t6T+Ue4Fnir9vWV2aX+KZ9eDe9HvM6gW8o2oKNLHD7FhImLmkwBkPB/cmOyWSiFIeb10nucunC3n9F+g0+5vkMhvpPt1gHD/wi5W+BQtkJL2ZMBduwDD9iLt6grb5nFr1I580r2NZc43v0EKgpKD5OjeXwUmTmL14ntS0vTzuLyrh9ZHwtqE2BDr3e2QfgloCWXO9qBykkXm5Qp0Wx6UrSWPeMoPhS2boPM3kZarfM0FJPKpGyI8H0hD5UB7V1kX5lW3PsdT1wgn92NPIbF9BJRSA1fd06iMbwX47l1ML2JLaOa9mAGnHxTTHafsA3RtJNq4VHy7boePnBY9p7mLYvRZ7+QrZ+xzC+4yLY0ie/TNB/X2cboFUFv90oksQiHT0yVZPSdoNR9Q8FovvSxvdiM59pJIlk1sfTdQaPtnb1juBrj5DtJ+cy3BhAP4Ti9Djy9MjK//fVa+vm+ig6ccId0/3m+JIEz5mHa7FEA/fJBXdiYQbl6VlFF80tMi76K3UEu6GzPwffJ90oDp3M4I0UKM5usfjlJy2FSOxj3FWO3Jp5qsbstrDVKrYhXbGdJPLDxC3WrJTWgkP7vp0UzMG4C5i3/VsMMcKzkhmnmyOOVYULKokZwcFylH7P73+yomAy+ReVyNd6HCKR1h5b4Vk08VZ37SrkSQow3KamoT9BVpqFX09oLahKQ8+44Yxuq+dkohfHSYzesapy4YngAI7ht1a1XKfIe0/b8e4HDyOQ2lLIjkWtt0mWnAvkMVn38w7sj/VBGXzs/IY0vT0tK6njMPl0t52ZPtEg6YnWMdIY9j6vIjsAohzsn4CucO0U0DJYXL0VmQ5/Shr0B1ZzHEGuhpyXrwsYzYL6+ROBnYeSXiq5sxEJx5Lziu3lCaUOPRh8PWqiH2j9eMIOUmdKVZOVY8GH9GoaokhMwaT8sZy4u4lhHCsZoDYbOSpm/rB7PlpMBsvi7X6LoFsdmWBhkYVz438hJaOyZNkhT51PmeTOMBURNIrRQ6zXrpKWOrDGo+F8qfCjJRaUkoO+57COFbMlnWJlrC5OdCoFj7oQePh5K1hgxn7rPcVFglDVagXW64JzjJvWpUZ0kGtiFGnKXZFW51z1PZg92w7/YOqHxsW3qXUPGEgfIF0dA2fwQeEbmAD8miIXxAKPkLWL8OOgBWUaxs1IuBHIWuXItLOQNYFwGX8iIpV+i1M/f3Gz75qf7b36Eu9wDSBXnY7+mYexi6s56rpMaIeDmPXCGAXpuGuavzPLTHizmXsGBeFE3uocpT+qYLDZPt4rP7Qq4bFGOc00z+u1E6mlxnCWN74xiAq2aOSvNs8X79KUdHIE5yzm3Fzfgh1PgTZWjMrN8Iv2gLLeyUnQ12a4xF6mqtaO5/0/wNYjT8iRJGhZUoK61BsBz2BPc+0wxvFV1yLaiakVRPbwWcWf4diWf/NBh5DQaI7Yx/5zDIljHxrFVfLK0rNSDgjBSoMgNOtomemyp1T7TqNVNoKplvbfJ019GrEGxxXB8zrhapZ4DtiWN1YdB9ORXw3PacMXbYQKTCeMwImS/lsGDLEHcf82g6oZ9esByYX0Rs74Ed9zYZ0/+gl8EaTBJKOPYd5WRuw0FLpmtuIKb5kD9krNAMza/FnYqrZpBf6Vk0lxvEYeWmf5XIQFNIkZwt0jAoQ0RmqkhLB+gujKmx+uA4HyPCrE8i/GQoGmjeN2D5z5TNIm5Rnd+52XR6ZC9xLxd+6tic0kmdfcaHOS1Am92D6QLY+CJMNWpY/7EDsFp4r/2vADVDYA0MqmqhDW+o00LMpDoo64uDJvyY7SXqyRH6fTt6F/dBzc3YqjREz053ElFRI53v8ktM/EjX2rhvLUOCrlVh9dynGQkTquRGpBOUV4wui8pXrnQDg0a4T5KSm5tXv9Jxysq8u0U6wH+OUacxdIr2xo8iRoKCo9+RBZGDleqgxzcMHwTFmY1dq8pROJsYGzddwhVfSw8yAp4Acg3Ma+KH7zEQhqT/zauXMQb+VksI2yUtTHf29KjWYz3j6n436xmkPfIJyeyUIsBT4KdhZR0wCPRT/9mgPfWGVUNvzXAri6bs/9EVAKEi8hAx2pUG4QfW6x3pNwpW0cwXaCLCJGc9rIuefLp0zPBCw7OUPVSmVbshhtq8+liPVoE34NtuOYa0uQaUMmd//cmtf2V9FBcp0EbcZfgmFdY0GDBXjFTe3nU6qL+NnoBTyOiZTLeXz9PPpJDNet6aBaWyviiUM+fiVNdEHQb3m3sU5vWZSrO5p7pZQ8bNLNolLQpNJ70A+09mVvk7a9M1bEM6Ngx74jtzFNulzcVygEu0mnlvGk6aQk3CPTB0bwN9wETEeXJAEgHcSTX4sO/nvoORLw21SvadsTAojEL0yAvWYnDOtJsD5QEboZxRVwNNuTi3X/wwDJctrAMu3D8FTOVf/8Fc4z7t94HY4wqsv1CvYvDrqy1KOUcUJIf2PmOkndiLHnq4ugfzwGR1mD9NDZXjQQlXiBoEVAuARq63o3CqSOu2AQ4ClRGWYibnfzWPIPPyDHSyhucnnVtkybwA1AVhajb45rT0RogYXyKXzeY6Mbpro6kZfANPSO+pytFPi8U4miiwm/b2CP1Er2XCb8NKSlZJPyktsiX6naKAUHQ/mcoOU6Ext34irN/IRSZ0tI25CmzYFqTDkjiBHSBR/NSUN5Ic+uCVopslne+Cege+t5rHH82YXyrGMre5v5YugZx/5tTZTxWvser2xib05+xE86JVDj7xDYaVOJOBiwxoj2pFjyUfjIG3XHYVRAbn6kLXbufdfbYaq5x+t5bArrVgKG16i5ojcZHLvRs7AF87sk3HPtAniBuvA+H2hoI2Nvso27gyRf82l+wwfnE62QXzoE2EGC6Zks7GlbrshL8xs9Dldrb4TErFD24nwJ2PZuCWlXab7Rhcrdk+dXgm1E1YfEeZObUelBhakd3T4XGSot0rp913Js+foaXbI4VSxY+IPAZ10yhXhGUpjdDb5P0CuvProVEHtnk6qNUp0GHAFzIIO+DP+PirwyRNlavuhyF8ZLu/3McdSW0deNovvgEIJDSTUsXEV/XqXoAj+aX0Hl5LHUx+jlQdv1PvW6BpZXk62n8T2LbxcFKXXw8HuZrGJOdfdDSH5K6tQn1SPHICxTzquW7aPeA0s+fZ+IMEf1CPVMW8+whULcWIuDdBzSNK7/8x3XQfm9SimwvoRh1w6lrB6QVHJJTjTbGnmEvE/R//KYJyU8Lzpk2jRKeA79ZrlMz31faum97iMOolg7Jbm3/end8LN2BslLBnBCM8A63ZUfMCxJK8o7lORTRSQQTDPdGAh5AjVKO8g1Twj0Za+kpJXjzytN8ShFuOWmYQ/1IUDhCTbag7IxyyTOw5n2DofiQyMGDYSC3apk0Fl2lnmbFUHILohdlzoyRmaHCPtV1S6trR/VnhzRFMHwKXpe17BrPnV5M+pX1wIiMkSWeKQCJaU60ZV/soNMakcmolHT7NpG6apat7AyloZQzhYUnFXhZgMJw/bA1l20Lm7pOTBLylo/NHcYynjiEw/Xtet1NsoAUy968HWimzja/WSHboR7Umg58JCPLTgzTk78ZQnjezVTki1dOCnSXFxuKlOpjUrKUdkYMq2F2DLqjwisRjNwQV9q1Q5A5MIX7GDUi+QrzvhNXc3W33KOttnd/vScpQTRzS2+o3eRORh6WhKVACnEPCWXn/bVSYnYUf3n6DbdXWT8BZbiIOgGaGizFEm2wiWTg3JAlIlfHvgFA/WSa67pWRhhPufR4Ek7Pdf46xXgTqhxZVlDa6ZzpgYrrmhSYKgZ4qRjJej8Q73XC1VkWKXx+bj3LKlYxTzdyqfuuX3sKl51B6PB1P0XxZ9FOe2Lz0d2bdihg0PuaZ9Hlc/UmJpblZw1+kKwGFcBdPqX4LUq1Q8neZZPQC1QnLbsamS3iSb/Mnm7vjmhGqFta8ledDUSdGHaOKLz/1q476eVC2yfbAQ9FhiAx/8QNtiyCV8+OWYievTqH6+XGFa2c9sIxcWJCvWFWyDJn+J4hoRSTdN1zZwg2cbmt0+FGCBh0S/ryKgvYECPJU/OdLhmScF3Xx2DEsqzdOOFIB7Pz24OT+kOv/tG92JHED5aORRw+IOM7rOWmUGVdpHodkolD+XhrT/zlFbAJfw/Ybjeh4fYQ19flqdpoA6OVDSIkHwHphxRSs9Fp4otvXfUdlmUVRVnYVLI2h+zicHGkPj9HpJorbkjGVDpODqMbr4R5c8sWZv+kUoU3kORFVJtQKM3qIKDHirh1GByxgFSkP5ka6iqCXUw3d2YxNvKwCdma5b6S95r95WUm409Mh0oj9xTWlKiEPXgbO25S7W/SNcK6XDwfwsOeI3H1oAFDVMuU3tEGRiA8C4Az9vWybz5OH9ioUrmXD3T1GyNLOBZLWOUiuemZGi7mA6zaapTThcAuBai/mr8tkXVbse8ZHD9UMH5eoBrjaDUjKX0fdnyKCXK7fRi/cfZZGRx4RMZIn4V03iyXlgVjjymR6AwxEoP8G16Ntp6n6AEaph3a+gvBwz4Bgkb1vW7y0CNg5WddxS84Y5/dAVA5dFk8WgOXojcRzMdjbHoX7LINa5YM71NBzBOiNX8xZxHVAaT5RwauZoacrmFH1LQ2KEm+1QbgzURPZInlhLvYkpDTMZyM3JGU5PY3Y7l/HV++/1fdP1jXyMHkdeQal81elbZm4IiMBaT8EKnA5YBEHAGDCNeM7Evj5TLE3OrIH4cc2EdStdrx6bYpRVWI5/7jqtrF7Et9p+ROm9DKvSQR4HM+CfMwg+j9swVUHm8gfp/ySdiNmqIB9L/hKQyngfojjLZJlVbZrDG7x17wHesoPNRVCfbbQ7n1k4l9wuQjm2dDqBxmOtmmS/Q4lWi6LLpv/cg01/y6RJ0zUPteKS7aEQN5JUhbtRtw+V7/GXrfmsqblvmUja3mkuic5WCBEIMcnj889cX6hlyShIBOqG2CWmDw6kgHJLGUlmv1hfOHgC93LptNmrDJJHe/4oSkqkIVjlOmje61lNhi17fa9U5iMI6MS0haAY7q1V/kLabNWLzhV4Xf3UQDsDCGg0BezzpCuCXIeyQq4q5q0ohzhriQT9CX3Tc05+mONCeRPnsRCu3hJ6KTgd3ZXOsqecGVWl5SgHWu/WzwkZdY14XxSbIXfb1Zt8k+JwhiAPwcyp+GKM2wkDkmJAFF7RxHIIckzAGHc+bN/9Xbq5NoT2Y5HoqOx0IuokD0Uu0+Ucoxl+v9rWvNY6lYM/tkDtp7hcVgkhEYZkpka0Q8GzKX9rGycab7/vMasOTz308/V3hpy/iIeEYYz9UBrZQZTwqFsGxMO3yPto1SGPzwFRqiBWLr6PNxYyHuJRy9Y+lCUJPwIOv9sPKVePvAiNPshAO7Ab0WAoWffVnt9efzs1pgrTwWavmQv5cEj6u4/YL3zjHFVpMSYUBhOsj/xWmyJ2sswlFM2XyoPSUko3i04xv1qW33tsiFBpSURq0x2ph8nfpt7Oe3zGpEFncXQjkUXyhm7QPDZyTpIqJkE62Xu5Lq4P4OsNXeDpRZpeq9X6Nze5+r6rzJ6bj6j9zoI/BU1O82Cf9MY2zd1QMkQ6CqVJjrRO1n0ViMtXC0wGPj/Ydw1CDq9mP5gxfcjevVkEfPCJ0AwkFjBnvzp78LqlW6kLy1b/gXZwDtwd0rmdqHUAa0WwKAYGJj1Dl4kzDJKgI1oAaZxqb/PIMdnYCYA3Yx/Dcwux9oG4HVMOC00A0/5rRFhfNxy4nZ6smu8uPJH9f/CeTzsWIvrR6PQU3ZgYBcV9Nth6C5psPZGo2uMhNHHv04HhvsuQZKfkHH7IjN7Sj2RhXQllvPq+Xp2i3TWjvrbMch1b7T8/1dehmqt2UFlby+mJCsRWVHbKQ6c57JwQpM8mZbVzHtoViFKEMMSv/ooqtIHBpGyVEAiBt6wP7fdgpHvIHmTvRyonP/YWD9DmpS1AjAqdpPumhTr/vTGKyj7AviEA/2D48c/M0bvxS51eoSc0nT41nunMikB1RzPQ3xwN4hRFYMuV+gEoe1VFeKq6iHcfpyfvT6Dyohvbnm6NCPAAAKZ2DUM8cXG1d/c4a1J5iiRmfIduvpun76c5lGbLhCAxQitieLkw/CDIO1zvWpvKlfyXYXbMwJGQg+qCEM8CjGZthhPsQBkjUh+BVGPTbvNEtBscrQSDKiS0RABbzsUgjkYQJQkBYPW1f6ZWNqDf9K96RyBA3+RaSba2rPvcI2enpeOXQT0FaqEF7m9sA5Mf5hvNBji+ZGYq0Htzo16A0V02j4tNGdWEjR/jzggxf1JAwBhrtTnUWU5W+RZmm275jRm/rKmyFmvBqXCSg3a9yj5oz/FoQtcp+HOQ6RXQc8x/juHeSW7LRC+X7qHyrfZr3GiWo7A1qBRaBShDbjtgVoznewpbRukfsUk+3VQXMKAl+we/q/sd9IDeMgYhQVGa+9ijTmPDoyBtGRffLKFoOccK5hF2wX7eLAfL4XP5pJdTnw22a5QwdJTC0qxpFys/6H/JtTkHdylkUkBqeCNuOn+GccJlt3gwn2+GcrQsGIUTqpaV5XbPLzhlRJVEVmx8jOzVFq/ZCwgStvkbyseYoCWSmS5a6Mqle3ZwnC+l2AEfzvR+Occtp4JhcdEvLNn49jLmXulQJv+UGftYWpqV6mbNVYlpg01AnJBr7zaskzGAjTWzx/HqIB1kAzb6kCYQvw1eb04HYu6VjA7UDDu1hIinwOan+Sh/9R+2f4mWjtu/BqwuUlUW+lMs6DQd9VJO9OJnZ4JhrFB630OlkgT/k1R818bQSiJO5rlbIYjswDan5J1TjLie/nvLTmob88R0HTCV7SbgakkLmRRCJaBG64xZxtubwYaj+ySGRddenKYEoUo/WO1FKCP6emTRLRta/FB7KC7LuqZcJ0MSrI+ZTtBuLjQ+V7TDYJ3Tg078vn1nl34EIBQBmDjZgplep6gXNbZG2T+C81N+Z2l3oyBYo9t+Vk42W/XhN44B6I967ItkeBxQy6rNpvbQM6fN/cXzwOh0KzJkaHMqCYF05+pW49K2WRZ2jNcTa45Vx+qLTm3sPw2nfAhhKP/UeJ4PQtNX7LpMHEsr/HhckUucB6pda+SYblP/eGjptEsTZM0ocWWLJeY5RIuabJJu0rUQv97iF/rXLnJf+knVFT2vvW+5PnDiMFVKSdv2jYxZP8p7vw/Yxg4bvK2FibbBiz/sUVpQUYwWVDsUSkzsvvyU7IYRi6TTeEePmPr4K/gvcygMViztXmcAbSIz32wzlJONM3x6mZCIIHnNVHJOKVGPYQmQMM1xFN3fm7wd/IAStAbNYFCahwlZjyF5SrGUn4RS/a0NvqTJLA6BskAZ2FRVcGBptdQzbHnc6QDq8+SXmtuAK8fT0dST7eeWGMs/44yBnpGRs9Cb15boASKOvvN9SunWUcpY/NALYDoUlWobdbubnrhWjV0RkSRz2ilomDegvnv2yZGT4IaUkXLGxVxItsT407u8wHhokZSNXYiuXcU802InOuvwJRvk3kWPCeiEtecrWQEy+wcw+XeeHt+8ilWT7ZKMUAWIij6EFXot/Kz11XMiu6JuE51Rk0LUHg1YyAUfblYRRBF5K3FGRlxu2Pz2lpwufy0NcHk8kluwX3cfRil9Z+OVlon3KlRfGXpy1RC0lT7oUi3HTgykg2VrH7B2nbJ36gQu1YjRodGSFcRnZ6QTk1E83RANoT0nj1AiACA8LxgpDZh9CFAWkyGr96EdtyPl7Ssu25hMUa01sIXpEW3A+xTadQDYNWhBdvS7QE5V/1mWobsnVsXJIlckXyrdDpsce6yrKFDx+aNn39itXmUOCGLi4UsIh+M1+QOSevTIrYSUYaiefETP4Ky33Dx8t8K1KLh/rZfKsJoYeMA8EztG9HoPOE3bQ8cxRtdwnk8P3crMAvsE4v07owclkj3nkL8t+q3DZq5NeDzBssNvGnvFeH/RBvT4U75uB5nLNkE0hjbhY509UJEM31Jup9j8acjSAPmWpwGASqGk0b7eDjmP9AWV89VcWwVYDk7f7pB47N2Cq2VEHtOisXRXvVMorjbraCmCERg948B2XqeN3IE0u0OtJH0aHXuX+xMTfj5oe6G5gtT89KTKg6A1LVj3Lkjo2SOiLhs3EDNrqYOAML25s6FjqKQtaIGNGc161N7Epi/n3F3ds50JF6QUxGag5x7hCZUZCc8Ix6gwsvPmrmm4ihMD7TTYMnxPHlU8S99mUpRwHfhefkigMs2dJnUfQ/NGzcxy2vafvYPZ7g+tgmpKLKcDonwLqmySepVdBaALX85xxaj9Xb2aFCt8u/VZpYMQxIr2sBUb+XIRuJVUDsZdaVVhQJtt9ObJz8EzLnPQvvU8Dy+fgfy1+rbhxalZu5yJNXg86XsCZNER2JGhAupHQI4a+vXxidqlUsM7V25povZgJ1fZk9RFVVhbV0IDKwhKxEtWLLahNskEJmijY0e+aE43/B2hX3biO6Mmk3WDSdy94eS5108/5RZk3H2ZATSR3X/lEk3zCUs3eEVDGweDjUqais/C/rEimWJIX9hzHUSpgiraiazoRZkBFgHtZ0Z5+J18s5wXDfd5WpfInQtxltRIRWAmiiqWVGFa79njxc2uVQ4uOjkHdOkc9flC+nHcmllIV3LfxbbRQqPWCulppAwKJ/x4/FfC6lckioD1yC9RjFgKzT6/0almEF44Xdq4OnH0MEg5zx4601fpDFrl/P8QeOhVAnf8oA1l3sAt99dZoYQkd+G5n73L8QI4uBLKWCRYxhEBL5b9fHirqktUU2+E0T9qoO+wDTBEQlvv8hQMgSXGwXXTNxgSoucDzlKXnEApFh95xt7L3Sh/KZ+kMdItnRYd7kW6J/1N0OlxAkDjnhmb/cZ4PzTa9wUVezlitKkxaRCvXD5TWkgjpjSBQhKFgZDEf+Kmg0mUPhccAdvJ6ETZ4lD7yxzWSFFObJBepdIt6JmBUI0g2XA8el8rBu/vRilEcWPIMzbD3lFUZh27h2etr9RD45NqvVji7Di5KsdpBgCtkH1Uq1nVKLNeM4sqa+nR9qO0N4Yj5lebti/FU90iMaFNrhqjYZpm7mj5+y+WymAgAFmJjrvF1IyUdEb3QAKuEkTCCrGPe78GKaod1GRgMoFaHgZEL08xecnyxEikpIDi9rB5dlUN+52KY73+RWpsVrXwPowDchbVjhaHMwgoNvjVbqOrOMon4FPg175j7iwI/Hl3A+JOeOhyKRKY3y5UdwrgVCiJNVZAuzBhM/mQXYHYvqJ3Kr5kt7G80BEuGlo3mGQXzog/ko9wbQyOFf1oc4M7tQV14J4tUpiw43m4e+cXZqdvHv6wLsLu4h7N5mll+n5qWYQBDVnWgEmOKkQfVKGgQWCETv0ceXgiJjbjYk4FTo7r8/34+02lU6ZdHCsJUdIud8tiFMxzMjTHNFoG27FjxpzIPoguQ5qDTjUJwu8DiG0Hbz7tm8jZo5Dih6qna+vU2wjWCdAh3OKvC1A+MRlt0yWHHZitlm0WUKejXPPbncARZ7Oe+mwiBbAD6HndN77UuWdcpTTGQiHyCbdfmSY58FwCzbLqvnQHuJm8aOXEA+D79EQhoMzDJVOUJLGxI3TKPuJInj21V6zV8LyGjC9j4CGUDCDJkWISI8iy0lW7hQkI1Alj1n2ceOWIoqy6AOf/VNPkIBwHy4lJgamIIVcwbMqwXQJIwtHIvV06BHyevCL4cibObIF9FYvk1VcRWvWsuwmOsmH+QK8UDV/ivaWgLRxUn8G9RqXYP/kqSHCtyS4rT26dPQ3mzBSs2oWylxEFf8pImerOL2Y0usJwxumzQyWURvfyanEE8C28VELt3fApX/uKodYCMnY84SN0rGDxRKcA0JC7LQ7pmS9TaocKI3Zx8LXhLOMj38H6MooTARPw/+nE1AI900Icsv5BwTdEnOYdQ0SwJvPLNTCRHuss0OGXYTDDTD8+2xudMdp24lR8IoVGTY4YYeVKOHCdlOiqVp3zTdX7hEo/wkVYM3JwJkt0ZaR4chIaeNFRh0MX3zPBlKP7OKyIWHUnPHp1ZLWuBbd2ynw8Xned/KbLzENdPAoqIgHLIENvICGsdiXFCI1Sq6TJaDXjXwVuvGMdbW3cH+p5vAcvNPNSdILIVaOhBhfruWQeuxZvbpphcWU6+k3M+BYvMlc8f1iQXlbP2JavuSEUzjIvHgHOsx+71eu0+fjPiZ9CN4V4CpLrKhlOCzZ/CGrYvGWy/T3mmBeoW+9LTEGsMtYnKjXSVG6hKEUHzkE13/jUL7w/YwadC0e1N/WTOmWMLBPZclEYgeO8T2e8bKw+2V7OnlK7MMFtC6d5+8Z/CPZizd3BdKb+P/3RU3aDqRikwezA4Lwlz1cfCIVe6NK+n9EvQNZVMBEVApJXPEW3YIctMCmBvSaq2UXpkkJowrL2TYQR3Vq1pp9RUn5Yy1PKE/beY6tOdFi8ZbxgtJiS9n+zT926lLBXPbrEbtlfAkFGMWZea4BWA6jleh3B5knqkPlrqno+y3VNR//l3DPqfurQLBvBCipJlMC6qZL/2flOr8y3+EwqbiJ1PWYLcubnYmut1Q/U8OVSspvyuikL7uD+ZVKR0i4KFrEkgLhhmqOo6gPcb1zoINewZssJwRb0SsCOzpM0fPCdGtGzygxIvET3JBnN0U8weoUWjELyl/Hlk+ibVhmDAr2nAs2aL7rVCgVr8mjgQPmpWfeg9iBonq5WKTbSR8MCRsiTCRrmMD6X6ZD0y4FE4M4MTKnKMsut/udUeZBbd6AZVHl9UQK0vCIX5AyyFphVdppbCqLgeBlahfYImDRCo7Dx1bhlaiVJwB0uhlZ5PWONMbcEFsTIwWxqNyb1Uk/wrx0MIBo4KCBPGXkCTs006Y9OLjAcNIzlu5oYdPq7kYJhMOpisvsHkW8wdTvaBqT39gw7aIpHVc+v5XCzz8zzpWAXtbqzg/+36h0j3PGlvkub3mMq1r91Kb02uqQ2KXBXKJUuWBzD8aMrSdjmLmNsohnAAlLvMd3Y5onxZRHw6EPr49AhxO8XVphqJzJ39NbYhZSNFdQrdJEsxpUW0MmgbKPMVoY4M2brwbwVPV85gS4AVgbu0cHnuzgC3KaIDUeQjI8c1tmHQRCBDLaNQVytOZtyAE+YLc6cRYCCjX1ayazt4wOtvymo/1QMtOiHDZyIGlCz5wQKTPmcA9A3jXWFPNLufWSCqJoUv2ZKm8aNBEz8bThHdtBIX/GpZ7Q2D+r1d+QdhZiKRoVTAGoB4GuN66Fg4XEI8WCh35+9w1dYIYK1XEllLFhcYiWzlhe/FOQlrM8oH1T+3n0lqZTuN5jKmlP3l0NinkLB96RBGXg6eXOmXYhD33a0MsA1ynN7qUgtumTvXB3UVFpvBFqSw0hjVxsOp2yn9EKkgyGjuKbCmzGBDGLuFD/KU0DE+BCaNRdaoCVTjt28+BdgnC6LEWbe0Sndx/f33IR1iZ40dv7JR/NAc3GTYpOf8qEaWR6tTRbGeanmBn5lui67iLKcs5Cfhbxn0bIRgnfkPLlEzxFOZkdEZjBX50bTvvLXYAKqiG8IpZBnT8ZR25aUsIrQr06wE5J4x35Yp46RzarKxkwqXUVybi/WSf6GHcat+oTCHgEQprb+JCuLeFQJYGWXFMR8teEoAJ8cd81AzRAvUal6jsUb7cd5zwCWlEXyrMODb3Y7T8tbyxvDQjlbZOVa+S+9SObTz3dcBh6le2721q33ZbkM7wrfWCQUQU1gN1h67fBo/PDBWBNCFHbEzYD0Yw6lR64rQqkMwGjB7lkwbQzbNuXt/M351euCHhIMpcJdvpd9guBjMTKCdsxUefyRONQD4BSfFJ23sFev9YQmvfZghXApzWedRL/UCC2ktQqVOlme6MDIGybL5XxBXW/ryVOgRgsOYbc+XUr9WhkUqv1OlJyPCjAKZOTf2EJYt+PWW8HhoOu15+lbn4uBvd/3Q2woWoJETlovZSsYf6XqpJcDbznnLi2osWVwzp+9phlrCBoPHq9F3i707CpM99tbk/Fsuo+8H4OXU/JeFVkNEtNxxXL465TF986yvgSaQNPQf/BKICQxWFRJrn4Wf5Mx1wvxkscCCj3NhCCOIv98Tzrxvs5mQYlO3NhaU+59acD5Vh6iWtD9amYqPranzuzm4Z7DGQL2frjXr2Kq8JhHP6EzM0cOx65gP0sgAAM5irdiVu5AWU29lopMrwSD5v90Ll7de0zHSk24xykHwRIv/n3AOv2GKdClJqtVTkcAASijwsxXh1BZ04yYrODN+jo85ycxRHZU6A8V9gdxgGLuMZ5wFvqrzYjzGSmTOX2UoQzq0NU6FYHQ9qyPJ/p3RZA3sS68bQwlDNeP3jPN/qKmFnua0i27/3Q4MtIsazYAvVLMp3FqeGuHZ+hqGT5SPCZUu4O4ih0l6r+4WZNcCgs8qAX7Q3/7zWwdyFV7siiqDprWCJ8OMpa2xHf5kuBe5u4JokjqIov248tH8C5EcnQZhzQyy4qVsPJHvkpMosjkfOkiCkRRWhjl8kCa1nmUfb4Si6KB+afSPCiIMMpAQEt8et73SEijv8OXGipiAPtgI00SdaXquGhFL/nx7tznF/R7QzYO31fRo9vbaXJ+dixh44Uih81ihG2o+moVTmH1NgLAO5mGovQkwKH38FlaQnVArmaZ9n6SUxqNWC5qosB93Lez2hPrLSgpX8jwYwP0/3RraerEc9UvnY4BQH0pzmDFol+Kz/5hSFOlz8RCrcCLu+nfy4ap9spXAn3qEGoHOW8JT4hCk+1+psgcfZ8b4IxaicoSYFkb8Kn6dn5hNnnz8sPy2jN7OUEyeNv/RPfyDy3iWFyLagIGeMqZdm1K2tG4VF9ZYVTLFzgucO1atugfdmVooDgH+xflwHbfAVGnvfwCc6PQIhIFcOIFd3Yta476Q5Z/NbsGxA4kpGb8fMJlUzbYOoET6iW6K3Ti3Oyr+7sKwj960iOXXBhIPs2UCO/ag9YAYTHUKn8g730/piM37GE2taSN1TbiL6WE+4RmSzVc3U2MVEPULpL3sLWP0GLVjw/bxFxnwhIayahhXD3R2TOmjuUDx0SFHVEq9C0gp/0kkQ53A/wOh2YGjRLrLERe5Kb1on/xHDDN9L3xOyD2qmJt+WNhs2PgminXtxWQM8LqeZncbFNmxKD1oH9AGLfDaWPx+78GPkUz6oxoMWLS5/1XWZcKZf1uY+4zXVJH2K2tV5JKWOZECVXt7F86rT8WBHozNvEud8FuDVUdzG5/o+bKutDT70QivCjXfF0cpRVFGCOu3JUen7Vo8ZqykYQJbqDQVCeb0oJRwpt3HWyX5K7zeno+fTOS6NFUkxN3IjQ5LX2OZu2+4uSs9V0bSHI2oH0OwsuJiTWiW1/JcOXGXVW0NyWl14HDTSsz0h3q1hb/GYXY+10AJh/x+TWbO9/3dFd4SVcrQ9EvO0AuWJHqZMFp1MEn79jUs6dKOw7oGy9aOo7LEDhqDbZJs3XrY4cymuC3jQyRBn0LbzvxFQlu6YNWOcI+JdkVmH+0K1gdM4kJaur8lahv1ypiY3PQcOCd60x7tkRJHwn3F6oON8/AaqLrG0MDgXRxT0xw2nMN1dbUU/bc2wAB9dy4irxhM+7kQUT4hcIJQIAoYgfzkvrpSqZV2tBgw9WG4LBjVF+uHv9oUr6oZRVv5J3SR8q2d6eQZVOxnu8CXsOttTbsCCnfOmjeFqn59/BhJPP0TH3rf/ONUrGc8UN25fDiMhOOTnTbF2sPuCm+ZYTD/4lFrlSxqzdhsapCcWrb78H0GGuDN8uDhZxTvTlmjwdnHT1xMutS64+J6tUmk00A1Zv2+FiZohO2yZKFr0rvHEXMf0Q1WoDGupeJ1rkeRj8e2trJRCpO8AE6PJZuCCv2Kmn2EtceSadXOCUL88IdG3Aoqh4g06yDigXlJuR+ffRvZXcbYJ20GPBT4ze+0nz/tjP04RfMo0MH4uXQwR6LA8lf/L2e/71Cy6f6eKY529Qqh2t4hlaOV2B7WrT41OYadK8y/hZwN9RBZgCum+GVXmZUWixc6UVVMosbfkTJaSluaiiZ+fX4wgtewfjWWFAMMKjV2WOzUL/tXkiCbkGhYIFQXr5XvwdFJcxqoMnxNhKqNn/WCGzVLIcRy/OM9W3pmrxKnzeidr0BELBhSd6XhB5QUarArRdAatFO2K0NTOL4xBRMTta6HhrA+WmH/5C7hmwgApWd0DuAZXHdyQSOY5jlBWFr/cOxmKuWM0zSU2RJPAn1aCYwiZquDk+ihnqZxOvhppTwApotR7rUevWZi8fkr8r3YSgE/z7bQ796C2Neg0fc8eOx5/qaEMBVeRJdWxo1IGHhgVsCdjgYafRT+GPMN5DPabizpGfD319nGpAQZ02KPWCJOKN4MkvJwJjQBtaC17H5XlY9Ym4eKETV/V7GWkH0moLq5i+Kqqy+58cgiRonuiZ3+fhqlf4vwUvGFI2lEZzHUfMLO36/KuSP1PFtX+owHr0R3DuhYF4VlDM4kIljnmBJs0vA2JOvuAnuvyhbefdBLsLkFJuc92C1Xj9D+oGOMhWFurQGY3EMfgD/noRLAdv3y2e+ATZC+z6d/VN9H/w8YyRheTIPWPBiJl8x8/ZID4BlByZ4fMJS4HC74YsK1XEkD5czcxCtTtDdA+o9bHaOtGQGhutVPJF/wjb5DRMOZLk+uky3Y5ahAH2vgLwGhOApYciaFI5xMNp0Ru2Fqn6X3mIR/N36EN9+DMuKiLDzmw/tGelPlBfkL4Jbq6eJfDR5Jw9w9TJwuAIc5oirqmYky0DFvvjYQgtaZzxM6+ZGZRof+7I7pFp++8A12yWxAiPb4UsL++yQ40gWBe8aDlOUhYTTVtpa1XXtCVxpptGluFcHl7XT/vbCcFKonWX1qCsjYSgRjp27tUPJaLBI8BcPbDjdmcJim78oJkisaTWrx+yZa8k6yjvqpbup43L3cV5oROmyNr50BIMqW4VuFJjooLzOURhQws3rtqL7bCKR5g2qfDNK/2Z8aSvpvocilIasaJf3yiSaWBJ3apsQA7d+e2t/EthBSzhoW+vskqMidkw6QHEQNYpjLYmSbzC7qyVFj0zTgKHqJIyhMQ0yWes67a/p6Xe0p3Wv6uisE8R7R1YczGSpRCZhjrMmd8AbzgLSSGVsdbrQDsDb8HJ/eTaxIkcSphyd6D5L0i2+0OrkftmfY8r/ozKU5+5sgygU8LQKzBM1/KSDhRM0tJw6VzANFnfF2H/b1KAOySGtlu1WAuo/UqmEm94B31o1+vf5q2q0GHnXox/+9lRbR0Qzw0EbGPUS4rRUSYoFE0P/NMWzwZDgdU5NXK7tCMOjCbe04JW3v8MZdVBJlZbfTMAlBBbk2o71sqE87PC1xHW2dR4XDWdBktyXQN505ckdljsy24F20UV1FV+cHwIrQFcVUve5EP1gNInfZxe95X3l8zy2Txo9yuthfnTL7tKLypP1LgbUnXn/MRkn4HWiIDtVOj+PpnsUzAkdl42TrE4qjxle7+YahiQrd9YknilwBGjXeCXMV+y04P9E9PIor1sDRVYPRsudAk6L1anN/RVLG3f7DSKj+XWsTCqi2QGAi1Ypo5Oxq7PKK761fTzEd3CAvre7PmzTcFqTCXOs517SgtBFCWiGMy6MyHvwVMh8MVAI8cEbqboOVjWTXJ4/IIuQk9qWDO0CNYo2rxVViZ+y2EYRjTDJS6eSiN1iN+8Plam3cOJJjSVswsHzNV2DVrO7P9MG2Fyl02lq4ZycNHdZhd5EKa6fad9NJ7D8/2EpqvKzvzAUT+NmO6rqiAdzsnOFKyP2Rkbx3Pyupke4jvSv5wK1mZr+Eg1rL9L0rkULVUhISMaAzDTfEn7tLDpB07v5YXEnpZiymJEw+/8ejiDBr/xjWDVZBrhyNLGrz+HAexqeAh9gQM3sBJpdtPqrCosSi0BTIwxMOaPjI+1nTygWgIKtSHVnoW6JX2iLHT8qSH597Dvlqoybcid5CnWNatSaWGP2GjpDw9atx3999g6HkDMYBfdgkvQqit70GRUI32pukSZndImeQGejjwPaVMALMr6hZQfVcDZMs/DzttBqv607o34xnBWWpsXoH3Q3Hw4im1YdHxj3P3cpSAQWpsoKYrMhRzV7gSsWi/N+VJcyfT5Gj5STNTUv99/nkZMt/Vm8urRIog2RUHbCnWVby1M/+bXDeqEussFb/CkDdjsk5th3PCaWmtXSNUqAizsQkUSp52/VJdyfAejCkPcISfuG/W9Av63SeFAvukVfI9HZHQ0ZWBMFW6YeTozY1jqLL+jdrPUvnx7qhkNm3qOy6ErcNdPKMonZOMUZwqSlf/DuzWAmK6Ixali8U6NIDxRLDtA6XoRilPPEIedhDzrSgdcvpZ2iBC2Ya65osSRAOsQj+1Pqnh0iNQTdJFJxa5pbksMkwVBn44IDKztfPc1NCzVkpp8a5yTF40HYJicF9pWhVbbI7gbC7eCAi0AKEUS6ITiqwyOJh3FdfPGAI0PDt4RKAwh7dc5Xxl3Mvjc1SGRLgcjjBf1RIcm7PM6KnVri4FhQU/lshvCpFW450V8zsjbMCxsDff6ObREmI2YU9lviIGkRrTMSu+Fyo/E4AqVqqQEXTdJN55KgOmHKHYOV4XH03GmxpLNOFG46BIRf1WaYIO9PkI+iM++WlwZo81mTTSYNyCQGxe3d5dgC+73eKdo+gw4tWI+5COR2hfULPODNbZGKwLnYWtZ2vvwcE5mlViymGqGp5pjCLoe88/dXHSF6bh6g/qSRFIYkf0cqJanhVfkZ8dJ8RaLNPezZyIOHn+nJn7anDkn10/kI245AvWmfstp1DhCJJbJzdjOoZKR2U1PmzqiYtljhkZfqHGX5r7P9vkoduWNptQyScOYHkKBOhehwxgWImPxDTdunMRTGwBebNgY/gbSDjmUovNa7sgqWCEvMl9PKDYVOFfGnlQTaAWYCQlbg9TxhygqCVTtYuL/untDB0WWei1om1xSUJpFEO6MnX90nUvGPu4ObcG1p/R9g9UUDHuvqm/cmW5aNUDMWAK2weTg0vqpR4wv9kwcquh3XUGSERKAOG7YdF3gAF/miHToXSv3mFskAom+sDrUkre45RhzakNZE96GmKam7wyqI2LW5vinOgtDn/HuSZ7gYO56DPjNz8wF7lw4FVM6W8UxShQTIGehmjrpdX+UdKCxNvfkSOzou5aSHl4TiNoX1XYjQsFxVal2aWar2jAX9dc/j3OGXzIymus6lG0A8Dift/cBugp/uaVYyc9pBnqG69GXma1A76V8Zmf5iBljE3PHz9WfXXKJylBjfi4sZ9uuKGyRzcW0ZPXbRQ9u+83iNAtw9MMVb+wPb6ptA7I1Gs6f+b8houQQFW//O7EHzOvwqpjs9EBIbEg4AgYTgJ7jLmynD11roLpHgeJm3osuzUeXiRLv23CFcJ3tzMRw69mb+9DAwLzuZL3JxzWMzyVhnEQJXOEJrSpc25CC3vidXK9+KC0lREYVafThy58HzAUXOFHKbUT/X+YPO1gqdUm3tT8uBz3v7eEzjkPQAcFfxDqp8ZogOas4QL9fESz1AyNqiqR/L1iRZfVK+gb/D5KgsaYSgEb0klLCl7EhfpmX51qe1MsawifzWNx83srUWlzjouj4bZN8UlBbDoqBQ09U28p8+QO2ZYaNLH1glldt8IyqaILgf+zYIJ9EmNrCsyrIpS33oFLlukfLSXEt/Jk5GHRXHK6w9b5f6yti4cJOSU0cU0ZSWYKBg28K+WW3hTMc6iq1DIXBtT3FaI5T6RViJOuoszJpaMhogJ6b6bhEuIjheVwx4UpvlQ0hk6Ziz6ck187LrtKK0O3gCUXIyQQBalQlC15zl7bLw4dd7ThAa2gVHlp1w1jkAJXyi4GbbHqbYeG6Lgs8Rv7iQ1bB4Iy4rWM5KwxYjfI9vDNngYSQImcYp4uya3MlPHQv/Irm0RKtPKKNy91izEQ4f8T5tniIzaCSG2euuYQVa7psVue5DWSAlpqqUCPJt6QWDGRbk00THEPLa3x2F9WLiEy4zM2xPd3sLgyma7BfIcrUZXfHoBOcrRSbLR3xB011jlpcnYlDrUnNHSPARa6G7iaIujg0ILxPMSmycrGLg9b3qYHv6XDJclSv2djT9m9h1pKL4g2h/boSQN7iYb2Q9Ku12VmPUayE5X9Qgpb9E5cVqd+0a7nF0omZKbbN6BdJpStKfQa9LZiZJKucxfr+bmEiEuTS469biHPJWpf+bJkRdER5an+STYqNETzHXrbA4NTlDDSsG0L7s2Eb4Q940zP/RVy06r6GWKtc/ofWD7qrP5+sM7wm3SOb3gBtnIGxESEgr6Js5Vai2HCWQ6GIbfqgkqphW3PoO9vHXYdgjeqj8PDloDObWRJEDpetUpAGryhvvI8bspXht30UZUKZfwhF4CFzsn9ncNDZmtTIc0pR4k4pvuoEc5VYKPrq71gCOCGWh8XC/5cWQxNsa3zIh3u+rNjqbWJzxI2t1Heuy1Evi4PbSZMXXHuQaA4BCdlKoO8f8Qv+h5m+NmX5FuSIVObd0wRR61kmzyTFGurhZhG/tYOBYn6X2QanCDFnTyARem16XBr69pXD6qh8dEiN9ZUubM8soSrijeEJ6oIOoI3XV+RuFrF345EUSmkUTlbXckwt+F0xWHYf44Esba8HPjl/y0ZYaJnw4A4xajJCW5ExTAhz+wi/xR6J11IiCkGzrdrXenXJEhU3rDnZtpAspgjiuATMq0r7mIwuIDFSSvu8fWGATCx1t+JxlGw98Wlg2/gdBW9DU4ckuOGqC8dWQRwE4ewyhEinEEdh0G7Zto9MWADx2pem9S6REKjPX5OEi5WkeCW0J5X6ONkkyM8mjH9G3ZXVxMjr0ru2VuxoR1GpypsQE8xjNyCRco1bzPyGCl/qBGAMTZVY0Wsfrm5uiGIvthD5dtyP/rF9Hgms225kvcOmTSCF7KGbCaS/1TqVpejdFeebfORn+zcSlN2ILB2O0B4+1/KeuuzfSnSMn0O8RNCj80ew/JnwB+znnXMqjt6E46dRjO1sdApFPr5EaUlSnyiVmD4urA0bqEJnwwcfl1qLhjK42Bq4KucrGUDLqU2fW0Eg/bW/pMwfhtwq0cWAWQibidnjzSihkfERODAdBh9kty9AxcqbWH1cfF6TUTMR/T5NPuvKRWfc0iOIBR7Z1yS8Wt3nDo7/yl9k5zhBsB7O7tcEBMm9SS1pKzaatqHq8X6kakx7BVv2GxbJ/vCeWQuQJQMZjg+Hotx7Mk+p8VLoC8/Qz3AV4wVasQgRIY8wmIDb2tsEc9iBoezEzV1A+sF5Tt3YaPYU1F12UA1mDvFGdv54QUIEcUL5GXJiUimdy2Uv4j20UJa2Ccw/9oW0auxJWTEoh5OyNL9swdl8sb9j38PW2neSvory/39/RanYUAMEWNchNFEclcGoOpqF8ai5mL4C8f9x1zp5mOUc93wXEwlBdDVy8JA+ssssKjOcrpmFrM1yUsq0cfqxMvQnRpVErftwwQ7yt7T4uUlZNj6hvq8ydSENnFRsDh1PnMY9cjnsLlUgyro/iA9QiTdvcGiFplp2wNgLJL7JthB0XY+DzreIZoP2U+y5wki1pDXtvXYjxc+80X66EaENz+r2W507Byon8zFKVUZxFtBAEPvbxdQCWseFLiMt6GgbUNCWavCw6KUfxz+CuTOTsmCb8KuVDcZgOZzBNPPvb6UYDjQwIekH4DQLGQGZF3IiaYiGjU44HOkHpSF8MBsB9rp0ILrBPmpeEgZicnvQalfcNjXlWYwEIn/sjMNpFwfqcRkT8F9ZBNwk5YjBXv/rSI4UqGzPysxcg0SN1jPuYYo6UZNpTI5OpZ9LCD8tdq+A9hya/3BA7mLXFCIQaa0YT7LNVj5i8IHCSGsoN6jxx0g26ykvNk9/xgqFrTR2RgURPU0iYPwlMebA/c6D+ogX22o963tK3gbzETipkRwMS0EK3KRbvUVYkr7lFqVzZvlARstTjzu1Vlriz5CFmVXAI9hWU08+6atTKaJVaQqMhxptmPt8sm8Jm7dT7p49XqwyOeuJsU+YMc2AqnL0x5i57g4pYNShB2so1XSGfhDybTZ6IeZ4B2fuJ+lPbJVl63bHcg3K9W3JWN4uhFvtQz0uiDeS/HUmYXTNPswyRGL2CdkNe2JFHlgK0PR8EGt28XUZTp96bAkpjckPSdQAavjMNUavOjahO8PwBfB1YNspt2HDzoRulsEsZAgtmRmqaDmdUNmCe58LYcH+XqvC04J4uLrrYO4KC2gq3khwDkYBgEglgKv2Kbasx/WQP9b54sMFaKY+JB6P9MBQjidq21Wg4+QvsBiyjODjx4tJjn1WlXeChllDshWsKhAWqgF8jzU/f7aU5mse5z92+2mDAwD1j6AuDFi9GoRZpeR5Puu83snsBNNyPmlD1jhdDpXNL2z1Vb7bo9YFK92Sd5tGpnNEeWYRugB7OfgVcNPVxZKvhzG5KgIwNUISeYvLS8JtNMfM1C4jR4EDag7n6+g+m1zpa9DQaZSeK80+VJv/QMruzaNj9xaMNViwhdWwdAkXnUm6kVhupooukEOHF7gJLRXUDtvjY/DBk5BXMJ7VZ14Wjd1A9xhnQ9R/KWKkiTNdY0jlUkCX30pZOp+wRK6diyKc3NhckbvC4jFNKN5xgt89UVBnmC2wpWl17ZxxJpaeWwXo6A87BrBjQLDuPDp1HkFqyC9jyUzW00m6T/nWhw0A/OZ6w6OxmM3/LoXrKJh+aoYU1BRBTfBks7z/HWct/jCUQjqgbBlxW3Im5Zefk6i9e9FYqf2Qi5CT41ClhPcKr4SbHp1yRR/+qnfCAcwl0HwZMijZcUWtxQ3kI+xoYJ4IE5PbpoHfuF4/dg43PikVki7NUTlTHY/H2i9e0WoSw4KrgAVftNKYRvxXHJRNoPFcstzwVGtKsRSe1opE3Nvvo7v+3DR9x8xfwASBTGiXP9GFaU2s/MDzVPPoYQmPktaGqO4mJugUz7FPNpCm10j0Qyc/hjz3J9JHicUI/mWLsKM4gRuxYdVXuIRRqSK+obAcDSgpVnbLmzRlEwg1OTbdloXs0uv6IiMHVLZCnVCkOZHdua+tVh6UKxs48/asYhEKma3Cn+mCZlzTUdNzuxNTARPn6al+ghMKanp6Ify1/erUfZCY2S9KcC4lSpIQK0dmficRLCylkCuAq13vN2QM4XYgQVvZN0XkB4VavXzscOvOBcLy2HffWlyCKcEI+YAGxPIbx8eYpyF071NAxWqryvR7EusijHa5TF4MU07fpFJb7kWd1KeWYGKqYLvDtAuolkAF6q30V0T5gL4qDUf8OnWIUi3Kv6W/HWWX5/WYYmHySXwgb1GeHI5Qev6YaxGF9McK1aEnMyY8JIObWhkJlPwMK0DmGBbWSq/GqUY5MIrbzC8pwO+GeRU8nO07oTR4KipdiJoWVoEHZPxGoamqkuFLfNVg/L9IUPnBYvs6tEQc12PvCsCDh3Qc86uWEp0tMqhrWmmR1ID4CGKa6oKXWH4jQlrCmzyxKHNFXg5isATXPembo5QlyT44lGHrRmopOv68uXHqK9EyEdFWTnwqbAohN/KwOS1UgH3RgJrDyFvulwlef81NwTzoiqQTO9ykOHCVEDK/Qjgpp0ImnF105cOE7+bVxDPdcpK3Wewl7DOHBK6VMBuX5/Rsq+PfMHhU2eLt8yKM+fDrIOVSXNhbdgSHwts5WsQ5mDBG7/mGHY7X/EZLNg40MP1Ryg4vqGPEhb3ZNQwLypdtjhI16imlN201SUTCYwnuifT0TxnKngWGfNz0ORBGSjDYKt3VDQ5myqEu4nhbD2lCIKn2FEkC17JSZ/+XOl+t3AmiZSyPc3+Ew9oIwAqHZIHrCmP0irGXma+34X9hFzmUJ7enSIJPmHH/uINWwveHJZySeoQnM5MlulvgE1bz2gxnN/gS9/XK2ZeR9BxedEvHQTgAsvIJw2Iitwn5GzjOwhDZIAtkX+RxPGmmZID1PnZlDesgmeMLUVaNtqYeW1J0FuVJ+ZcmfsgEiihKHHJmzUQqKmk8Fdbmk3WWD6o1amo4xxoS9HjtKiajnrxj+fE9YV1s/cQ2KlbgKX9OvYJH7kPACESLMgoMAsPx2KavEY8MWd6Xo33PpAAxtyeQNZ2GTullTdiR0sTLGQXTNPK+61xBPGFx9GKIOloiWy0hp8I/OOmIJMSIF0GTKa5ilgghE8ZT8Fg94djpj3vUxAPDamp/KaJDZ90PTEQ/alx/2xEu9dPuMqbnyBlbFZokLhFFSgLFKqOSK3sIw2PUlsbY39Of7UmT+B0Ug5y6p7HRxfyjoGVM/pA6Ha2ve6zgfRr0L1C7rgeq3n1EG1jhKW1v7A94yM6HbATmyUzRL9oPIIrBC2S60XI1788iJdTWlxWPsHXzON4a8DkqH6FyQaDQjJo91xrivEF7k9v1XyLRBdjxbejOnuExiKPfmPlVcXqFeKFTlZz50bJ6elwPAbgUsp9bK+4w9kLp0K8qcHXWyleOv3ddrUDUiIhPncYQ8Gp8WgBBbYTtF4lgPjZRuHpxLE/H+mMGpdSXHYbtQ+F6lFNkBu5901qAXLWKMZU9IV37hZXV+5aS/X/E1vZtMS0TCdfzGAZ2u82ArPdNRo9oEfg1AM+D790Vs10+J3Kf9kvlSQwaxaxNgTwvWY3yA4QDN/0Lr5LJ0TSvK6P0Avd9OTCUkPLHjq6eCsYogWVBl23MelqxDYrL0KETY0UqlAZLoCwMCsFtluoTr7QqeMMQrrgXgGE+7aReTH53UFVXF17pEcdZf7+wM2sT7mT73DGbhbbeR+68Ryf0kApPU5j09AbHdf0qAN8qhDAleVIDxY95NzPgyCqgeZSEgR/UGs6HhCCvZgS3713q/Q6a/JaxAhBzqaVCImOszgxR0tt6TOTeM6pgOAhJexxx1EoZvmaYGdENi4x2Lu6u8w/da+xrjW0hYBOB1iy5kfYhQCZI8BVwAWE/sAs5qwCwoFVfVKvxSIDCzEQ6t/kFdQCfowZi+VJVTqvOACrFxIrb1l9ii+BSiNIY2CzHWdA92/wtrNnPnJ+URa3x2nHVqspAchpTMM5oGxYK0FOLl0qTznI+R2vp0YeH9Zc4ri12wzOD6UmWXVdmydtYq2Cgv8hNnkR76Ju0tvtgFwKscD5w4uSt7lvqr3dh5kZu4uxMMZZNuBggw88rW+Q0dOw7pFsx7PFuWzGerv+WDTqOFAUiIbH4tOs4BtsVX4GWE1WFndtXckqPf0zrv3ro4EyH4ZlPIXUOXN88AKKGS3UgSqnCXCSb+N/OrHo6K8tOCqhLn7mU1/Ez3yWflUJ4sXmy25Oa+JS233UK1tDmjVVrUNb4szpXMkXQ9nMdZOwctgLrgBul3oRBMqAd0ah6DB2h3+h8AHlLU0PU4f8X8OG91kiKIC9gV5pr4u2BTAOjO5mvMCpU99QkfFgNiszB9VM11O1KhWmehFGQZzdfpsP2Q1hHer+Yzar6UvkwMklfrffL4YCzF2w5/t4aiSY3EP4z0Fedrfl6jS/cdcJfmkq3g45N3D3Az2oFTfjxb3Uv6NxQeYlXU+DHIwVVlksdWuriXsSFyLDt7aeXp8X1RU+S0ZFhsYHDaZU1xF0o3hbwGny014dEvHP/acwImEcd+aP7PnqBgHprSf2eJJT/3ZoOecgrlYXjAfk3Tg5YCE/WMNvXJCZSjq8fGlrHLvgBFfonR86p8GzKV3twV4nu9+mfMqX1DXpWm8X/iz0YvEqMuao+unM2fDrEsnTQHq1OQHPhmtYEvOJEVgBagAeRB0/WYzPQ+UNeZgNiH1IAhr0wx91Gs8+4Dw/d/sfKEzM+3SwbRarprwVU5QhjzCGSn5/j59EzXz/vkCqH3GdrHDekDnQkV4W+8bndxTeWwZGnJIEU3iqipZo80GmRqFxCUHEjUI2rWDrV8gwWZDPNoWwpJRNYpRGGRpAhc5VB8bOAHcWfqpppcBr1cHYTzASGGDcCSp9ZuDTwUiR2uwfIdvvPGxXlGKdvQQzXQM6ABzMS/U3E4lfBxJ/nTFD/XVygWVJnjl7nWjBNNJUzErlKQckrmc5Q6/IucPA3jWi1MBD1O388mC8NtAO3bIJO4KkH15tP7xLnXsB55/iGRIuFFqPz5847tskerxYVtqznaZ/TGGREmwHtbkaH0xhPzljZfEviSVqjF31eqbNkEemgfSxSRgo4+rBp4cVqmwoajgkjxZl5TWqvykY2303O3wsVtgfnqcnAbKZRK5TB94ad/cqj4evIFiUZMsKjAno4BUFTaedgAgtLen3SKkihZfjoNZuCHONBc3T2N4Lu2QVgcjFR3krCno2gk/0EcozvrRqOKFa3pT+Q1TXbAZoM9sq0bnc3UAYFsvMyZeYWXJSXxgIXJ4eAryTuv0ojDTACvvzZyGq/zu3Ol1Ec6GY8/u0prB6JM1Tt8Lxf98xOvSXHYgRJSU23dqj7+KAoDJpIr4z3F+Ty7ePChDlh1tbpVz5IYqyF7v/W8BQBtHL6Kll/OfW8B06mCTvesYzpPeT8MqmoAMhhuuSpGJOu7UjJBfzwxsW00PRe2yMtae46bZYIiZ1Ougf5zAphtBAYlYpXrcnesN79P/au6bbCEx7535l6Nyqa8GSokEl2ACdRoDYxtMVchhYsaJIhi24EL1LjfaXXoK2ljp7vTODJnU26aVNiyfiWyKgbKvfT+HiQ7YqgVyrDbE6XGr+y8t/0OCTRHI+aVWDpYUMnUxyb+ypTaXKogH/YETSIrNFLTglZ2F0zi4U5fR4WWGfIuVlgQmwVjeuagSkGuUGElTXJgqzpTvJvBbbW8I/8koVI8CWBAoTzIBDw8B5AqpGrXKB4s1nVNw+gf9jP+eQ3kVh3ifnGss5Bv1AbmnEa6hcVptu4+Yga9s7Ftzj559zY7UGxPXRrsqE1Ut8JckyFgUMwy8pdSHUIObv5WlGbJLZVYQjXoXjyqynLNuRuVYA7LaQkIl1cDO6yF5WHgYp7lUo4/KOF1Bg5e1pnag6VywS9euQlqHR1rrvsHSO0n0kQ/wq+Yzr01cZowhgxf0KU0jA1w4Iexw1h+UafQLrURfAf5KXuQMvrdjCS39o24MbPDCkHX9n+TaiVs98fbWY1jr6MsQZNZPTHUv/FHUgSU5uwV823r4eFpQtMpvTdTsOOzNbJ+qA+kyJb0n2Q2xP9O0fAayL4SRUBv0VvUG2eMb7cDNG2cW+b90xYq3LHMukZnoSR+4Uqm2MeHGAdQy1D7Hk8R7zEErQg4AWXe6LsSkmuKweVhOIpDWYnnNLHF11UpwtmwfiEsnVjOCVtafmkx5q59wQU091M66OWOGmDu9lCh52y3ICCQfJJg6e/8NAv48bl8hQO/DsMqkxllsB3VUv6uKJHo7iFUqya9r+donAZkLc5glrOWr7LKGKhe/Mzh8r9kR8hKMRwVti3S5QKJoZGxcMzik+ojAqutHnX0W2D0EupYrCOBWRK4EWAW26LbFyBlLMDNUR2AVKEx1km/g54ua0vA6UXM90rBF7D+8CuWlDu+qUcBvCVxWYdWUmdigZyEJy5jNSbdLk5NW9vHqmc/OkzyU4LJhIqdiVwBQmmzv+Aii7f3OUMLItEUxpK24f9qViLBGShvpWRnwXMT/IAtVAg1cmuwLH6akiQq05Wynk+CNGd0vYBUKvckzdjkhKYv07NDFKrSHtxno7TwfFRx1PSUEBejOKsDsFfXN+CUzDbFiUvb6wP8bwBr8SB/8E5rOkzpgx3vzyThC6LUIi8uDZVjeuQUXPpSQPLM1fnOZDSKpfF6dGtWSFxWgF2U4+we1rDTwF5np5skAXmB8P3COsFQiRX/ShgSJZ7WXfkKdb2IjL/JChiCLb5iGxqEChXfyHN5ZoHvbilramP8NnJnwSRwBXDJOtkvqCVeGYaHckuB/tU5WwervFqnnRDAfu6nE/nKDe7fm6AXLh46YVd5mo1cHJr9apiZ3kFZ4IgDKvcvzyMBIKDhXb7q42tWWBcOZYrda14b5uERECSNt3WxPYidI6Kal1GRKejQYOS+3M3b7k5XCuLmozln26pQkRwJYPoWvk8mabCuWMXCBf0Q6o3EhtEJLqJRtdK4ZMLTkVwETOtUWSr0UnrJmIDvxERdy6zO3n8KcbvUYX+wJ7HmlZ4mKOoyjUYRC8ICsSCQ3d1fwtOaYvdlyfMbS5sEvQRuVNXmp6PqXrUzsvlkqq3Etj2KqQpgAOz2Yf2Ub1RGtuk6kzNPVGRjDMtP9INtXIsW1I3DcHr4IiRZ8Xglen4jWy62MYc/6fAPGhVH7oSQq60NspKumoUya+0OHZ+K0093ui/YYtCJNrpeAHCBuDh6Jdywhxil0JJ3uxuomtSAe+vfCXtxbngHngqftFYYM7ETBxGU617AFgoNUTjJo8q/aPHkTXvNzVDSVKCbC0jP9k5U1pKjTUIGCTY+VC0/6EjJzAINlez8cXfB9Vqu0HyoSrSZ5SwvsFQtjcWWzNuXvoejByqeE1dZbwZKV8cBKJZa9dq0Hbe9hZFZvgoK1Qd7kGy8WH3Fq+RVUrs4yPzxsVHbP5BdWWOvNcp6zdGL5iNxLl35D89+390bXdu3zdEuWzaYfZMB32+tYkNJFWa+bvhYEcb9XIijnIUNhmii9Iwp8J0zKW7uvv9VC3NcjzQNEBctII09VlMT9G5tSyHLNDJOeM4lVVzYrjS3ktOwLfeaa0XGB1foacWEHpaioAA1+w0/XKCKEoZUMe9kZhD0QhTuvMjK5dPjbtl/iTB6KXWOb4T6EtLsN+itLtq0xalwj30A9GoAQ/EA2lu1tIOCb3lVvBLwIRX+/Fhsoxe9rnvCjFnzuBKCKZAaDnaszXJytKBz1Km0x1s4VQjd2ae5Ei9TFovhJtLNkrV7Mw6yFQGV3MOBRFGjIcMKSsdZUJM84ZMbJq/ZtFi774RKAlEP4YoHHcTxfhjWG1sUd0AaEP/YboJl8S7Cf+dqTqu/la22rUsXf3amEa6SSRSdtq4lbZqlbDxf6Oh3U9CLVGHQupHRF2YTmaDMcr9lWVCB+aBcvockOkVsBqgu44Dyadk0lq6SnHuC7Tij4a559NCzRqSHvbgHQxSRIH+ZrgtBxQ0dP0V1AZmHcZa5s1nKOf1RsKm9E3GHvrelxeSRnaVk4TtT1ZZVwQ5oidEni79V2VYLHq1EJoH5/zsPO0J42pYdZL3WANe+5rDv+BwZztkSgvP/dMJRwLeIYUIi3tqwj10Y+1QZ4R9K7Vk3XBgVDiziNArEDL6YfSw/KXJtWUQ+jf6WSl3GpqEQdGLt4Vh5ZDxuK5kCgwZtbTkjDthm+kfRjtUBQhiNThM/ykb02IKXUlS5xWGayoLyp50eGB9/Dv1PERSZpc3SwZJkET1bQId+nmhy6mWIiln6LuN9akhM0IpHCq/Gx9cc4KKBu3hkeMXgQSfLOwWgGQ6UhhbEL8mM7XvssffhdmpGw1pMfz+QAQmv4VPYCwTBw36udWkgcE3pWACcBXJXvxkC2ck+wmyxLRuWXNdUg0sYo9UO0uRqPlkXpbi3Ucyu6Ag2D1UlJmoVTLDGr1w/6djdPLF03lxDiXnR5T2YfGxxp05VDsm3VmzPnc43aA0ZEH1kuHxq42lYEAW2xwF59AWB0D/5EHQmpNcLij55RvmrVvNUw19rEb9IKwxz6A6WuKW8PniYsrzIWFtbARHo6/SuSWELucKpmKf1ZQt1PIoz6ZaLCPyA0Jj2/7pLe86O+knJUG0mqvRXE6eu2EJFCgTUUlppRdYVg6JfQo0PaeQiCWSCUfTVanmaRE3o4PMYB+6tnwCS+Iv/NUEljZ54KcyYgm/vFEz8TPMQ9dzjcLXK1i78ichl5fZHADyAmuoqQoijJqp/Sf6qJdX1J4B2J89HUKHhJTbdJqnMuNB3KjmuaWUUPsgxKp/kRWFo7Q/cSsN5hGmiB1hoEUFHO6REoEsnweOpRFxIW/dkWF7lvXonLdZLCN1KRLZbyDsiaVvkS67kszFZfrrMGTC8yfifqqeZ10LWfredOM7ssLgG95pFlPY74Pz/n7BFbGW3Sy8OvPbxMSNDQrgFslapzI4sX/aSdG0EnCmVO3n9fOoptjFoYaSEdIDAWq8PzlVX6wTsBwWsznQi9YuQcfCPRTkno+qEpttDpUdwDfSOURcu4WHt2YxOY0KhMVjUdElmwzoM0vRPrwnSO+5GA+36pIqXCvSKhKFfkON2a+enHBzUEGVpvgN/xfQjOB0Npg5bzL75cveA+xCOYxfkfc2Ny91lFIvL1eSRz/tv0LZsitOFSg/BWQRxIupWMCWsjbyXqRxQXAU5Pu53qbL7wS94k4NjRsC0iVuOWLaIOaaAFuO/pJqpYdbPiCNocie8nDRAMDuB1+hkzJA5hrAKucbPXu8WESuXm/HjGFGhcWe/YAe+qZO4MxiURrQkNL9vu5cRZ4TgRaAXfNq1bklEOW0CGlAwm/a2P4zYuNEJQtJHB4CKKAJeoPxmGObOolrs3Uv1Oyq5NWfNHHvoui5/5SJGG6ehV1540XErMWSN3QSx5/Fg5Xt17xe9pu3GG1LZkYDygbb01R+C89K6KDm8HMUEGNn7CHtg+LZAb12rgUH4wI2pDp4QAhDq2z1QOz7auul0XqB87Qpj9acrpd2c01mp3+VTrqq3CUbUhbTz4zMUoSzwdX/lgsAVnROSV7fYDqMnWBQXBlW49wOpUC8IDiyqSewOzQWDfu5JQF8kFvCWBE6zKeiuic77tKCnA54kGV70hu/TcM4TwkZcYS7pZ3PZMp3cf+crnKpKH6+rzKYGxVOV4JhIh8G498iLvhbXV+Q3rsATr8z8NPMHOV3kxY3ivvVXUJh9MLX2a5mmZVG++Ag/TWHFAMn8h1pKJqaxjxoRvU/PLYlrLLLVe8+UKIU9qeoAlxDwYh69u9IVGnMBUXY8s6yTdl41fuZ1bOrapsXVCJQ9NlbC2O5noyD0XVaV2yvNq1Kzx2VVQa0VdL9p1cqT2AecPTd2W9YySN8bQOrC7VGOZoLWCM+SWiNcGJZHs+58znknydj0isP2Mrqh5BPpkJaQnjsl+wh45oebxsfRcUuTSKtS2YYK4WIUktTx5gPmFC1ZC1ezUXC9zoCxaWjqNXPzOWtFABAzft7J94w/nO+ioFVFar/o2OcDAnYeYf+Z3wsdp/yPA5zTkBzJiJyUWzMEcwqX52pmBtmlhl6b/zmURaoTptJY3wu3CPwyc+YCXOJzkRChR2pZ5SSktcShjelw5bmEWtfMBPSQyPIZ8sKe4LHJRBUxSGHRjvUxDMWFoRsDDaajFNuh1UDkuPWlX2ZIQCUVqv/M8YCc3TdY4wRzsofkw3BsDH0WusXQxCGooYOfJUxDLh14lp53+jGJ9zi5SYtzDuU2U73CdHiCtHunDGXnDaCLpduC1fiml5QeG7+4wiAUS7iC2z8Gb4JJ4wB3BB+P9+56GyfvHeBJ1pFAs/aYmOPnT0BcABHryg2IUwm8tcwaOop416AePiT0i6iC1Sq3+pnio1R6KczAj9LAF5cD8U3aDwY1Yt45LVBNKB897mrmRxihEBn83DjfLhtW2gisxfSPlctB6CENEP+2l8Oe2LZ4h6qQXxc+EYlPNdVnclk+YHVzrIk/9WAkJEtM12Zvw1ofG7IOOLfQNaKXR6G1jNo6A5Vpvau1D4rWFBFujWUMQRO15hXu37N7PqMz69BUN4H18yldI5XxdNcePaJz9cyL4p+GvFZny8JDM/zbe36tzAA0MqlrpXyw8szuqMoqWl7PlH02DEzAX4kShEDHryswPR8MkDzg0854ffoAXL0+Fux5qOgHeUOjAfol6S+l+DTBgcE3vCdcdYu3stTMEUS3ios4UwZImK9depmeF/PDZCt4vKQbaRAOXCifUq9xqcNPOMfJgpkC66EpgJ19vsCWX4NzWQYm9mjqmgDiQQ8oRLgymhS/2GGcHO2yhdQCaJL3wtN3P8RhViyH+XgSBP40wMF5nDTjUfXrVRVWVY88x3GDXioH2bKMU/vtUMNLJBwIAyglj7L3Np6XQgR1tZc0WAW5QuJ7hR4kwCjyMi3iYVofom/FJgKdEAPCVutby4vOA0GknQwbWTGCPkpfm0Y/b8m/tGvS/tbJtBQvzkbVCPXisB1zWxwUyOM9nfTSh0NoamOSo2+3UkDyLtp2gSl2tUbGeYgS8GZkXfQOZy3AGWMmQZekZB0YS986rok6Gu8uOaXRdPfdANpDtcsfTyV4t1ooXaR0oo4UOxupH1SBjqHK1Z5MJDbaHyJUW8A0Kq0qTY6DUiCbGuSPfS3E6FoXyRD7lYsfFcuj+PI9z55qVoBUHZWLJ+yTQ6suEGsEZulPfTU9i0KuIG4SCBtHphr+FxTr3/Nv4v93L0G/BqI/DmGbZT4DWNkGz9DsbWFUTVflvLyTaLjv5WKt+LOUyvI4tDkbM7b8rb5Itn0fOQZl9XMuFczfZHMqkEvySBdD8LJ2BMNXxBrXQspCTv3D9xd2wds21kRFl28XxTi5JSKQh7c4DB46jNLPk/TQ9M59f+YTnp0PHw/TOuHHWyEyRBDCo+TXpJRcnPy+335kOkT+eeCEexHu815BBvT4J1vUCy82CCsXvG7WSRrL0c5dcj3uOm3342xxd8IotoDRG3eovwfPfUYjf/DvIgRrVPut6VjLp3lPzaF8KTNmgWACnSaZpZErxulbmykCxxz9+oPYsD/mGsGHgB1sjl1j2mR+MPBPiWlHNHM08dqYd2ESzdklMrjDnbrWY9euFMsillVgfrDnSR9zgQyp7TLqyb8vbSei/gw21U3Zvqo8rUgh/7o3xF3T3DMg81oOKahu93oVJRpmLx2jUPgDGbM6MvjQtJuiblB7fIGv0qZGXGyDBc36os1WP/xavcE1rEiJYLC+e8DE6UBtAMhRVJjNvvwqU9AN1+HRNlUJR3UsZWVpQmg9YglKARxQXug6V0rHRsRe5uxKztXH/IGt7muILlnDv5VtY8hCX2Ppl7Lw0AYJGNEhRP2q/vV3+N5s+GvaJ+FarnPFnUQO9dw+uOtMQAU6EplMp8XuNXqmwD+Nw5e9xnx+dEnsI3Qxwkd2Jt43hsGBzMVb16vkQvjlE2sxKUJo5lRJOBB786TC4gz2/O4Vsa/PDoC1a78yWRISQLzVXwGeqpAEEJT1WmqBPhk8VbdW/UEpW8zjKUBIZYUeHJmJQCX4rjc7C59KFIJco/abTupoUjCnyDiTC5igb8eVAduzgNWBClJkySEsIJBxHSY9MHbNzE2vvjSgwRIHJljx6JyWmTQbuhZLU8sQTcQXmwzOUa33ZvZFb91BVMi3H3WKuHeAx6MYqun2jQ1UTXEbZjM7ff3wrXmOPqyKfwiQEOABBB+gxT4zNBsvsJB/ArSQuMDXpF0ZAZNWTbR5Bmcd6js2UsPoNSjrZD5+qv/oTzXPfgXWBYsGju5kGOtaRfxzZrIZW6trleT2MCDEEag0zct2+e/O5EbvLeLv8ZdrhzneI3MEjW6sAExuXII83Z7u622/yvacCqworAUIwy/yOANXll5dzZ8ShVvPPJpKGojqfdyTsX/nuVQ92h+AsH1hDj7kUYNShkXBMssmo20s/SRjQGTPrYIo9UaoDmPb0yDduIsIdBNFot6cIB5mzRthGIRo7/PWcFzxzVzJzp0ESMzgVViS2yn+uLOd9Enp7weVjy9RzLVry6M/CxNJnr4nLXJl4fZSZIcoYMavhsSE5fMPYtOFA9n5usBzcP7tth/6rlBxjrcKacEkjYDe16ccJ3yOLmwsg4d99Jlao7rTFhOMlVYFdMrNPrbfckdMWCf9vcSspUEUMDd9HmogUlsu1rdXrKRnf1A0P+TQ4vAc65BsUExpVtGQ5QiICSdmQcuZA96mOF7g5SRdsENZHGo5UUSJS2AfJnnWeI2D8sPKlSxdQq3u5pT1SY7vgExfJYuHXrJlHs1S3z1rTrzGp0v8Ht0ca1AYpfZQbtLYs1A4dJLm9alzG7QE2D0nbH5PSezOgoXpQfk5b9FZp8OqjGKs4XOxskPEsatDyljV+MWzQXfYtd1juwkxqjDFhP+x/ixrt+/IderTY43TqMWt5xDLlCKWaJdZz/NY2biJ78NvONx1IOAX3KdgTAWvTbiPry6ORuRByGJEgdU6EPxiJsmDukBYvbn27qHBhJoLDoMsZzqBL2cbqlStkASUlvKt+f9kR7LduiJq/iE6e4vEzqhxFtiiLS1LinaHrnFv+xc0zJ0X/NoXzY3HVJysl6QfFx7Ak8nq1ENr15yRfyYeu/sluJXrtdt534Q94WgAFshp65vJmgBxdONuJQyAKm+KNA/esVpuehzE2z5pBPpkE+Km16AE8J0TxmAGpeswZTSGSz0FDu2HZv+80TZfpAfldF75A2v0jviqnZieKSGAnZFQEz01ZwVzOji1dvxb7UUpGJIBZ8xDL1Fs9QOjCBIBR6RBd5xWSzuYFLX4m7A+Rzt1GsvUZuFzpFl6aH/D+Yby1OHgl6NSeVd/6lKL7jk6VkhnndaL7518yqzoiHpra7+KZ+yevgyE0FEwZk0lEDniychDcScgn9Wbnmy+ZQ/ffSYf0W0oFvwuV3JsIiBFHn++B9mCaCMnnIZAGqhYIVV7qcDgMmKo8O96ujT/TwhKoRR1F5ZXaDg4Tizvg2xXMBL7aDsz6Hw3dJnXRenJt6h4GtuQyFpUNjS2s9e6WwIvZRErcVWXIJoCWEqBU/ITBPMATEH9jzxLV7s9JXuVAD8668qv2zl7+q16++hdcoI+QOfqC17KlrsL8oiMVrMvZ4bctnAIk6TfJQk1ecxilAwPewntrZfZA8ArQtmDkkaDqISxmI0E7QG/nhZu3ubgFdSv7clxJuiE+cSSdV1ktRi0QbDa1avUHVDXRFIw3gbJsYzYbhClqCRo2h/Ft1gvBINhTmLMt9GWxPq8zLmc6nFFh0z/QSwKPtoGK10FasLm+je5D7QNByjHTP9t28MxUrzg4KJ4HrjWhR/4LVuo60oA+LNSc/3zJUw6Op3y7/F5pgOlxO4mLMLcafU63i21lLZ0YRMNt+HGSen7O1I1e6lnTOFv6cXxv+VtTLUFP2gIss7ABJql8z9/xbqKvJgWexBc4yqGx/gEZovueslM2xrgYwqFVAT+5wViof3RzNp+hjBKrjRlXMIhRxZlEsbovbGwNX8hRuv/9Up1chsBb+wWVD4HGhj58f9WMDJA7l1LdP8SdDD4GKcQ06gWqwNei56dB3ELzm2FYXBV/Otv9k0b5Tt6r6IjNylcWhLI8VLZQwXdQYCbIQBsIVi+rzWnSq51RcluUG8LrELUCDyV9wRHbOFexFhhrq/eb746zj0Ct7kGLff9s/o2R3amyQt7JlJaUbLc3vpzxAQfn6u/QvhL3QesRaQnf36nVSEOKtaGISQNAIrhKVoJ2XNAZFDR2p6n01Sa6DLBOdHgy8l568GTEGZHs4wFfXCQXFL2ynE+MiupI6223Ewmu4p6BgaWeyT55ZugiLBce0Rdl3yBKllHrOyrDi2MUBFvMSRvJNF33ALlLl1FwBKPVtGdb6KhGSrFckvVqD1sL5ylJ2+YmHs3RvjAw/kKW/LhaY1oCOcMGBfpcNPFdbEmiFNHBL9SmKh9Dwe+aLk2ShieuPCg3PM4CJTjxiiTKyCq3T72+vnRVVB8jCP/KDY5SRbO2f71L+nihSJe5NC0Xx0QRs7tW5Kxk6D3mJ+nZsPfqGi4xJpYngzzKjf5Du/AOHAFu1Ghzax7t7pXS60S6tyKMmka/MQzuZJMl0wWSR4WdaQUAZlPzWUnMv2PeycIU1E5zufFDb4ZXKNlOOu+BPkijit7RZmgmIOt/u8TUPgUq6OR2uXhsMqrGHhr40XnmPBENX2skj5abXlwelXCVxoZkCMjwK5sCkgjnerP5HfvI6PVCJ0io7bypcxS4fjyqeSXDkaY1+tjKk4rAFLIkb915IJNuqdJTQtn+Azx/rhWydOO9mmwrv9yck3AL5ACzUGpmuSaWMK/AgZlX4BcDQGE68ufFHAwNxgPj6mogvO+fqbdb5rdGLiDoQdZZmYFAGyB7VxI10z32Tz5uPv7CLVtK9RZRV7pYxknow45jEjxizPtu97SIr3nG6yTvdRVFa/LAbtT5hdrwEz5LFisPFOOk6mnm8QbwiuGESYoZgqehhGy8BVK+7u4NZpNUwOfFDpoCR4Nx4OB6Q3eXS+n2juXoa2wUgISTQw3xfgUCCGGyARtWv067Wiv3LXpKuBDWgoQsiK4j4sjWE1JE9Hx49eT7Lll6BdVFsMJfH/jCHVoPhezg8WwDXe4phccRI/rtREVYydDWVvXn6OAhg1V8JNOUFLLjH6oH1WXEHqWeqMqbRZPZ0nx0Mub6CAF4pAdldaJ39gUFLgp0hhZnq+J4XNJ8ToqKc9kuW6NjkPQABKprGSf+fr8AyNNlgoXv0/HsbxeP5090BTlRenzhT587FoN8gfD3VDhj9iP2A17wCrE2A0wyLQL/Kt8XulBvrfPNPj1USjTPOGBe0x8gX5fRn9TCshxbnDkfn3MYM1S0WXxG5TQkQGKJwinXU33NUTf5tgx8PxzOyV2mc6knPHFJHaYXlYbWTmXRlFhoWa3LK6SaaZziz6ItGiw1u5/ogeMgdmscZpKbau0z9ItCCvbhNqqfHHzn2u2bo/pofzrpgLju8/4Qbc+UZ05XjhhGfAiNgVnHTYpvXgl7wbYbDzrjyLHH4Dufx7KdrQddVJ8+2iYIHo2F+Fa4oGbhgtRYn9VFNmcuN+cxKTPZXWB9qm2jaPB5KJ6R6Mny2V81oz/iVwewxYFeNoPzqBfycCrhWVEQ8z6MFLmHqcLZubH1Rj55SrIguw4ChbdKyM9CrlQHbFPgtDDA+AdlE1ZXmMPhyL740kTl+tcv8t7OlwaUtN6BzERuBHuvKMXHJxx1BcWjSeakzKqGmUtpGjE3kX4SKcCsF8AjJHAYLagj58p8ok5SQr1zjm5XReiM5Wo7Ec6Gu6ol3ynQBP8BM3B6iLSaSO+hkJyWfx+IhAZvJ0bgku6lCqgGBbLYhILR9p1o6RMmWPbSp9Qsr8CqCLPGKm0x0aMCbo03NTuiUiYvcptNopmd7WhRP5dW64NFG+LtEq6+2fCpbgj2F2pvjUqPLdZ5DXGQT2MJP+Cc/liIw3aPWN0jsCH4lIlqDUSceO2c8+CetNOA24GesW8jcE61tvP0othYaJ/j8pJKy+fbI+LreH7NCU5BMbpHDrk6eDfqR/9VYcuzJ7m1fowvqfNVao1wyvxcrAuiV1y0IGBuFxGID2TJUYHWCE5azpIGWHm6h0nxEqrh+EoH8lotj2lGwStxffFM7/1X8cFSue0NwUc0d5709mQWuvbK02K5o/tsE09eitLRthGDLAf8y6uG9hBgNUy2i86Oa"/>
  <p:tag name="MEKKOXMLTAGS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Ors9Vz809A9tOjB0Ql3r5jMmDeKnd4pzGelh4hcjysjF/ELuYL4gvK/ETcOLBnkgZ0FOXgmY4HfTxRnE4w//OSOpydWU9y7OVU0lGgqIgj491W/4pIlA6iZeRTwA/CIkaQ+Pr9Fsct274hEI5Tbmm4pKoXISibQ+a4hrWzW/UG1IU3cZbSDz26VrMk4vQJHYAkUM3bLVVCTPsxwAyMU18XxPmQ9a1Cl46wJZ22SLGLt58hKLt5VnoJlyNjnTdcWnNf6Y7wrxeJBFNypA1UYyhjHcs7s+LJ/AV37o4N9wEw8Dwq+sPmNM/g3RBQkAg3CBvM/+jFAmH+ZpRJjrus6WHv78b6Yrcrj3XjwYGdXFpeKxDkz9csm+uXjNl2Q3pFpZhvUYnjNg9UPV0gjSrpU+3Wszw0vJSUCJcEJqVlD2vmvGUeSIh3ZQvfo35wVUKZLUz2+zW0gp2vQ7jHKDmDftCRScVbkQZklLSbtb4lhjGbnRZNv1xyYI2XDpY8oMX3kVbEB9wcwQx368f3HN2q8WBb62l1HXMF+qXx0cxAoeC1R76HvarO+Ug6LU0c4wUdxsk53j9GP+UTdaCDgwAa/fNqgTJpQBt9JUWoec+5kvh3yYHPk+14j0rTGtIn8Hj7oYeEKEYGeiBOq00JWN9PPAa1+OuW/eqdVmULOEVgP9ytRkUc82/VB5JgK0j35WIh8XHFo2eY1sxZDnfBflvWEw6f5NezUS1EDg9oQHhGToprNvrIUr/pGKEQIrSokyRyJgn705AydGr4DWWZcqimpwIRj8+UQoUoGGpfWrOkkd3x822Dgn+EeT6I4otrHo1FIaYxS39aQCAtqLLFHk8Is2L/aYUNZjsfTFVPkX2OXCMA/jEcecaZXQRf9zCqn9qgr25MAOb5ibmTs7/wu6YaTv5AywIvT56v6tjR7pe1/zlaTSWnSIynzjO2Tt0fYviNEo16vBrMjkHRCnRJnGlo+RNPNqhhbQkz0Srj7g49HyCZCoj5+S5otsdOi1+XuKWAOVzHgquBMGcoIgQkjxkdWafe3UgA/UlmLlFWqps01WhlvcNjUEghuNS7kayqxZRB78mU/i5YAHal8U+zTSNSu0GS+i+KJbgPqqOVrNLTmmywgQ/orsYDMMxeW34hFEPoBXWd2ZXPIxyHA+jyRXkJ9QoDqm7S9u66oPxPLRkwD9VXKS1Pj9JS0t/ah8fa9bj4lPUFPLyL5yyrn7N0LpmcbpisZObEgZwqCx6lQ+bDUKURSR0AuSoTxKnOFVvqabW9Zd/K7hW8IaReaDwBFwo4tygQykLqdiqQh2zBVuM6WEkS5+0GlZzYUIDtcNoEiCcZKJdbpg/zRxwxlvMjCDKRT3BFcdcsLvWGvgNuA+h8a8QVuXWf3j1t7Y4pPjc0BL7oxu61VCJTQR8Eta3WO0mvkoydAHA0bVfV9yEMtNAEz1itMEcHOY3vsByYiNr3Btv3WWZDVO223TI8iqupIpKUHq0Pbzx2qPyGNstt9nMi/TvpLxFZ9xfi+HYrb4pDC1aICMxvdSxbgdSYrj0Qdknzfdo6yhWjcmjj2zj2YqKvYZ+E4dAtuHzdX5P1VLTFpxd0oAjYQXZ4KBpyC6f9SNgqnEWkR7hTH2beoBz2swa2dERkY9ScviusOHS+5UjOGJvgrwFd1uXjTY8b3RNk1/U0fAc9FA6hmz1q3JmpokhdOYhHeNSnI+JY1wMr/iaFGkLcIGX7350bkfSnlnUzBy+ExIjRVd3QDcQ5jec/y5Q9IXL2x8Nn3ksEG6QRiBwAwZrpp8HLwHo0IRjEkQsAdelXy5T1Rg0uvXIz9aZS8HBmJNS4jZepZU7z/AP0EJUizIAcAYL+KDsF5Vzyx8dvD0fsnY+luHL036VmkaHWpJ19jzwBOd6EvioYdd9CWwStONKwZJbCiVbRcxfkiYnkULgGmHFG8ZgbQt9LWeplw6Bui2kLXxQNzjhvZqPj9O703zyHxfRPVRNdOLD22La2sPco9/wz0PUbmFTxS5ReAJYghLCbheXNgy3BR6B4lPUQELqL7A2cBUym1ACaaQk2RGKDs5EMbboqeYKcjak0VrAf9DOJRYY/LAkeM4CSXDzMiZiJXZ69ODaYTC2F5jPG7Vo0+Yfrn2XNSYgBsjclaGTYvAY9GkTrryndTtwYjAA020wHEgfDPg6BDY1wOnfzUkoc9rQOCjDZFaKyiV1vOnpJlvRTKq9jY061+yYUqJ6L8aa0d3BPNdbZr8zGhSzhtQVLy+ku/XmOS82Cv7CwvrejzV7rrr6WrnukKfj/HomdhQVPuCwJTgBW5qqdfW66KfhBhKToDgHGmKeNGMR+bRpg2z0jsR28CXOLcC0F3yB2cPwC2yUrgDE0dF9po3ryMe0XX+/weLegrEYs1P3zfE5yqBeck+BTcNAU7kDyZRHDMkc8G9Bom+ClXVbuhrmtEJvRFHdOYy7s+czeBBLRdspWMxAUWMXJlcngGkwjpaYaWbh4QTmOLwJyEsKYefoyqdEubd7TKRnJmrQE3+wfHu+qxxkN6t86m0a7yZjOfzbgFoIh+jYY417gvCajp/pZJqANRBYw8jybz2f6JCgDgfwY3vf4ptOMFSfEHNUaExXJVJmdSCUpkuX/b7D5Kd7yiduYtzEvQJsktqT9vZakNr0wdeNCu4cSV7wAMpAlG8ejFmmvirxPZfVOUv5bPkWcuSUwPgfn1rlzAnBbLRA1WC/UlBsblNif30rnsZmLeoEbb0FHcWkH1Cutx1D/Ww3f8TleDElbYR4prvBwY1kpHAqbfLovkTGROdIGWC32WaZWAJ3Fp6zVRS1ElET7zsocLKhQTemEdRTBWUtN333KM2dtLbhftoBwaQax6eCGN1oKuNolxC9IOu+n2dumrYjE0iSwhmGfhL6pLktEWgreXtT3ykQZgIhmDemf1PMGRjkHDpgk0JoGgZuFnu1viFwo1kLJ5uk1i6JpUU3AAjehyhaKBpY2yyrC6HPS63imeRaGGkfnb0B8X/I7fkiGx9cLUhqNzVRkCNPU/VeBb8SjwjiPkUQyNmPifj0sX9hOvXsKmXGylxZZ3gUam0zRRKlC3N+a1M55pwe9dlpYsDdV2+iuODg2PkDJJJSgbAjEZ1tbCUelJsbGhj7y1KAr/Ct1+aSpMPa5dlhwc1ITzCAz60j42OeaJvBZismbHKP+7nrh5V6EYdNPp1XZ4BiekGlbIvSAy1xNOHAm2K0FKL859TL9bNe5JB5rOUC87Yoh7XZz/vsye2waZxEGBIG95cYmSwB1LRdkd0lti/BriELO2NVUXV5t4T9nW9HrSWnPgLeisaXN0y7xuGWI2pPX54yFn9/hg7Goa9OT1g5ybbg+s2DBFDx5SwtpVHoM0vO5uXMnZ2KrYT6uEmA6be5V3P4OHQ52QFE9DhdV9xk51WudfaJurrFxrwYcoixZHMahisWePNAQMFh3FC0/zj4cuhOGoS1Codw/xF7hItO96l7/dxtXiGAiqupT1KfUFfO2CMcYthEumbyzrhg/TiTtEdoK8uPCmjm5W46Ch+2Guo46p7a7McEM8zApKdeeRxxnrs0agY5dFpHPmJYHVZ5pruIJUTq8JfjF0Yntxr2KnxGcAnEyA4hBONCK6EoZx6K4OMxziNs9X6jXUS3t1ADbKTk2q5FLmElRs0Koy5Hogpiy1XZemKcgPQIwHSsRjT2/iI2wdTbXrzfe99ENb7lBxSgZsLMCNT4qyYK9qdiL/rtrNpeLjLcu1XI6tnQiCXVEtozy7nCjDhV482pjOzi+5KJm2ci+wIh3F4O56En2YfsM7HBtk26iBcUZ1rFXA5ybhmPeh52rxPcGqtpRzlRsQPpyKF1HF6Jm6L/jfJzUqUIx0PISfKqLu5J7TP08no3nLTras/cZAlRLdNDppu4BMnEzS8BKUufg5i3aZE+IX+MqumdjG3MOI6wAGm6q3e0frEzlVrGNjITBd8dtMHJ7VOl54bMfUXCymyDA8sIwacdjNAa0tpOQXyc0VWmn/YM2E24M3AhIRp1VG5AJ9/5paygZ/Ug3SHeN5YBLvX8FVpgpobhl/cTFSf/xgdPH03ZXVcjJtbkxnj27AqiKVwWTPMc/jC4gFGEAnHO5FCE0mIyiwY36iG6SBHQnumrRC5kImlLTR1E1fUYzjG7ggijQTF1froEplfpyBwEAr6R0u6+S+ajpg4S4scGaE1wf8w9D19CEmWF42tNvAeSmcABts/Q1BI6THGmsIGNfLH4k8ZL8OSU03vx85GNIddTv8TbPTXSayk0x9JaOo1231ElF9EUuvQceiWzTXuOG/lAfCe+bcuLLZnUAEZlc0jMLvOyHx08GvccOhvm6b5KdcXV4d0/Wq15ojJN0tymBunNF1cQ5jaHZJx0w6KJGHJF2FDmlW3Ks0sqBZUcoMnyGhXFIam+usFaLWsMMEiZEJBat/mMeSwrvH/qRJWSz6mdRCW0FiLG9m1wy3bFfObmLfWdR+Qn/0WgAoDxNhCKSEU3zDDgpG9UmshlyWwKxHTr7DrsKksa4dNXYWhG1AqGABdha+qwZAF4IoCsCufAKV0rjRmJwBfN9NNi6Lrb7uoLf2Bq9C/fJKOe1T33ubR/GcB5uboll1eqXBD59EwIFeUYp5VbYJCDXVmMKTl5pIpjD8pOnLqzojZfKAE9WmGmOl0CDFEvSUMjsCkCGBVR0IE2vbgpujumAKSctNWqruoxswH/im1/DOkb5IIPVaHrTbYtoTzkmIrwlIapNuylqZcB6kE5XZgU2lg5yFflZXS1I6M5cDalu/8KyGM2lMsWmCdU2A5jp6NVrfKoK8gaFmYdSFxb/wxn54vrcBFfAnME6hRqZbkGB0HY8t0xHxqqxh6kLHrlun9oJiblvl0wvIk/DkJdpfQZTnAisttPPax/kRlMswsO5lfsf2eksWeT4dg8kR61P/CYqYCKPfmfHhhx2TpVGPPZvfeEo8o0U8ydXvKyJ2nP2jeAjltd/SSKjyqoGKfS6BUfi/N25zoEBIFOq/ZKD72juUH31ujjb0+aGlNkgfify9ukeByWknaGDAzDZMD3K7JkoQA5I3IkAl4F0sgZecDw48c9ZtHS1a+bKf2OtGxdes6L0sW3RFM9EeQj32wAcWw4hlC6x6SAT+rRWCQg5G/sw+V0qszqds5CgDLWPpKPO1v6gY4z2rd+WKkvgnjAjkiu8AVoChiEDsJnF68w0eVi+sTtFSrbunv/TSNBHjVscaaMheYaAONNzEwkhnowiOQhxTcKk/1iSH+J8FZWcz3brXY7Hgb2EZQxzTf6j4+EO3ffVfi3fz6bUDI7PvaECDsLkXCYxd7QTSLqDGyk2TR7FWzLjOkuPxmX/3V3xwqYvFAoJnKWv9V+if7mRVQVgl6C2z+AIArVLBoX9scOCUkYiS8IaF8pX7T7dTMAoM/5JFpaTsooQq1SAPlmfYejaYsEWb49o1RWZbCzr+dO4zsJtx+S0k8/S6okdCiNjJp2CTuq8Cdsln8VZHRolTJw4/O8iNou84unCnm7YDc2rVbx5mb4a6VTxugRLTLh5iUqsoLH6gNwhKtWnIAr0rcTIF9tnzMqmY2PM/dkJrPWjsRr+AVpZ6hFAcqjCIuYQEEokkh2awozj0AQ/sRKRAcMYMCDegSbTBsX6xMnR7IIsCU9BcXSGSBSWVx3U6Mamg4ZJ+EevznCZ5VCqDdEwBoJET4s0L7pD+E7yAsHJNuUxAgDXfswhsmxeDX/Z2xRYD0yzYHXy2XgTz2vTZuyqdxUvGJQI/I+/uu5rOPLuaKwrLikVLvofHBpiQUcs0n3Y+R9ClJJG+R7mqTDYg2sz3nOiSfd+6bBxeh0OnNRmJiG4r4uBLIQRSVY5XKaK62sCXEbYeNJcfVwTSs7MCNq/VuGKSrMTQOMksAMKCKd4iCWOvf6Pai3EYhNqYpS4p9D4xTdvGLHMLqlpXqQIwV+1bX5fUev9iIwwSeUBo5yiz5q6ma3IQBUnBoiUJ6Eq6ME2xg8wbp5lCg1SxbKICo2IJnI7n208oJiK43eZ6lAyzZlkmQtHUyuqqBn0nEl2MgWkGUIQNkYzyxDZfb6vZtSh6QVn40j6qrpMM1tUXKhBRgaU84cXz8VFvDnZdVAGB4fvFLRcED5iDQPCpV6JAedsW3Cz3nCC0NBlzUQ8H6efn7Z10SEezfVD/kfywgdyetC/pUrS7DdKRuvoxKKqG9+xRVM3oA9wk+EPxBzprTpm/IHOSPMR1m7qu9y/6mCBRteJdCHmQcdOcZH/fQS82zYIoGCi5n/mfYHWgpJS35cCCzEX/pKGDJUO9KYE/rrqdCq2xxUn7kQVXyPb+yNhBohGQMxQ47Drzb6YXDYchK/1eVuFu9wN+sseNc6uuJpuzPBoHhlb1M07Fx84vXIZ4Bl0yhhc1WoKrXjulabpYPdqUTFvqdLlNU+DV+rNY9zfJ214RoOliLEQ0a3FieMBu4VQYbL2/pzAtMjpE4W7HoDc8hF7Fjl8F8lwjpPr6MCAxtliDMO/Z0m6/hJrgFiRS5Gfg0WrpwERJOdZIfritAjIQz6xrsbMbneYb5WYDyP1Fx7dAWbedHRQLfTSRTezUgYti1EmrC/d4YN9u8VoTIhlUCS49dcv+m57TKk0dYAtzchjF6heXGEe/cv89CQMCBQM/bxfhSHH9Fs9cD6CzPx1MYHGD9vRcLLSA8ha6H299eCUdt7z1gy8d3wtV6Zpgh1ObAUiNg/MqX5rOD4I6f04sWKjqhp0fNgZ1sIaHubDO2V+m2uJPDibX2DLzAP7wK1YvhDPtvfj70xDAVB6q3PIuwR4gyaw8sJpz85+G4XAV3uAX0PgOrLS6NYWdSisBj+I8C90VNBVtWRPgLszNmnrr7GSAoa6GBozl00rBCkLEL/+W0+AhwSHi5F2bOE2HBYZuzit2zIIrWYdTp2FyuQTtGrcoBo/PTGVTDpQTo+RvrF+LD15mBtzT2JxmFHia20xpNOwiKd7DIhseGVBpP6WrSb1BNV2r3bHP12ErORqWKm58WCra1YajOB6CxmIftzNmzm5XvXouRFJhkCUC4u0Y1LfIKvqxguEbzU+ZTEndKvVm+JNNp5durKPAr1Mo5fJk5j6xbBUo0c/KMmYUnQT3VBh1IrUUfYH0vqqWpqhXmyfL5qzjLLFy1rrAfJEy7nrU6MHxd60CCGYoB83RP0e2BBZIxgARO0+WZZcc0TNai45rgMRSlLDkdO9Zowkmo5NwA1FXc7BThso8vclJPr7Flw0eSTBheGFnBIG7IsqTl+VBQNBEkOEUUUcxLqMW0Tj4I100XdSSJPH83QArtu1ulFW/nUgHn9Afz3sNHXoIU+b2uIQ7wqr2z0aEGmW7XVIXGr2DyI3S1elRpWCxMZY/kXoLEHTt09Z9Tw1fhZLz7L4Y7wgVaIMZ6iYk/oKpf4+/Eyrb56q+eO0VlybKZEW4lz/HRRGK0WtdELWoXMK+ZTloMzV0IJbSoa9SRPjDYTAA5R2h5OuLrliNCgpZ5AoDs+UIfTQpnhdLIwRHjCzrA2Liww/diZvD5KsimBf2t2Bp8Sy3k4mRWx5yyXNZUlTaHca8L7eI+qmeQ25mXxHPJETI9qIsgt7AOxXOPOLranfnitD4U3EMH8+hj+3tu+a1C7BYMGXaTpMpfi4WnYoO0k4Zaj411x7wigQc1L9Q56WhV+7O/maVmr1PmSF/dXKfzp/iKQQQePLPl+ZmnDWf7jFzCoHoxc6j8UvOVhhgujjXAOvLqxG5pG/u4zIls0pYuQ3X+DUZLUdurZv9+h6aa5qdD6A6DDzTfXfpvvnHX3Od/7kzRb6h24cGv+1OQLvb7R84l2lIM1nwd2h7eWlq6crYZ/n6jwN/fSy6O3M2ghLdFVpYSQy0rD3oIpSIoD78nom3vhVN0mIMDk2tlpial8V4H5JEoHUlQ29iEvChU6PT7JkEBL1eyrD5p5E6LgjavikRMXMWzFYJu7hZQLhtRtrVdgKPlOuXQp3h7DuFxONe/0m9ZlDv5x+CDQAWEyzloEeZ0X6Z7PpX6NclA5MKzS7rzx0Do0HKOsMjEDPL8PKIAk5uHp1fZVETN0oK+ZzFRnvCinFfaCI42jG+QYJIHSJNB5g7Em5W9MVReCzmTnZ4YPvGoqX02G/3hslYH5/KcjEL80L9l/XD+DsdclstX8u12GMivbPJnG7aAmlR0+ELZHZZmTWtzm+1h0F7zUalZ9QahnP+drJJTuG9suM/oMLoVBUYQAa1vUAcDGEWhF/XmUhXQXi61+dmmHxkk9INJKMGY8xiLxuPCpBh7DHKcyjVwtn83cvWWHONr9sD9xZo5BrrKzfuVIno0W+tk1ii/qXCCKaXyhaHz1wKarKmbVuhufME4262gmrr38XxtrqhxyWGNh2ogRQWmX4fQXg8vPoeTQxSSMWCF+02xW0LRasnzT1nAVm9pJ+HpQN0FLMg6dbe7bMH4pUnfd8KSTNr0I98lDHYMScmjkaNX4E7k++TbQenvEnH5u5UiXqNtqg97uK+YASXT3Il5LAkEMzPLfFe/k3o1asmwAGimUPtYpAuymrNOSalVNeXJTkp1Yw4ltBTc3CiMsoU1HED6R4uNHHJmHmdHN6tVjSOmIqsQOy2SDmITAe+V4yJnOre4diigtKXr4EUt/C7lo96FSCSbB+dKwptXSfj6fTAYvaGqt3arqf6YD3gnVl5CQe2lTOmVlBk+Im9Gg2GpLHKj7CiLBBswljePSok6FGHZ8bcFLxucXDQGdHmPExMqNDXFCu38/lJ6nTjxnD7fvEtJVx7kFNKx7ScjU1lZ59bJGCTjdj6aQj2HeW5j14WBnD9IC7PxCyrhEDJUI7w7399NL7UiJcEHSCcd6HxxciVvXJyaVZhjz/sgp9rNVdu5rldge/jEHTyyu4XrCaFg3ynDo8I81CXyXREgkDDoV3aotlV7JRJVSPivfLvIFyWjq1Pm4itWvGnoqliO5FRiUNSv/gruF68MYHt3ahJ7vQAXkJhIG4XW7FVfdfruidHZB51w53mOkKiDbU5988wojFESCuZ1J611HdBntl4WjvPa7Y7gU2rUksknf8iMLMPF28prRIZX7UmNJVZu5n2/apQm/B0bH4GFFKAcm4KWfRNPb87BNmYki6/Kvg9qpRrUwRh7e8ZxtKthAgthYjb7RUiT+xkylJ3uWwQtIsgDRjFL03OE9hO7HitXBcqGhIegV6jJjkQQL+KTbF+A3PagQRz1cq5pRjD3C6hbQ1MaHa2paV0qpki28btp0VrO7Vn46hpm1840w9SuAR/iDoKyZ99OLJxSYBSK0b0mmHdc1vaPsx2Q2JXTRGu9tnMcnrkhs1BekgYodBZ4P3LNMkqei5vYZmHDdy2gLWso44Ufr29HoFC7xLcnG8NxxxUXD5yV7Nn1qEpA+XjjoqZMmowHVlmGTtjIQoY+7MaCJCfF6CpkM917cXjPfzjOG5OvbG3Y3ls3z9B8jKwwSGMkcBEibQ2DhQbyv58zNtXS2bm1gx4cVHPLkOY2ISo17Fbe8vp0DHrH595AOkmv8TGuvcHPiHTmez3ltzaRp8w9++lQ467pjxmUvkvX323Ot0APcSurQKiRGIGyYLGonPNhh1bpTJzjVCTmeDkbw4L/MPVQ8Kp98ULK7CW4W2TrgSaF4oFso2XkbjKSqTE3vx22a7v9iRVAfk0ZPFOXsNmZnbwaTtmu9rpu+VOnD73vI7Q+ziRPsJpffFU9BHkkh4QvA04+CN/ffuCdqG1SbA01NolVL9yRVDfCv3T8ANNAXO2YsIOYFIdE5KsfJbHR5fdB37XL0aJVrE7D9tZcW01YSKLs3gF4irnSRxLDV/8MgOtYzEHPXwzgthocVtfVT+1Jk0U1qX0IRDI62y/kvzFHqPzpASDvLoDexzNqlGP4+YTgMGh4+9ke5wn8Kla5g7bOFGQ2bTxQtY9Gbjbn4DnQ+D5B6HZAjlMNuSr8nViX/t+hLnDzhoFjePGjZZMLjGt34tE3ewlK6YiJ+JehDTPX3/Zg/tbcrk+7FbsWG4prNQGQ7mOoX+OXvnjVYlU6zIA3eiiAbDshaXMn8ZgJCp48yV299CN/AQX5PVcirigv77HTAr15wq1MezBGG/KE6KpnYX16wTDYPl7T464jm7/MEOtub/Pv002kQz5Z+QAaSpLTLYDCVFuJ5iBdCxKnrl1HOh97909FV3fYABLcehnf55Pdpwe/YNAAy/itLlSYuAWyYVQzNTtKf/QfsTHIOdjrY0yJkWM2qmw7yutav+F6uQZFdU6w5FKoXW7Hn5pWGdcSFBCQIzdSoQX1pp003bTVCW7KH+6RlhdOEeWVSkoyDokLzBoGiCNkGCfuxs2SzGunYSTAbbTwvrLHq2+vOqAtZ4S46gb9xU58V0lbiO7skLL/ZLIJGTQCvd/JK1iybaKeyWcuYM3bYnQZySqEG3dBCAkvBpO9GO7R7mRZXJuXNK1f7XUTpgFQqJZesn/vaoaxKzRAiVC80S0bzVZEcCscWa2MC28G29cmlkD1uYR19ItwDmSqlyqXDYVAB28zFoda/HaoT9/+gkGXXWQhC9th8h9aEyGJJyHAB4X6DUWk8xUz1Xn/2F69exEQCqNhLZCs5jdvV5Qp2dEKGrtWHE7FtpjLKtAg3O/6OFTD8zPJT2wvS5zL4lwYlHjX23GejCxDUZUfajjRUpGKgfAhFJaS6nQVD2Hf665f+qhsj9FW15DYqVFmgC2vosxAyyyaKfSTgo2KggSrcP9T7JB5GqWS9BVl/j7UZIm/fSnYEN0iVlXUuxOrxcctfUAn2cyt1MO3glutEv8ohRVuuLC49O+7/IfXfx3Ogc+gSbDoIoR6vB/POcFef6pzPoeI3wM8OflE/zD7hfV/HnpwOKYEns5zmV2gveXHRm5fhd8ZAg+M5PRUPWPm/s70rJnuq0i54JizxJTywnTFHCa8xuo+LBNkXnJk0P3W4ICODorqcrYbvBY32gi28PJ0wWPSOYVf6prgcGqafK94ULGtbyNbldd/p21HGQIvzFh6oM5xyD8Pg5epB2oLfhh09PokEDfFJSyS4eblVxouOqfwhhS8kwmRGtqnTuKkDWSOr0C8+M24hy3Zb99MrNMvo8/nQyVAkWaoK8b4M0xrtbcjt0xAcFtcj7cRl3mH2jFmR2uVooPTMhIpKsb4WBzFM91ujwezS3LoyO1dAszVllkK67vwMeprq4PTkUxHNKw2HPoZib0/JinMd8HEElcy+AhOu5jK+/X5CoXv58UwX49BJXb56J5NTjRhpbGIsLZlr2D5v0w2st5+8CYZkw4Yum7C4V2OJU5EsgUyI65mV+6tPiz1VSpobLKQwVEd/gK4sg3RxKB2UEEzRf9peSSR1jcBhfiOOP203EHeArCAvpika5UBECqrEagC7JDuonxu5KuUUppDUEoTx0v80DeceJeecT0vpsZ4oBM5WuBt6PFVU6W8cDib/ioL4jnpXSHWcu0YnOWPyundR4nbzP012Gf8LTDNfroSuLCJjuTo/oDbMnwkPUkDad62zDM+j3JgiSFlFRJTdHaFinefh30+J71g2zBw+s+cd/KZm0ui4QdBHRP1vlTBz5GqYIg273/LuINimPI13vnQKFeaHMU3NUxge7p7t0eOglWNwVrsBBUnBrQD8qmDCOmPP/V/WpoLSh0v/Q4JVp1HFKncifDSdUmynPj3TJOt3ROEgqmIsaC42nKAnIj0Cloz76LKCCf69teu3vEyUqTrZIPG2CkZNH+bf651UqIGFMYgU1ysrx52yykj94XhQ2yKSVPV6GKH6t1RUUmLUt6t8nb9pyAc5m39tVRGQljcHecpdIMPsqJmFjw8n4UxuHypeXjA3N79gIQHDCcKpM9RqVQ3ZCyr7c9mWkiqh/iQjSsNNLbIzMQDE6txnSSxNGuc6vKRx1Wc5KPEdxe/AFS68YdGHJQ0TH93F//HBsLtm967/3O3ZuRaq24Svg4NwX44k+UOvbabFWHVXSExj8TGLTuLUiQoJV/Z+zA+b9N35WqZJA3wmVYfwcywZSB4s0MCOj8a4SrKxtD4/ArP0zhTHHRkK0kkOIwraXIyxGUxCbZ7nD+VkLs2mHD7R80qaud9hFGEz9SMgJcct7DyB5A9DYxucjDViuj+OA4m3kxUStcclT7BJE0rndjzgZFtBMnflGCipGpwTXcaD/wlFKh5ZoSQKZ/IrRO8uWrabBETHlV2iV8SF0pVPnrIxb8WVsKHT4b6j8u5KWDV2AiviNDdfB3F//ysD+/X91PLht9n9FSXknwmFs+7FTult8g57x3XfPGcES/Ef2obtngSz45Gx+7SC0yLEgCeEErSmU0yqFr1u18WvEn08APX/DkhXwsbe4Vqw6fDg/lzcbP4p8Mb7i2WAUB0kn3uaT2zkVquwPSB6hk+gzBNjq4Uk0J34TYd9P1jOHaa1XQq9BwPqVQrYv7+UoF4Da7e5H1e724PgR0VVwYE+rIA53nhfo7/BxNdkh4A9vUqcsH3ir47S5qxqbIhZniew7zltVfmb4T8tFc9jRiELbA8cmOFTEuVdFZ+oAQDXI+dpgq1Za0UpP4TyK30WKeCPW7k//KjkeMgQEjeYNbKa7H8VDbbE7HFQz+Jn8nzlzW2j/hEZIH4S8x2l6Uf+UCVoAv7tvLOMCdjcQRauaYp+wSMfN4kf02Fe6RdH1g5QkpRFF/CxqM+LeswgFzT+xIfi+fRM8cCf2Ijwxvv1jiIVuac7eMHL6ZNDsREm4zGR43LQmaHMIUwntLaWq0wmbjagIl7Zb/FssYqLkMS9rTE0I9EkwnZITDZsa3YhfENCZhIWQXhiejxtPJJceToo+4hjMKDCwSYwcNYa2+XZppiKAMMIUdlJI11obiJSit3wFpKU6Lkagb3KaGIMxARlnc24H/sWhRRYtGbUL4hozL42DTEnC6ddy7V1S5ZPDurAKTdxeYT/K6z20J5g9/5I7zKhFUs3hMl/4orjMxwQ9J/uSjeRi1imEs3AGkzcCmpUZ8WVcMKn1KOlXbjFmgIS+ZBNAuuxnJEfyayfSrFmn5Cds7pkXVFA83ZS4nBb1uGvSWBm5bAXaRqXsuVfAmwQ5n048UWmlv+Q4MJ3rx7SkARboa/M1fEjYdoD/9SGhl6GSp74IfBN12kZxhqgvCdXWia8MbGw/URPPXlS5eH/twxCcjasHlm5hwZpMQehCbBbLQqeTxlWSUyRgokJhO3LGSvqPsFTvKFhITFCJeSaObfjOlLlSk9VWi1gY5iiotcJZmGOZvhNMMlZ1hLtUvNSnZE+GmxyC+f+/REc98ndVIRADUPaDgHF+44UuXYxtb4zW0V+ItzoCL3sbRJTIheXWgvZwo9eLB9RNz4Sv3rSeZDRlevRTNaNsI/zIw/gu9AFrM+cEgfX4W/Rd1j8Je7WwonpqjxZNZkokNB69ATj93qABcidJxRDW4SVgjATVGm6Z5IBCrT7BU50cT0OEBYZk9SME3ZW6OMw/uZf5jRu3HtnWP3J9J/sCfqSrfCbaWZWYMytRDmztOTvaVEEmreP3rHWLH8UdeJS0oceb2A9nUQWH9/fTy2fsJTQzpbk0eg00T+iKmYdz3GQNZmamnw7Ah2GRNUPQ0svgE4Z5Hlv+P+JPUAf9TC+GhawupGvKeJRUKeuH5yqFaAz2o4QRjRAP8IWu1JT2LMO3WZ/9UATC9cp6/9od52ZjIchnjVAm9gSO7mxKrMyKnbOepxn/ckg5ItpQv1vBQE93wY/gdv7t4RiJEhtpqIndII9kKWQIJOTHiCtwKoEX7gFBy5qUXapIKpz9r6oRza+nSCm8giSDNtWRwvWxhIOyHwOXSnMU8XWOtNMnITiZJ2VQ/2HTUuA7M0slYOnEZr0983sG3fYvfupPAvdXyg1zZLyWcjWxbR+VTE5j9V4Y1R2k9iJyIZleLKgTffMlI750LlSUoai3YNkHnLWya2DEluqWP7Ebgu3+f/bxRPlvJfJ3dCPgs1iCF284q9d/7fU+1VbIqPfVGjN3NIBkh7M+1h2CXS06JYiIhy7T13nhNYdLE9ayU32AEZY6jY6SzPHfpWntk75UpFcYOilwnCe5d4yuVjaPjOefwdXjMD7ZH+LHPRRDwX36GiPC7/nDHgXyccnDgW4tPdM6X7UiHnBQWPzW0aCq7u21vv56mELkEZkdf1WWBEPJoPtiYVxLaBllSUpTsURQyCq4RFOgnw0VPxbqFMec1vokq1blk3QM1h+HF4uSmIkbxkrKBv2fupASJO8CnR94ry5M565QK7Wda+oCT3HHETa+H668PQETeo6qY75naKZhU0ZX58jivNSRzcC9lNFeZHXwMtbzQ0dr5gjnZomgFolUF0nlkySWdOiiMmqlZIrm+D1W4lpGkpMoHvhhlAMxPiQrAYZiBJU2MPW67nHdzwc3+3TvbNOSJb1OhYxkIzQTlUQ1Rb9k3yhlUOv1+qxtFQu1hUghbn2TlWjOii1PUN12lKAsKfX8mfk8mqJxmfUr5DEfH1jpjVZtpNxzlcvrmjTjyYq5NZaToBOIaERsCaCcK+29udbJ0OrSk4H8ih+i5nMgd7S1mjM/riSVfPmc48P4xImkhCXtFcpK0amxLFRWv9BnHdaoSNF6T5edKjOIVd5eC8/6Gu3fKfItYFw11aN3BVGcI6MegUmz2MVysV+5LsYljofP/RsPL386BzBXxZVw2cwos+zlrGYNLvgctTdZ4xoTIuOT/Q49Pn/0uxLwWcAXUoBNwswdmyrCt3Z4pBgDjD0mZwieCsUOIg49PIxyoSUEM8eZ1yAqITNvzw9/namHTU8GXe/Z/dk/z+1pkaqgaHqlhmDjTLVPCnbyht1H9/wVfQI633ZTgxUqeNI+2lB0g+SsEJYBqJPRuir6FQ1qT1+VHfD6ChEWWXdUo1SWuQSzCcYhsYaCGcS6KtDdhYwvLjI8AKnBGhv8pDpbOKSd9QtC3b5qrQOC0PhkQFXMeC+gyT86UuWaLODvzsDFSC3Pldux78HFpZPBdDDI2j+JaZm6TqweVJUUcB9ExK/2U+Vragtb3CTwsy9tWpoLqD1rEV89yv/Cn5oVtwsGkUl1Ze6ZjtbmelWcwDn+l54audg8Ne29SHdLX6nTri72VKdg2jyAXIfvMaUMXDGNfLUKiLiYz9znwUc2PH5rH30a8tOjHRVKV3SZeQxagQrXOcRl9Q0CukCsX/B8CVT1eIkP9zm4EArgRUj9MNzMbdHrGclO1/AobwiCf2ZhsQleKO8Ob/LgsqLFhM7JIKo/Q9xvgvy791SBhD1AVn169xF15q4eh3JD0jyYmQ5UUCJDHtJnZymlPVgJl6dUeI4doKiSPoyzJXIPIcCIDRl3FgOMALNCifSNVTnvemxrsHVFNipNDdx8Vl2XaAEVL4Wteh28nNEKisyHd6PAxRW3haJ3eSR4XDvvET0FIJsFgNitZuRZv/zJDr92Sgvh/dSNshEFP6W1reX/PHroboQ8FsglDQ7bC7dAywb8HCCzi8X2h56VZkgFx+EbuJIojA03+v5aK4Hh8Td2lvKENW4fTEG1ONjrXCUi9v1t3FGON0Mq1VmTYSFdJjDDzFwHY4ab/HGtkgY0UIUN4RNUBDLH77O63QhW8viymPO6HE+Z4i9ypi7uEwmMjj3XAqZRjxwZf2WA813eQzCext+qshiunjAMV0fUnhFFkPUu4IINUGerlBraEPq1SaL2QVihaSxKYE3xqltysCXssZr5OsUK8L2PZK3cRkIS4Hf1A7GiIyMBrQ1TBPVtvwjUy+LO9/5+k9U0CmoigOj02rwMrbt/RciRhZA+fbVQmIK2IMjgXymP/K3qcB2HbTWbGByrgZ0i3XDfvw3Rii0QGWZbbHJORpI9WNoQXO2AdXn/PFcUs8U2UNVln3pWz5znsAlCRmXDZqfkanbD6d2lwcf2Y7AUOD80Pi+fj1v9Knhp4/gIAkX2DJovG+b076wkmBvawTvTt4TmU7lqo2f7OwYzxKqajXldGQ4FYv7VMSwmdZlpb0gs4i/GOfiMpG9FMNbqszf2JoDNVML6GVcJTwGE3lt9sZFFsMjeOSt1LdR4/7ojqaVJxmdFXhabt0mIcuWlkTqyNGQi8/1x3HN8p7XGGPwMVKVUTMEB16WuGy+Quvvb39hI455yUO+9j1H2AS6o2pgs/oYJqIdvkBA/WlCF7Fz+7IN3kclwuYLy20yppD6++egMjNBe6R/myWzuGTsnI/lXNA7d7a+if8nCh91mWdGK+OM9dKlFvv+UL/x76gWpcnKAOC/WCJsjwkOC4QdNa2JleCRG4Qwki7ZciR2djmJFRtDWQl+l/npIT+9/eb3nqWTAriC6W/woNy6o0Aj+hBsDhgJUu37vIDLeUKbdm5m1iAzCA12GeNHHJscuFHknmiby9mKRxjKkzgid+kMJeJCT1QiYBtBtWdCTBvtZ/iHC43Z/5bumb3KzQjBaOMfg5tCeZpOWHKO7Jd+VsEDzOreLHz36TJhumyOjx9mz9beKclB5RCUWBeRwdGbeIL0MvaBSU3gAsb3+tmmmBz57WkUgxFd6FqP94yclL7LB9svfv1h188W/KigEJnc9RjruwN8q8DntVew3aRvXyAEw4TqmmJctDwvtJCc3ztuCRJt91mTtnsz6HntpFCqiGmIJdcHdkKxW6FrmOGdR18c4YXloeY+iGATa7SQO9sdyqzAaNCO98WEo6HMc6VuZ5HNkvLmIhJSnpfV2TqITK4iu4DxQcAnMmtskv2cg0dcuXKTxsbefIgUfX4mlt+mlpEGIMCBR+wyGboND9j7zcSsKxfQvTJcrgnaI8Js8v0f8sbi+APr3BrnRYEyGkT7kTAeXSg2MwZUQL//SyDas2DE+Y47diXG9eHTAuQ+WTB4HfLm/l3KuEEuoZX/bhqk0/ym6UCIDAGcYt1bn06gyetyAvYDBQhe9jjMFAMKx+URISphmz7e6n0MxUwW/jG0YTuyTgqoz2ZYcWB8N+Rv3HQSD3YBRjEvQ8+xFtZ1qD/eQosZqQ2StzmwPaxu+bwYCprr0Cm63S4vKCThIX1O7Eoh1P6D5Q8ukKwr72K5D5ImI+i32jnjXfWgS7ZBDhaioc8rAEbErzEccIdbG+din6CVlrMskhkUJA63nfeNWu5H9CxszafbOUKWXIp8fQfJK+VoAYkZmKJy9KRkiWkImK+jKs8QJ2yhOkRtrzV219AkqKH5kfnJ0ZMOdSILOWBq/CMDOU8ngkPcPcQdsODaW7uMQxDBL81e2OGXIqeom9TSMYJ/inup4vb7hfXlech7lwYo7W/PGMGHxiXPwRnjzj9PmVCpK9V6Gt260NqrRTSuq3oSlTHhaolv6klOj9zdjQ3UFogZC2XiNl+gyr8fWCLTSYTNHczYNjlJuZyzx/fEA/Y8iLL1Lc0Dg/HFKjKe/zLm9igF4Pih51nhhDcpI/7aGkwoo7IpXUxjSN/d7RLD4O37POy5EwYuE7EPR35waqTR1DjYMF5aXJIdrwnyA8v8Nu3e18od+uXTuioG+u8LXF1VgLcTv2LCOHnQOaqlC0qRp35sZtKA/Aj0FTgodFYiNlMrEBa+JrfhgnXS/o2dEkAJqjzHDIoVQBDMYrK5A8tM9eBY2jTMSvCMhsw7jk3USvMsFanJOE5xuKmbZgSpy1n2MeRda8HfXCKyMCB4r5sQjFfg+U5spSQM1s1BpO/18L6RLs+04iICGHOIR9vPP7QapH6Szz9lwrgS3RKO2renVSI6hIgqqtV10yRkzjlf6tFwhS87dvI9b9pi64Y4GprNOLeISfXZg+kcE/v9m7sbOTk12gGqgTKh3sXH4JL/YFGnXf5TR99KWp5ts5O5XGcYO++ixJj/C/wnwBTRrjhFz47Ymfk6wT0wXbbgK/6EP4l0I/ZcOtcO8hOkLrIJ3rHvm4agUm9mfG4jEKpWDjijD76u5eYLz+WFI9843cNxZMuybgLhmzhYhD1iq+X4A22fZ12nLJNRBMbK8GOyHYskUeTTJmrYKSAqB3lI9gyyVN60dRYmsi5vRJy12Mx3znZIpIcz8QzO77c2Rgcahfj1rcgEkIdsLy0PqBOdCF7Xvmgxfnjp1NuGaJmHOGZVPLgSbjBhga7zJ8gZuwjfyTI70A82d+TErrMUD323kRQ2CR0JGhF9v8bkNVFvzyJOnzqmHiUS3z7ICEKlI2CgHQRiYDaKGLEhmhiXA94CsNc1va58/Ky5N34bMR1p2jeIQZumERlA+OX6FfmpRveRJDMaa8fjOeQ+PPRK2OKDaDUs8GcmJ9w13XwvhUaxQvZtfbXURM7CLaaiv8N3t3nHTI1Uda5yAv03y+my/IxVl34hsQsa1Q4i0BMeCMkjKd9DIcHPnTn6Km6gEdFeDZgUwbXoqLv0NJfm6kIHFSFPThYfwJGbsoaeNxG9EMjYWhSDEwUHRN9fjjtOz1DLkWwsroNFXb8w86mFBQA8o/K4f9qJtnQpE8oFKLE2nqaJ7DXL88alGJVMLzChFVFw/FKJqesKfoaao4ImwOT1zj2j6UFhUjm06YIBaCnKT5jyUCaSkMWZCp2bgH9tz0Mh4EWGKGExHv56pp/FQTxZDKxfBNJnyvIclhzFcIL0r3L8m9vIA3PMiVUCt0yofMbbVdEvYF85K73lOdmcLUptUZdlw1z0+qcgCfBp/FjuF6kDm4sT2PH1Q8fpJne7qfKwiEKjyL9IU5+74N7CTR4j5BFX2vY68PAk8pF107abd1ZXFLYQ2cCvnTWsbsAnx9MlmYCk2uepy8U9FLHQDqw5/GKC1S+f1PPtinOQyg5XEStta7DwxzudveCtTABxBSq87JZJgSi8gMQl7zaoXzMnP88bjV2SFRC0VXHd5iWQeu3n9XDxboS5bLJ+4eyKF4QWPQiykaHfyRH+gYA7dLqqNPOeqrKYiCnMMcqNVdIbgMQHat1ghFjNrbH3mEin8yJfGCzIKPUXGFMZ6qL50YO7Gm4+dI4xsIzTy1z92pPEghqA174DllbAQByiS+K0GojTkmf9tymvXXyJzHBaXgBh3QFa+aGzGSS/j4CjAL1AvENJhon6lg5eRDw3SQ/lpAJYEi/dh3CvfJcOZoxEzOyx4Lj/8MHDwxVfJEZqWk5exAYLkmkVUnrS/s4+PF9sVZzFK7LUyKG+rWArdQjS//kHTaxso++UWDoDdmKFe+2BrHCyIlh3CfL5rS6k3E3xWOQN7kG/pSoMBgfxs0t9D5xurCpcRWZZVazGinUBKNq/QksatU2sp0YdwHnRL1SIejDdJenRHMBMRNNbGzz8qruqFCZBocXBm/faexQkINA1ikCqB5gyqI+g0OaZSNW1ihjmf3kFmcoYNSHn0ygjuprreTlbsqc7A+rmSWFqgqwrqcy4flGS7N2qNI0eLzz2/vdiHNFpSSU/Ok/sVlzrxs6w2P7c3WgU8FZlUFhLjteBUSpZo5VsS5PSS59tpIm9pS6v3cQWOWdXdNRGJ6BvSjQb6k0BJvCt7yA9iy6SimLpcrgBQ5MCxShPTDbOJ/rQ68ovAEvETbVrSJ7f7oLhqRFxhNH7ky/5QT2IyqyGxGQt6KiejnFoNdo+rUryhvpx8+hba3sRy8SI6VjRPhvNw+oVZjev2A8UGXWcy7qOpOoKSo7wTaCXsx/urBYe2ojgEtzBwZaSylysV6PC1KY1HzXAd+hcmSbcb+9Bqcbx7gwG8HmvV/Bo7kV4nXWXfroWkJF1TJceaoHzmfh48i1S8wmBYjoR8jQ4MSbLEXBzp+QJjOD4SGOcs7P2uZe0OVByjOiE1HjwvKBYUUHSNtKrOUa6OUnDVps8nFw6RqQ6waoSwav55X5uwqBndj1QI5YS3AQtyuo4oWi+g82WIVGa42bZG+HLQ+cGy3AwOLgfnmZ6NVT2aDYndDeRrHbWzixi07EJ/ZcdXGjAZba9S8va6TAetRouGWkePXiIun97c2PnADsTfstMyuzaaBmS7n9O/ZED+P9oOEo99yV/zhE5mSohYpq9fnrEgk08tKWK4qXTmn/J2LNPgd+a+d6Cj0LyFWNMVYgz8QazheOYEaJG50HQF99ffuyzR7T1Uifm37f19R8fyVxcvCosDlv7Hw5MRh5vv3Hzmb/Z74d+VujR4VdWZyUMDeyN+vJeZUIw1a2M0HNtHE5NsZ96jVOju20VDEBzp7LDY6FMoK3kQhJ5zPhXfDCxNtchXqm69yvu+l7YblTciDFwf0tRWdljUSTpUsofM7oj1roW++oSle6XvS1kw9TQi33ojCczdqmKkQc7OkFIgQdeewelfWr2z6QtCs5x4Pg7sQqYkSfGaTnpgRFSDpigAEW2IakS95nn5CDViSJ1Jk3mfTDvfrvDCBjUWf0TD6T+cZ+drgXcwAOtgMdosCuBmBduajqWrq0CdM9OTkJnTC4YQ0S+3NzFAQj/WoU36pm3guftB+Fr+MnkfgDWsf0X6bszcJ73Y7ItMk/yJ9uEGslfW2vcpcFXpbpOIe7aII9fkeCH5vycDGAQqXCIt6oXXuAIIrKX+Y2eNCQ+F5MR8foOrD3I9gTAySHXeULd1iQbvwdjFmcJCeMMcuqGpvwuQuQIObIIKGQeuoxSNVUjDFYlWYnGRii8QM8eyL2wh34KAUwZkI4zREOgxV+b/Jqf221k2CTgt9nF3unTzskd5c174hy4Tde0+bOMEzvADep9OOoVef97m8PJGbJR/4oVsEUBvXH1xIQ0BdvNIBwoQBM68hTOrpswenN/zcsXPFG8PykU/w3c7RzrbbqKotH/F4IhvxXJUYI2sopFSSjh3WMseFikdKKnXfkkWcfCeqGZeJdTn4RBF079LHhAcci6/JsNVmGif/YznKIEJyIMdIjHCTx2Z7a2Hfv/snPtgyKvj0BhIkCoJ3+okkOr8h2EjST4OJK35jsnF+yuHj89cya1F0EzCPlmeU36Fx+ViiwwvRk3estarLL2xzoN84t02AZ+Od0xFKhU287zjijjilI0axG35H6uRqmlL4eXS1QC7PxLM9KH/7LSMcKbqxdQ4z43278HIq4uyTNlqibhzvfC+Is0KXS5gL+WU+Kzrr8i+Zl+2IKGPJSYkK8lzW4CKe15QD8KHwhe3BB08h8IQXTmzI7Xmr2QlrTk3ZmHbhwoa2uf7aRIyqw2po0/J7L+GjNRRxsR+kLnhC8l9o86CxIEME9a5Q7FkAfvoVr6WMaL/pZt2tH++WQiTCNhVneiK6YJoSonfn762guTo5tjLe3AuVDIrNP0PUPG1gKwX70kkp96XxaDKX14vd+C2DDF5o474uiYAM1unmw2kg6Xr1gj2cCwEUtvJoqTpAabV2+COjpNY9X6Jg7UfB3MEkJ/S4+HkZPqBo/YmI6/REJy2CIMKHMGXppmaYHmSGlsWSztEViX8zePb35+m6WsMnTyfxEKkDDDP9oVEo68NlJP4plzlejFW+Ml1DlOREPsSM5kFU5krGFGAws0zLpJ9i5juzj/RJcVoZwulpUC15Mz4DJAeTCx0k2sE03J3unJSLr5o/1ZyM25yyZcHW1pRjkoiYjSiSc2oPJjOhdxxB4kS764ZKUVbZKA4jntThghyVhIB/DnMvycZ3xPQMRwhBn1MkFcALC8NRFsPzrCU0Gr76Trn/xmQJHm/d0DmERlIIaWoHa7rGZkQabEZU7eNVUzX4p8rYPg5WEG5DhTQi4CbWyfIKW9HAMaayqzPBZxRgwf2xcfoB/c6E+EwBAl24Rxp/BNzFHZAcoV0mO+RQZmHwe4E72N6eVrxM+MgiBJy9dffJ26TKzwaCR51lsRg613tZB/tB/oY8Unaxxeow/8kbwgo+6s0cD9PFHYRWN61J6OkFiq/VcwoHWaxEwWOWB6B5lETuy8reXg95M9P1vYJyW4iF/dj15nsb2pjtoQapXleCzlNfRTV+MAhk8r6UWqyeC7j5LLjnjcyvw9wSk+UYSua44vm5JuvrFvr4Xs9/xOmSI019aeYZntuGSVfs7LWI6HkFhuYNeqhlSD8dpRPgYHrWHeNVG+Fau0PTfdEDZusGPUePKrwdfroCAovTELhBxvhMmg+AKc0Z/D2EckkWVXkleX4dmKbSNTN4kRhFg1vu3WDylhTTlgLyY55CeCrYk3OrF/RGlnk5QOW8NJOW9v+WJVRxFsI8W2csSM/bugixFz/BaoNIHwxHQC6W6iEYHQ9k03CHh/J25z6B/FQHG5LZoVmrzP3CzE+ofLTQZ86MXmmHbFwwjyIQ+PVCxWq9SuFYCrSwAfthVqJnAjevXZGkZsK+vqEUqybKa7vAv5Y6Kztrpxqce4rS6lAS89Bo4b1Ot7qtBYz9YIh/U4z2kHzkmiLHa/xh1xsG50hSfn5hFePa8DMOA1v8d3QEUFy6YC/2zJ70bxhRExGn+e8mA8QEVl1CMy6Mf/vLOybOtr/lbCM90APMgOsXyR6jJbHA+0uWf/QuaGHgZgq6nmEtfy43wvZ6K64eBHfdfGYj2FHY5sjcJvLdT8z9xKABBMMrv0nAzhmEoXRkry2X3/USV9AlfhHOmRHo70zRHZAv4DoVbVUAR7Ufi1mZs4FPCB3ejkI2VRjwMFmJemok21vyo+iHuRBtizjKF+DpenwQBvbQf8MED8xCg92+WVnmz2kzj71L+cA1u1NJkGa2yka+VTQZcmAlVSUllgcdFcZfxlyE5LrP8hECkR8s4kgUF2k6xU95HzS37xx7Tt+XIaI3LtWC+U6pnfO7tZFjRjRhuyai1f5RK8ivL8Bre8tE2H3kq+oFFyHZTO0+zjXPBV88iTAOMUhtbhA2BMAn8D2JbqtIWrkoB9zWcTd+ylK10F4A6qtl+G4dYjcIBD1eEv/qtRRGtjacnR81IMKDpgY9qz9py0Oel0ZH8Nvlm3lKHN0bicmBxnT9X2Wwa8py52LFrD8bZUsOIiZ2OkdCOQJuiAmgP7x5uMhcV3xK2NUe3XjWjvKFUGFmrOfM28VNKKw4O0VTdLbXkqTVuXYPOnLFmm63ZcOeSBgPBYOrS4axG3KxrHKtnQdMDmwnW7HfVF8qnCD1EtX0PjXg56TkpvCr84dmvbOdhJXMFFi2xUqjjpw9JbFsyixQR3wkwe+u5Jqx39KEv/TZ93ipwiR4P3BBXG1uf3kfeq1lwe73LhbXcXIhcTAxY6V2VoK5jZIXzYiA5Kl7obg/nPhTRaAEvei3vBOJcoaHRhmoTTUOeoaurmH/iIyd738ao9x+RQQ3B6qXsJJTrkaWGvHMk57Sv7h6GxVgPxvHaHrTpro9dzIbBEEg+8TrWvd1AmHLMqpPbGvuJwbqVSmsFv6GxX7gsr6yGdvA1MDqsadKXSChU9K4ZBigxxSW3YOR9MZX9+mkYFjmE4ZBnCfJtH+9VxpiqQJE9HMu5LtiKr9cCS/5R1GcJq5D8N1kMPnHKAUjwFjz5yxQYBMHlukzjlWj2o4ijsbGhq1srjNJXz1/pYnduCHQMGyxgYUDOcWno8EyLa9RS4N8bPLzizMD1bH310yCznmxyQdaQoOes7Hp21KSYzOnphtZleZcB+8o+BLnnPTXXbIspfe8oRyqeJWRTyIDX/LLpTOwVSYYpnvH/eYLg2HSncmqpn/EaOcQBQG8za4O6kcuaRDsT740tmtKLj12bA1BqS6y9aTBlj4jJtHumYJKpVKrGK0HrhQf25vtskuAf8H+iAdu48tG83DCdDRPyzh0sxFAk9soUup0IFjdLOLCilb/Geh/LIVmKWuMJKslJ5TQabWJ9jMmPc2Kma+OA5HecZ5HSu5HoCOLaHiNrz5igNjMVqOAmQT7/GcBUEQ2GPctpe2/PM+XVqseC/N71I3KBrfeeu4kSYPfLb6EbK0bjSCbHbt3HIYg9MtNZTfLqVOwOhnGo8W2cQflZw3To6P6eBli8tZ5uHml11qgM5xDrp+zlHQXrMirAK5DiRvrrpCPEqme/yXmv86WU9LwUjR3tYrurQgk9yHe3nTXQIc4FqmCA04htWl7xLc7rOXkbtXzYOd9giry+dOlYrl37rG9QHL6tyltSm0kqFh1KqDce7QelOf0SSgHzPtY7DsOVrk9OR6PjODiPxNwuSz8OeWfG2RJfSGTRIz+k6IZERYAP8yG0/gUZES3WhIwelgMn1oG76/1z0WuTfrG/ikZmu0wD99/sABNFQ4/htgNXoB8OK2jsth16hIXizeOh7J1Q3SpGO7HUc46P/c9sea0hXtmPWy/VeWsRbrV5CdT+FmZ0ZRD8xEXAgrLlaPCyXuYrQ3MeomiUN3yewLJVJRdf2Qo6kBS/IyvBgIgS6I+pAtqOB0VJ0pSF5ZZ4dGXFRP0RT5960UI/rRCEhtgpneQLwkDRA0fzsQSuXE1OAHLZy4iqyZJOsA+SJTqxjDIgsPNWhapjpJva7zjpg9lv+zZtgOUgPL7IO7djBG5OmhMp200Biwp88AtAZJ1jQm9ZaA5qYh1bTrsmtYC8f/HrWLoJVOxuxHr4pO9+WttlV+tJ+Uz4hisO90Tv1VxYBkRfu7m8VvlwIMKSzJg/y6fE3s5zUeoyN5HqERPKAAbvW/rTK7CebBb0NYdOu7Mx9dTw8IHAs1/SKT2VjdabMigM7WS36bVhm+ADVOWk9FUPJS5fYkws1w0fTAiI7TsWaS6CkEmvxzACtIypkm93AnhkvMpWpnoWpXmq0xsiBFSf1B4kgRK1seZqjC0zybKv+8SuMGr67NN0z1Gj1LH0FPSkgKioL7oC16+5IYSFAg+OEsqUOIgirSX7jpEglmVImDkRlx+IJIl3L9MrHT1nDpVx+ogYsGQX3JEtwQ4x/NKZ6MzWJE52lOKxHjaS/f7xTjM+5Z+FuFp4o2pvdxgZNJvUkdlxiVj4Qa/8xh14TDDBJuiA+1uCUFAT8l6N3X1b6yWg7k4Z7I+gAd2bguC1e6ripqtbLv39JZ0cIZAk3FwCM3mG+KNlAGQjlZm7+xRJxyqdaWewNOt5B5QsSl1aa2ZbtcZleOawri4koKXL/IwxcoZViCPj0iTIW8+UOeq5+eo9SHpmAqxxdQMjRfKQk99Y0HlZ+H9OPDa/+Bk26iGtfqJIOlyQIi36ZxzMB4wxVb6GQbuutMKruRjeIuXEHVivfkCuxYW43qjLxIM+sRC4fcgr8slIFTrOEp5nLGlrMu/FdydhySCxpdZ/Evul10jKP/ihC/7m7ArWr0rUotJ5ZwQBZe/wOiO5ik+zQU074QuhQmU/r/g5MXbEGWiQ+3SyWQywlUmw1h2LedEijdmVsgP0pysOnf5AvRUgvUV0KZ3sSMjbKBIgg6uEHKn48Tbz2CPy4ssddiF6UW4qpailY65wIJwcF5E1Rm0j7WnXz4zaSX5QiDzZMZK4aEIJK0bE4jN3lRXQs0wraLvhp3kk1dYT1sf4mBuvj6vtiGo0YzKio6YZQOB+IITrWHXjAibChVaWTHyrufIU1XTTjBMudrgbxAEj7pwOt/ly8Tm49sOITRxLnmTLHTz9QezVaUGSubEDQxXfDD3uunm3VASt1UnOB0z/YKnUJr9J5xxbC4pu0smbuKruy065gQCg8OA4tFlkI7lN4LIXXdgsYOkwavfl3rGyw7qBQYIVaHy3rGJLSYVfAcIQV+p+FIyBoGN1IZVlUYgZyMMUYNR8A0qCnFeKh0hOkmkaMeGvKhu42UiMFWhFhdFWtXqIx0hST1sZ+0OK9lsJxPfO1uKf2KlPrKBa4m48yJBSaNNaujQwr82VGhITwo7zXTk3ihA11XKN2pj992r541L/SuAmyu3Zk4vzaAgbJie2zoDTIHm7QmDL9uSTN/KlVHWJE6X69Gx5EBN2nI8gF6UDNo1RdHfOiUCSsiu0u/SWEJuhRmvmi/jF7VSI7HfrYfmeKfFb+lwKU7Fy7F2DUSUu+55J37bFJwG+w5TfUZAxJ4oruVtSsdQPjIOe3lZDsDyaowwXQSA+BeUb3tKzXCfpEL4i+YyvYZempB/pua71EI4zublpeCHqpkVg/bh3l/N8Vd4Y1j3Kv5rLpn1urttzocFykC6wi3a+B4/oIDl4vC+Zs5pXqIP60LOMGXf1iVdKTn4ZiFcdqOotfbnKHTFfg/6+fpXzo9I5iO+WrxjVIzfLRbbkQ5KE3OcwaPnf7PCCUMNzErgWjhODR1DqVBpj2FEZESjSQQCv2115+LpiDO6ugcfENmCiWT2Txlnq4rNN32znH/bC945iVKUJf9aJTX9Moa9ZNc4m19/f0bd7kfnN16t53D5rn1ml8YJrEow91FiCP6R0dpMeVBwNclRM7wmTKdQF6kKe0hNj/YwHql7nLze9OCJBCBQhKB+6/Snlmmz/K2G3xeo4OBphgpL9B+RGdjX/lypfcpOV+LsU30Aol0bqQoAWwJ5Y1ptz6A1eXNMDOlfmsExEHouYY1foludSad/pMB2QctxUVyaWEDbWtbWrEnPZb8i0m2Gs9XAW+9gNmuHfvJB5hUpBTXfc0BJhiW/dG7M+EgpDSiK0e4DNHSCUpq1ow6h6l60kpwZVXQUiTacwqvNabFCgnGAlhxLL9v8gXCMpX8Vd4Q35Rerb4ejsmvIjuoCUiHykn9EghAt0yq9/Oodc9VQCHRhTPP5+oUejqfidIcDXOTixfURJ3k5cjnoI+IXDAQC0JeG0RF1MaGjvPh6Cg+LOFO821GYbB/cXtRMn7XQDUspHrVSaj3chn+Bpj4MWO3kzG2XvopPfZOeissR/KRt/dZ5hQvxLYJMyzML2Mh7cXF7N10m9qyU+rl4AWm7O/vnlX733VFDOhEQh1w94KwD01zbHJZmsYxUCkkvzsE3AfDyiZq8xbY4FMCSsKjGZw1vK85KHlyrPZM1kQUYN5AIZqIP1YhOMZtJlx8yA/q4Nvqjbzi1GJb9yQzpCheOcawTQFL0yzV0FGENuWrZCdMZWKplsRZSksaU80K2r/ImKxS/UOKc8CahhAdnU6IDZ2b+K/yfJj4wJKnogTu2KuWhoAL4PdIKZtmBn775LHS26DkbgRVu3Hyi9tKGXAPV9NZ+ZhTj6WFprDt4LmAbBC8FC61+Qkh5vyHkTwBms03d3NdTvVf6lHjnP4VN++V4OedJ+W72+fDWTKspGg6XO3a1zhzqKOgkcQeYq4Ze8xZCOSCQLC1jeaZzmp8j78BIns312eAj0DjRoVZC+VA2heKRQb8RsvCEfI3oC8HRJzmUKhBr/IqQPSoe6J1JiOx3HEH08/qNxW6iK2K4w5LXbMFhe9mZpatl2b7aIw998NoOAp6Nruu7fc4QnZ6XGkWWnzPcnKR4coinEgB/GpbcXslmhRieN1sxHOaJUr2l0HDsB5074cy+o5wp8Y7pb/5UIxWV0eo9wPiNALdxdi7uBTH8IWOJtglpDfaBVrpa5L2rL9kTB61pPJSIFQqZkSccYM/aOz6xwBaOatFBcyVv4k2jyRGqXwP16lW1OanBSSyAYLg7O20HIXG9J++BE7JrJrH77vV+lpvWwR81SDhlx3hnhx1ll+mSgpwJpanoaY2C3qXXphRevlBCrwqvg6i+fP1E0OlHsYx5GAaxP/EHJK/se+E57ZbZiVJZWKmRulwaCUmv/jatiw6fUVBnLo17rmVdTgKbPifaPkOYyXhchMClqvMjo2tKUeQXjp75mjpQsnW4or/KC21X4qh8jakIM7VjIJdqrAxxw5YShZMLmcUQ0vaJalB7w8sflRbLkVzYVkEiH6ziGukx9LHl6tTMQ/E5t/gSg/mDO3+pWvOFDhXYHcmKrH3QGlrYKhr59DXhcu2Jaran7KaCN8aacUYzwZi6mItdR9W67eX7llEyZwD0rhSXU+GvONDnfM7MSzMxwWBkqVEt7Q/Iv4YNGsPvtaFLC729preLqFmh5eMgNOq+J8dMdbn6s8qXACse3KRcM0JrQR6GwU5UFxnMYjseOEsh80cojdmdRlNfD+jzpKzK+nO4t1Pg6Laefy9ZlimV0CNuvjjC3eGD4NBQq/Jd7RuDA+baquuMSE4A2ecorrNtWFXJS1UAGT5Jer3+UpKZvRGKM04IhVpKSu8jfFu+WGn80v73AoCoMt2sFRZhdo3DI2EszuNKZxGzbHhZF9dY1EurjSq4GJOCyAQToNROpu7ZcmIhdzvPhLhIar+czxUlggbAcg+tfUYG/supzEWGZUwIflid6P80671KrBQWZPp2mzOh8gaSZXlVhtHTd3+7zQEsMCESCmhz3uepv0LsEDVqObRqkfy6lKFfab/Fkm7K+G6TnlDZKWHX1IsNwrAsDwWZoB3ex8Kswes7JR4gNwg+pGfG2/xA7Q9X5Ve3og7G+iXl/SaK15K2e4eiL7z5mJeFpIfDlBYCQZKvFMhM5bUUR7KDTxMdIFZN8Z3Yl9bJybgqpTehUapv9Y4wUaiDLVGkN2YRyT5OArUpLj+uVSm9QXf3ul0PThtzlqy/dSi2WmHAW8j2+9vldxXJ2GgAlfWkS0uUp7kDeipdALS+Uj4X7foOTmFP7AEz8pS+gJCGpANGAqx3IkVg4iaAzP2AZeWOzxzp9XcvbvBGVUi2YgiIEScdFr7zID3BrnkYRVdwkqk/KkfgAyuC3+ZHfXAIZLgWUSil50c1pb4egYS/201hyW2oSclMxxQoz+AGDZ0pSid7AD2XqDeMC3zGBgBjqqvJKSr621dvI+quoQymTnpGwZQr9I8OCY33nQynHWse81O1qw9fpgarICjsODkpLB6+xQ4HbeVMcanxgyX8+M2fpFQEhXeZpq27wXPPQ9CKea0fTbPdVxn+CYE8Yus8pi3emtih1mPnAeYdq9qcyxg6p/+iCUK7kymAcHnZmV075H8CY29tBmjoyEmh8AosCMXTlAUX8SyBnPF0chZcqdodXjEsSmBmfeVxPBQZLqxL1gWQjT3zNclxxU+PI6Zt+zlN8hozgNDcEQzHt4qLTDGwEtz17IhuuxR177k4Mu2Bzz8ONVkueMkrRWkRWowdCADJMafUUtDBEomCwJ01gYg8xae1ah/Cu4Bx2AMQWMwD0Dh/Nsg0sndF4c7gbr9+UCIaZwSHx8tpjARunhqcQnmp8V0FiJgEgoUEbOcBiaRbjWDDfrWg9YKHiXaVMFKo/9Sty7E4dQc0XAhXy4Gq+1q8YjkU/VP2PyRUHWpEed1L2R1I2UkeiV/11msiklQM/Q4zvVLZ6lv5NPPzpAqC1ld6wOpltJ6nBGP2oC0b7bhxgK/hPLdt8ID5Z6cHhgyVPDN4AnQGpMT9lB4BvN7mEn6LkaBvVWu40fG/pKgU34JTcKTXqg/LnESHZrn0qgoCqUvZASWxZ9Ucp8P7LAeHn55EvWU8AfaJMmnWecR+jaR28ADlVnTp0hMOQ5WJyKv6BEIG9G43rD8kGABPSRFxw06Gu5HJo6XugQ0sFEI8JFEFZTpogOoC0kq3kjpEaiYinmNybGonzMYF8VgxmIbEuj+ehY5wqVqG0ayGE7pYI0ROXkBTDJ9h8L/dT7Q4kT/R7nGoFFoRWZGbVkc1HJ4zIQIBTmnVIB9TKUJ3OvkxgapNOufOWs5FdjFvqybYfGoUeZFIrLJt4/UOyhH2P4GlHRLwqj8wy2GGLhqsfifdWOI80qqPpr7rkal+gPMvhCTU5Aul4KTydimCtNhm1741c7RZLk5AD95NYeCrFJMxqCSJ3/ZQ1XZvcusAziVEkYhd+ey3H62CcWQbK2dhY+6F6SDAHP+bVzyCH+brKnX7n+CIgFgsDmes7tBO+AMCyPesb1gi4Yj+8HGW4Q1zCAaCCqd7/Kbn23OtjALPuIhbiF5b6Wk5ZpsQw1dSoYxucTW23RHDe+QDhMPWAvulpX8S4+7bYC6d4fa6FbdLXSzOIahSe/bd+WDJlKyvGI9WN3b88BcDCqE3PMQhnF5Iu8lIVjd9rqbMGQgfIloW6mutR5/IpCGVSL13Z5iVpORbegireNTbw4t5xNBEuslwjcGnaQjzek4IP85zkLbP4aGAiJ4y7ROUctnU1yNN2iMop3QyHvA3bSNV+YM8iymUn6iBonc+jyFgnOdqkyZ5O970rH0rTz2BKtwYFNIfy+yuMkPbXwVyGq4TOCd03SpGPhcUik2Y1dkocoSQUuhgtidvBkPJGTz0RVmnyaY0p2lhuVsJQv7Dla/z6msIy1SQ6BtI1wUSJcAnyEoY582idUonCKNnNlTUzPC+q4+T6kudix89midFEeO5c+6QBt+Iw6+cWE2+A9YzDEQRN9RjBSUyu4ffTfVOvqptGOjpU4t4B5vnri4A2q2xpU0VI3SU0oUandcrXFvDGvbCvu4InS7Kzylukmiln2Ls7v09dcJuF5A1LQrkUdrVYyPd0fumDTBFYx+wlDoVpZCwHKLwdaO3zSR32A4jyzUAl1ztB0G4vSs152FP4go6SWM3Ds3HDIH+/xVc7Sa+RMde5t7erkZ1fTpHcrOoRm8av7S+cXEn9uKxMJB2lzG7CGcmaAZDm849Oq5FXfAFb/lR/JMZVGqJxnE6fe/Sp+Gnlv9bB6nAKEpCyssOnT7tq+0yE6DRo5F3knPYfronyzjctbx82QeZxh1h91/rodXw4bGIWXHBBXUnn6zDkMCaq/cYFVyGyfQPnAUywTSRt+18cdbJlyl7ZfCUmVP62ZOmMvSWT19f75Z5apJZPi3wVCutJ5Z11kydS76X/2YmvTisKUB7A89Qy1JFjhtVAhWRUiEIQtDS9z2eKdygxWW8angF3avlDvSdVzS7/2xfuysScMnEjw4PG/y9+npdcFaTkvmkqLflKmnmC3YcN/EwbvBCTro9q+SC87MrzGCVYoqawADcxdPZohDVlvq15ERYGqx/pI5QuERYybKWZ9JDZ2mvsrJTteyTnRs7hBjpDJXueLso2oTX7QWlHyr8+i9ALUCBcNZPppAr3FMjeiE64hN3dW2l7LKQQR9e1kQEygMoq6eG2uwNMQC+DObF8rQMw4jdYl2u/oYV6IBsYOG/TqJQg6J7cuQXNcK34SZp7Y5FjQz3JmUNRVHY49/L7CxKJZU5eXjueWTAfp71eBxFM5BxQkjJR2EIFAiIISNSDzcIPviecUsu/fOuOlE4WPy0vA4aL0jcRb5vaQumnd6hG4qEAShZrGAS9usHG9/gI5gjPFxZxo/RvCqrRi4PC614PKRSNckMDajpqwx70C26a2fSb/4AD8a4uHLxlnGpOmYZhv2O7DRz1xERCMcfEk2KgjHUE6osGPmQPesgfJp0Prt3i9mByN3m+5grKFaN9ci2lyRg10DN7gfPWHZXA1YPX4n89b3Ww/2haZQEdal3/f1YEuEnWhXDFuaMaJuZE+cTUeG62y8AUh3/Jpb/21LxSDOEBJ/HsbXk7r2Mp/H8Icb1VqaoNUgSeY3OhjiOmpuyFFTNCcNbgxCa3XUFB/+5hV9PQCwv0z+5L0Gp1yDnWGD0zTCiFKIe087xrGKmm34ahvyyYjGRRLhCFOBbMDpV2s6fziOp6Hem3XoPfZSa/o+4DxsoKS7IbLZ8DFa9xrbHDT5eUUgAS313T+6tI3ql/SWxp9vSPp2qyQFGwpg2TPpl8kOPK6enxlClqm1skhGPTEoP+v6UgWKmovEFDJmOY5IoFCY0kI2hugXMGGmiADlC0OF/d7KAR6MVIS+mLBN7w9zphSAg7iqFbdnsc6YXGsOFGVGO63UUZeCSoG5/fiNISmNp65SUAPqZUC+tt1DWkGHsw72ZJuNqCllIr12ZLNOEEFM15RgjhoU85GvM+C6qK6RX1SPbZ1Rz+9XkJJ8mpJKgiPQaRqLJnCfq1ZN9/4rjclQ7SqeKOyBIE0Rww224iq36eXRDrRp3xr5SuGII6yyZuF0/naxRAXR3wa5OxbZpMfiPxmhxp2BCj6ZbW2WhmeRsDqAtCidIE3tEhvQDnx5agarB+1wVoYegnccdb3Ej1E39tfMBzyHeenXRIaBF6hOvvDPNlD2qJx8kbjE0hGJ2aYfNQ7Fz6taSQ0nN9H8Gc/8BqJFtEbdVukIU5n2+5o61qO9WtgTTLEovEK1+qLS2xzIUQxARRQNWjDWFPcjOlqto4V8RYUZbskYC0ZlMQZsP4L+Kuaxbph6eMN9wka3d/sJ+h0eBOIajxRENOxjxIheiMeIIFvkzmvU4M1NOzlZ+eCdis7CaLADRgv3x21foTt4n36HkfQa+VQZMR142M3WvWBIPyu6Tdr2IEcTucZZ594cl64EwU83Y/zSte8WX6uG+ygoDOTDWjyfPOPTNixVV/wKmU+enHNdOGn2aBV8YFv/fAm9USbbzlUU0s/ZUiSdkiFq+3xr0leeCq/VmiJiT/fUdc8MHwIQ76nC2qJBHsRUkUdqOUy0/z+iHZ+JsW3xCNRxxi8fmqEAhGXFaL6XWGOm110E7PCD2e3sOULbW6EIDHbHNAHGdg821IobIgsth546b2tUSa47Ezr/5GPPDGhm1exqBkulH6ZwmcohXw2wJlknyyKuTZeIJYajTZ2Fy9XxPuf7x6zNQauRGrF/8zIgSmNL4tHdwcEFZqIu2OfNosPGHlLUzys1ZLNJPsMlTuHTO1l+U5wYpTS6UN9J3MoVy2XpZnmyoV2q+2CeLhsv2e7LeDptoVYH5sX544phqnHIjLAciPdUZOvfL1eNw1eZXRNh2zhum2au6jpWeX3P9towxRg51e37ZHvWDvDAN1gJ3xXvOYWuMWd4GhFStOMPRlAs6dncUFeHUJXfyfC4fPasC6njPx7DYLPdues8PuWRiMCAw35aIgrLGic7lW+ncPZhiGZtAZk1MEi5n9uTA2k8suxp4tdogiGyZ/MQLaYQTdtmKR11NVulYYf2RPCwTbBnG9PxF3wxToYR2sQ6b7FU6H1OMAvBOtwhOjfEzX90wRVkbQ5wxPxAponDruq12GhGAdEXXUqzMFhF9nUaEY0DMI+1PUI/NVVuc8yV7xuVcD11Opz1epODjqjhasN4K+RKAoR8T8Vem5qL/6CBHO1QFvhIqSxTTYgLw+dOF4z6fcpRDN4f85ztE4vgIPfyVMPBZlK4+Ku1KguaR6o8EiPGt2bzkirObm/Lw9IMVsNTzWhp+26G2AuL1/TEbKc6whFpVWyinGYPU9ughRxxX/VmOYobCmQxzw1t8zfGgKSFJAW3syDDw8GB0mKz195f8DfS7qJoKcZ5mfPhQxVIq/fSTMtivr4pbGZFGnM6XsFkL4wN3nc01CW2YYdjjVwEsq/bpx/CLjZn85zkJ/3rmqIRpxxk68qwwU0yXjidTGZYNjE5Gf7tVVMEXTgr6IZH+uqT5UmRfxLwo/kxCJl+Izic49WO3jOgI2p0fPyNqMF2y+gJymJzKFUpsqW1+83wVJChHcJfCnPynjk7mhmED/0t9+G8sdbnUHBit2pIJL/N8uvz1apUlG0z2+MiMj6I2rX6Y5jxJk7/njw8vLdx3JRcLj5WbUO2H6a2O9zs4MdXI+NP1YClVvJWeV00/VWzVr0FuLvmh/y1e6hbG2vveUOLhh02r/2Tu3AardGKyfcn4N9w/nFza/efBUiK7HMmvX75djVIUDfNXJsKGPNx7xjGDQnxEjakQCBVBK+xRGIA8PS8LrbFftNSfVbKEfnjn1Ri9pDOTaOJ90wQoF+AyaZ2oSEKS/bEuNUjFqnlebP5Z0Rug4mwD+487Ru7VmxdLCO25RCgmbSZ07Q7fy7fmla2YUg0+8ozK+D4LZG+KGBX3JCsb0RVGXeA7UbtsTauJbpyc2YtbMJajdYNmwNs6OoNqHPeTarATBxgsogDEuxV9zLo/dn7W5WGOagvH/xNzRuBTb8EgGxR4+TQqPEtBH0/SPPyGI2acL9VZUp5zuUSTeDgpG/Vv+h3XMqI6642I5fjf9vidnVCPZ5ZQc6ExjR13eTQxsKkWw1DGUa5B1tyu99vsQVYKRhKwnv3c7yDsOcLs4VD6JET76HyHf+R84BLoAPWQjlhl5wavsQvKy/kJPNYTekAzNSPl7QnawasHyDejrsz4cRUPLjMs5nYI8fY4pTseYTT3Ugj5vp7j8KpRQYh0lu52UXgKYCeghFwtWDFBYRpCsi+DZakpG2X9bBry+f1gGZI6illYzlMR7/TnbyL2IEhwt9LhnoXpQ9rDiAOn7KPcasJu0XylIQMdKXzhcc73z7AqG2YkwownvT//ESZEWj8DRQcgVXiFvXWnZAhgu/DxCNkaFmALv7dpi301/Cq05Y/YmZhX7bE6ccfg90adcJxcP2sgDWSoCBU5jGyft35bO1/q6Zx/5QeP+CBnXT3yV75n6wraCzeAXZHeEt+ilJJu1VzLGEKn9d/GiqB9RxjPZ0UHdK14DR969TPdMwy+3rlMkOgBlFUQ9bWz5MFBJWIy/zUVwS3kzrkxedHwR6ymSmB7LY3ROhUqafpDfbAR5jy5vx/58qAsJNepK5EfY+tIsBm07HcKOV3GHH4nv8UZ3/MC8OZeVb+VMkx6q1ILyyZPaTvpeIQMIIPUJSFNzZPiImRT7AnYrXkkkLUIpSGAZiUim5Dngq7VSioj6fxdA3zobBUe9AOXGeVTCduqJfjHvIGY7PjRgZ77ynuC84MDCqrvQ1Z6jGoXSUyT3hd3M4ZAwRerMrsdjvAO2z8rCNdemoF35W1lHB91JqrKWeD47xptDk8nzwH+EHbHSR6L/c5k85UdA5NBcsR+Mv/wTji6Th5U7k0bByy4meXracbdwZxEL9MWUec9xsxOCZCSjXXJJ1mXbfmKPTD//+yNXx3+Il0KptHKlne/Koo2FPCTxXnwNGyX0RHr6o1dw6MQt0kL2c8KnYcSJtaW4nGt6QqhE5tYlYRaabUOtze+e0bhR7A4S3TWUs5L3sMfDpTvWSGRkSKRuI31bElwuFgbrB1zqb7+mPPZi4oykiQtwUU46RKX5j2Q0IeeGMJw+jbpGWBEX9teNCB4M/n8f9DyWHmA42RSRRtOKr18Kc/dj8lLbjfrrGqXR9/LMZQPhA8auz3BMpmVvrFGRoIBbMHuIazS7oNUPYsrCLTJiVIxy1wKksZwtkydiclxiIWMJagMA6BmBq3wtzPNJGO+c8lRP8Upue/UZG3x3BMETyYFwX1rYiG48ju0McliSqILbeim0VU2ZKyH34e7LA+yDVpF8E9O9A984VWmOYKJSoTw4MfkvNAuvOWiClESz/yWXGPa9Ku1FldVsRF+9tIOUEa1GBqzCI4lB8CTmX5MD6gyd6xjp7IPGux7UUFW9SJKS4w/wLd2lQRE4lWyGk0nqh1pObmhZmXbTYX2Yn8rnSSw1e8Ph52EDVoe9Z1B1/a+RbGoAd7JRjuFdpE8Nnfo2cyicdSRgYY+vyY0h2Fm8RX/HnqqyJbgg771wR1oPsWFPnPThdswTuSrhhzJ9nFBkD1b34GO9ywN/AIEZnxKjA7WCvAEaJm9qn/38PCqdMUQIsOMtvTDmrFYrFvhko8Te81jd90lN2p3NcZSmsiC5Sn1B+pF6mx8NISuuUBEHgK/3g7Mp9NEg6xiJkOBA+NkZ0w8oufcVLmDACXsmkbQ5xlOhqjILUQQZDMuU0ikilbaNJC/eDu3+XZtq+Aaw6ZeL/nQQhUhxjrtGb3p41vl+hCCY48xsXROLSHP3tGq2aNApug/LDnWhSVtP2k4rSyexCh/n79rNefXoZUdKtpPoi54cZS37R619kheC//3O+pNKnzGvpIy7fyguLtlvgGjzoLQBBORlpGhgiNJ42mCEgNUFLg8fq73p6gahfAd5ajOmKtZ2QBMvd09wwMGqCU8tPvdPEAN3zaZZnvyH/R/3O31QhPh93kKCsqpxVx2FBinHTCvtgKBQtvjhztl0Zz3y0xBJ6Zsalext/jfQu1bWI9Edbw4K2jLSiSqbyBpqbDMDimHNahPF456pPo/AowdR3M0zIS0keNKroSxbtESo4z/POx7ZpwkYu/at8rDFdI9fFecm4UGR0W98ufDp+vS8iszB5ehwr9yYsyJzq1ovd8fKtImPvZaF7T3mtFXTu8a3XQABf71gGq/J0ZBi1D1JI2Wzebx4jJzc4AYqkFgUcO43woK1663cNdwUd0ByHVPAozAnIUiwigQRIwfiB/BWwoB+270ZqdRYXXECDpaqezEHY6ghxACdv+/pPEYvpcyS615thN3JpRzihBFIYv+8HdYcgh8z+Eq7jAUcV5NyM2JY/P4Qi30EXCYfdcdb4s/iEsxnTQvMGrzFysUVfEjzAfe8vcRxt5jMVa2GgnHhRNqi4JnjrNiNBXRJbf5+3vrnx995Ll7Vf6vRJftRKxqNpw3mjxPjfXVKqno/j3LdrJB3f5zXbt5ZdEUFoNklNt1d1Dp2TmCpJ53ZH0SwVIvrAcl2cUrOvXUETWx3QU9cl66y7cNO/QFlRbTnBLS7qJug6E22NwdOlZwF0LtUpvOJm6gkmQcv1wwouQs/DLRfBqIdWm2gE7zOIbg7A01PuWuO0aAUCeDRvRb1zOzseO6GSEunBUcQ5EFX+3McQRvkz+N2N3fD4jIJVoBZTKSUjy/ItPYRgUNnkONmoQBkww4j7wwA++gKPZjy59aCR3OIBladerI8iEKJt4RqIj16a9s6DL486fXQ5b1JbDaV4inqvuQwe9fqJCikx+CE29XQH9JYjoGbt04lJ/6zeAQmd7TcQNwzjiZKXYyMe+doAu7YmXwc/4ddW/d41SF0ONQv4Zpg0VUuN3/aJ3KTlbnpDcmUuG/se0ASPwmy+lC0a3Asj++ff6RIJ1mbxgNN8Gmr/xpO8VEhoQwhFpCBh2YEwJ/3F/Kq1B4vGEm/wBuISFhmdbQoCmfOrpYxKrwevYc5mg4Dmg+0ldDpes/K66nC/XoCSehMaSnmaAW1R82r77SgFXnjqphGAXA9dB6opRkTkKMiPVkUvtZWKum2G9FCifXzz+03IaYlKVD2Jmsv3LgqAVMn8Bu+IfeL+eSerubFc2+dFR9wQ8WloSLtL2GWl5kRh7cBqxJKY3ZSy2vv4K4VAKgzi6mHST6WcbkgovJ2m6F7fQShx9PF+d7pZ0cFa4PVNyoALY63VMXoOH7/ItK0DREhll9Sx4PqgMJ9oqdfOCDrkMXhAT0TTtgS/CoiwUGUJ99MNtvo7c5q74kJdiZ3hPpo1OSScm6dczsV2GKMmJt7uyQUTJuJ8iv2n5ik5GjJnbjO5vyKVAYpldNcPM40bJj5+fWCiT1m21kK5EF9oeWWTAujomYjyBP4QGyROWUhGAMU7D4sRHkTBepzoQ04fZD+ke2CrJ1pYf5/jrCLzd+7FfqRqlQgV/OpijASElmEoxt0pZe/vWVWop91ZX9Mb7uqd/1+oGWLUDi0B7mkLRMZy8W/30k/tAoH95aGv9QFoR/Yffy63oG6ujWj6z34pPpa/KU+B1q0x6pE1/GNYiZOlN3ZEmlAJ7bu3hUNk2xIE4rBzOZLOymwTPCQtXfCU2bueWOAQ2eN9FisuA3N9fm+iosMMJoGUFTUyAVW9oo1y+sJT1bDY0zLRbLhHIT33rjRBNC4BOuZGy6x9sJMwRZuGNB2+Esl44h+jE6O6LcNJE4ymgtL0kQsnjwPTmWxktYuL8TrqZ5XiIHJQTVm3JqCn1C8tH0G40qseSM9XirL+QH+Lf2VGWiy13S790LLRXt7avUHObxjrnV1oEQiRbuODueyvF7AUGFXjLfYplN3Oz/xtvPiHxBYzNjRwgSULl2uYJgjv4OD5Bs9Qa0cf1JQG5Pi8sgIOqQWWYD37qSQ1yPVGvdO1a6DM1fWvpSh2wtjJInljCs6upPgHZ7Aq2mIYfWS62q7g3kdLAATlwyinf6qKclq48NeZPk6rOAdcqq4MnGrg9PXreQbRbsvvWLRPn+to1mbF3Emv3rW4T4v2pp9OZ9klfVvyjuc++JoyeXBsv7rJAdHZTXF/y6w53u2HQGeBrU4oxGFwIDqC7h8k5t4HV3ACVvMhfSeVcceemwKoPJELA/UM8XKXjR5BXineJQ6iYhdLQQNGqhUKxs/eHt2GOzTMSiAS89rts6PQdjVGllNnrk8JpsvORHAR894R7fY/IJrQMIUzGn58znGI2nld2CGR/2Iy2Qbtk4bhNvBmwhrFT31wJgjwU41SDBq9mugdROuK6cHq6D7ddUGv/KJ4rC7x+0SZSgcsGDbg+HjBewmb0i2ugEVD+/UaBCcCImftDA6j/PRbdSlooVOAF+4eCPIZEYI7A0OoTMqA8xHlAyNBpEL+azIr650GGqkvrYRbuRQkzRRDlODuTV9BzvQlViVoYeSeMXSlPKzrzDLqRyHRYtPLo92u+jDwNr5SbdY6Me6tZVY9yHp6b64I5tl9iOTWTfgrWhNAYlvtoSwtvHyvU5u9icqkFnHl07IK993T+4oNmd1c1k4eJ0nbggCoAwP2zFC+IfMtd+TCh3uuWCbZsF6fVFdMUME0ArukuhpEpB7l+P28SWbKsCPFVmeo+9xp2XKMEOOHPohSjfGlQznE0jbE9TUQU5xAcsXRfih562AKGkmIyOdbNyn3zHQym6VVbR275GJ7dOCEtJ2WbLhWgRmg290vg0DxLpIICyh+1qOQvx5QZZwj3O3zpP76dVYrLk63qJB1zi4Gi8hzxJ0Al4SPNWnSV5oc8donMggGPcWdt/+MZW/i3p5VYT1m+xC77bMNm7lm/bPfzieQB1mZeCHkzoRBKcNVwwciz+yDGBoFf72lRES8AWeSvTwDy8IFF8xFqH4eH1axmzBbbbUzafeI6a3bn78D+ACgAVP0QKKvVaM4yWniGrgrl/v/JwJ30BYwlDJP9ULHBD/P3oYeIW736WHwqjtfc/8ygDUHUX/RFGt2D8ZhxVXHXdhT2V1C6XOGGtvUTMUip+RJ1yGVtR7H3e0mf55UvEjHkx1IpLgUFS2MJf5TzXLe309Nt6pUjQC512Punfm+dQNSDUEnSIK7nEpExp9MD0dis9SwAJKZ5v68/rGW5RIk3ADHUQiEAMuPJ/SmOM6HBSqJTOP1Pim/40FtV0ANGHiy86+zPTamRuom42BeC0bU2TQJGiLt8s3M9CdnkIKrUp9zOAzcRt9MHMOHSKGTlOhP0t6Wt1VZNm6QDr12xcjN5fJuLXpLs2ohWE5zzhklODTGd/o3C/KvjG/oMJob3TT9fk1QLJRQth97IBE0922ns/Cm/KS+ywT0bhaLDYlxOmy/PeYIXlDwf2egJXlqQJyzd/pvWXpf9iAH6bikYBW+GYVmnMXcvMWYE3L/ZRRN1xwVtf/Qj0DXdjGJCDGnuKO8toXVAfCWYjcR/tttlgR/J+BTYPF4h9KZo9MfCHjHL7MJtzdQ+HIDyFJjb6i7BtTOp7RTP+xeIxDJeBGWKEJ6GvdHjTXlgQutbFsBfSZ8I6w1XjMTBUf7iojtDv4lWn8CpjfY0k2qr1GdQUge6Qi8lSUiIgXdbfp5qj7M0SRamg89I+kA6pF1ALk8kodV7MBMBmr/T7gKMUrPHDs45M1XAAN0O+iPYy1PTcXEcV3Xyg/Cwmvkh8QyqlTKZAIXhF1LO9HqpGEwDYBsftLFCCHMiC/pn96H+h1yOnMeL5YUhNJpy6I5NpFBUNCvJ49aWCU6WGcIWpek6L09t9a0NFy0Ykd5KBUQ506RDl+w2tJp71dP6Yg8nOunL5cf3Jmh69cMR9TnduzJ46pkpZesCbuBrHmz/Dr9Lohj0aqNdA7uvP7rYbDGcM5AhK3aQUw2N77gl/ECuoiKwjF/QZZkYDh1LVwTEKOLk+dmsg1P10SYIV7QHN3O8X3aI+cvQ/HRprUnEwe4gq92AdYz+dDl7TFgDw8sR9R4jhNcwnuPUUQraW+jdIIXyNIodGvRAoeUJNrM1dZHE3UOgNEVovdZhhkY1cs+lcNh7a3TxrcOvVqar6pHuPkhRr4eoQ5QQbBGU02MHZbBe2/wASxDqbZu6cUAMBfSGDl10t4PjvNzo3k6FhBDtNjcjv8d4cEpGIlygTBgOEMCH+rh25MQZa7DcBJOgoe+xq2r0RfMoPAm9QHmMHGIrpBT8mqWceGz3TdWNMH0NdwYKHVGF8agdPSoD3t9EpFGst+8FZbKrZdv62OJ8bPJKwA09EsIkxuHcewGexSp9xGuHT6OWxnJ7xLtBhavs/C5f6ud2uaNf/1tF4gvo7BOVwR3C5E7u75jiOFAwch+gnm4jJImamWwveclWCdUxwoJDiO56fOROEbbvKqNMhAG/Immu/AY3x5kALZJc0NivYUExPRzxD+gHeWiqj3TT+OM/hco8M1jYCrYedxuekWpbWnVYUKuDqwK2n6Cv0hYf+mudxLuf3RCSzA/CE+T+72GvqUfFvPdJrk+KXggtg4FWMElsjL69FlnGWGSKBDILvtVITmseA7AAiopLvvZM8Y+oiCY8UPpV2lFF6x5+SQdQ91s0SFlaX+LdbwZaj974p5YeFkqiIeirHsHp+3qnb1hgauDRC+SZp43BZYZW/6rkcf9YTO8SEzjPutsxIDWc8rX8646OH08bra7RwNfXvdbz0+bSa9ogQm7pS4LFI2a5o5NYCEVbOhieCIs7w9C15JVokPfBZvPQcidhLaGgcneKzLkt8VdJfWbSXR8/z3Tr01SusURk7Fz6QjcJt0eG2qjEnbpdFJRWKJ2oEa93Ax9C7ME9E51/7JquF+tLh4lqVorwlfpn+iqZV55+P4ZCmvM2pf/3Sgq3m/QupCNtChOXli20mVNaLh45gDz1GuM8Yv5cGCiK6mBtY8VF9fya0c/rLwx54xznBRS2rl14T5v1SCIHtXzquIZuZWmn5jmW865YpSsY0EHipitU/5fgKJMrsnUB+/EBwyShJt50alCupw22lm5A51Bu3Od4DM1CY1pFjfuQ1UbusiRKyrPeZJyDUr2GzxxHnxbsT1UFYy6XffYAnPOZvLhDHDJSW2wThJOzUrT0P4HymHqRdUv8Rt9A1YdkrXKXOPhW2VBrRkF3KiKceUn7dVYt8Q4wuV6SZMIxE/fAw1EULPXMp4IXpQJbiuEdInOVRLcRblstJVDMmOJ88qBgH+3oCmGmbWfwi5VE8oNklg79x2rmjexraA12yanjcDF1s/ABZh2FR749phIHy0xjAWmpGU6f8CFAfbHa5v/jDaSPS2DKv/YuGXiAruWN3z4MgeuNypveZHwWb8/qlOnPHbmWraCndN3kfOW0F8DTZv8S5fqK9uOul2rB+Cpm9teSJNazFPL6ir0zheihrEmDemSIUGJkq9SwNJyqH/XbPLIx+U5/oQfrP4UPS3D2CE2Bl6/lhQIhJVnuAN69tCS1c+GiIBiFy0ty9g7Ji30iUdhJpRnFBTC7+OWVldgXztRPwJnjj2K1uTxPVSq0PLuDcCEmBo8BOWf8ERRIou+nFEOuHphSyDJ6dLrYP8Rbj24efEEtbnaernvYVgPsK+70HqECpNvd79n3jxhNixbMMUB5GYQ16l6gJB5vxbQL7c6NRoytx/n/rz1khZR+I4avuZ1of9Ydt1WcoiMaVHj/glRt9CUeGha2esG24EWCs1Tn++2iW4z2eFAdYHsWT1HvuzNRJf+1YDQaJ2tL5CiGJYwYX3oawoitZjqrz0pQhPp7Zz+DFsvUfz2PR/4o5NcLBAyjSS0nERvq2/Ph1POJmlZAjY+35r3CojBt+atpx+bsqHqT8s8KRBDWRQnl+ZZ4nabtKM/DHLetYOXcBiGKyRgcYHLG6zM0Adacku7BLDvWG164ypu4XDNCok2ciXJCgj1NExEG+vch3kxQZa0LQf4hSWku60io6T/HkAy3tqhn9rFGlBu7UBQ4g8On+C7IJRqoQlOozwgdsZfpr+zXtcDHyCc/ox8LvXmFgt9gtIJqJ0ilb3uJgCPp82oSr9AV2JXKW7P5QXKNYrASAOC9wPt82Arl42kfBAA7hhaZxR4KqOJQPKXU4hMfstiS50Ki/gMazSV1YEiuu67qkQn8MRqWkq7p1Saiorje9KLC+zFwxtdxPrkEgM0e5je6Bf4JS0lB03iua1PzshMjjoINGaGHBBGDJC1AqRegpudVVF+9q7fZ82ZP56885bJZOjVL3rARBGDLP9wGnPngmDHnNanGYNNmlkSrbIDs1k8H2EX7ROHbOPZr6rCLDhziV63++eQUEmClQKUvKbvstKPbOSe/Q9Lq/qkrrinK8G4s4OObYH1a8/qRlvWLG+4pBvTgaqqx2G1C/9ygyfkOkL3Rgrks/K+PgS7Hcdcmha3/q2ig6aHbHHdHlZFf+1dEba4ysKu0in+t60VC7xVg3E3LfegVa5S36ecfKSn74JTLVPEKeKGJ0vfnr82Y0RQh29GADgDzvnMlA9An9i5WR/4mIydEK43O9HSWc3Kw5Xelly0FC1ptqgBNXQM4L9i1tCV9kWh9/Jl7K/B64570m6eg5ipYnbSL4Vtx7TcQqsumkSyw8CMYeO+7IbgNS3Pb/o60NfsGDiEKw4TOYJ/uqohfSdgrBTji796Ju/OWAGI6l2LrAFH3gOLYx1AKuQIE+jkTHAqbo2v9GM50/A1uXv03aSVqDiwOvQYWimopaj5eb5G+sOPC0/y8JBCcSWhexYj3kCbsurWxYoNZgpeoIRzLNu7cg+4CVn0BXRwDcV9L0lMp/3cILcO5QtQuY35Ij0PBy1snOtKY2nva/5e76bJ8s62Y5IMcWKNi3pvojvCB7Na2mBHPCuEdLSckf7oDAJtW4Bse+XLT5mlXPylg8bIqGlNbMxxIRKsTyG7mojX2OFPdEldeAN6vaIYgR2REd/AyXqjlPq/rW13t2nNFTBg0j6SckIwb5cN2xBaUjuNQHgcc/5XyFuWlJY2Zp266y7doZ5G7prGKd7uR1+IyPDIPpZMDnRnkAn0kjeg5lS6gyFDztHbtuTo96AcpoDCpb6RZBdIzQq5o0rfbc4TOjBdee7m27TRIUS/WzMKh44fJS/fkhe7WhfHVinTSTP5k3T0xgyskfUtklQvcVOEykmD8fVubM8phrcaXg+PdOTDIK7zvN3SmpaMngaL95kjMdpz70+lECQ7o/jorbl+93NWX5vqX/gkzVX6ZrPSHuHGXCYUyPwxgkkpHiU0oPqdcdUEjgrjzHWMxlsCzrcAO8BpoPIh3e0NPVftc9xKSPnRhuxaxHz8g6tz1d4brHSa9kdgLlk0Hyms2JE7rK4NYszpdzxEmIz2ZzQioVBkVAvhUtorLs1nHB/2+QzXn0kJueojONFdb1wa9bAxP7xKNc4agTC2sSqMIEzo6yvPnpKqcZ8kPmtjFrCB0oPBSLTsgZPwTC2/zKHKwmNp0PlNEv5c5E1BaYJq9quRYZFnFjRvnsHzWcuFcgV5mNHlh8yWV5ELb+5zdtq3FuHRKDW8VZBBkW58g0guHtjLB6j/A25/oJnifYkzgMgQizZRiEZl1VRQopFV/qKvdVF2cDCfpcJdJ2S1xOBgPICXC9kHL3jeaaehozH5mqvJpJTO1OmU6MaOXB8Fz7aQUm84rT6c70Is1K3R9yXICC4HS8x/lzye4k01Sj54HYsKul8lMMPEbZmNA4a/6wTbr8Zyvhj5jkSRHIGbCRB5B6mj9XoIy7Wi/zywezde0q8JYgG4v0Y4HKihrst2oJogW4EMxc5mDkjVfxuOH7Vn0dx1KvRg2Kh9kfFhPE9CEH/uHpTfl1+6PWHcpJhy7WuCtX7JX/f1kEnEBbIiA8McHBRhhbHzIH/7IzmxwfwANYdHQqcUP25sTcyXXbfWYSe5WJ6AiuvegKn+EI4l1v7qBANZzyKb7NQYpe2mVCqSEyYNkZIJaUWyfSxFG5G4PS3CGVyS8clJUKS8v0oSG0XCmxctMgza8ntXr6/Th2pyX1BpQ9PKTbBdVOQls7XPCkAgNHkEJZwmX2S2GPwNVcMx+a8jOmDWldM+4W2O428MY8UU0tK0Zb0ixqv97JwZAD7RzWDyPjI9k3QzIRmzJimUhcBV3CWraVOfb1+uJ/JG19VgjpG/eAnvyc4pNVxCG0JgXKhvBjk9KjbQizlDouwRuic4PzQvrYpAxjj2Nun0g+9e//CiCngmpKQI1O8P1Z7QAUvkkGhVAu8dAWsdHrp5YTDzDtc+pirnKqbZth230NxxyHnPdKJ3/eYNlzJZU2EQUpumjVmrYMGoxGC4hhoZNSdEXmb+kuib+Z8dNYCrGxF3eyhgYysRymZiliBdlugUo8R5BFwfy5ZD8jQSpv8lgxS7RcIT/0hDArFhL9pMlkp8NfFwU1hVAf4bJctBzfOAvCcZdWF13qj16OrHhFQ5WuGhyApI8JQ4o9jHKTC34ZULEopKaBynOi0UBoSpvcIE3fCThDrCdMExGOJNwdaoKUxkq1dEOWH+VIHidm0R0fwC08Q4TXyNj2PWkUq4rD317CBtY3+XRxxAFb8/kmTaHlt6NoaZ69vYH52LCDiM9v/M50TptsPkVFe7J4zgmL4EXgA0Kk3wmBOgKh8qEzwb6JkAhDoSBtfy0p8Y6r75gc2E9HBfkZgYsC0N2q1bZdbtAtQ6xHVpGrB1RUssmqY9ZCXnuAKp7K0l8pfGqEzfFCczGsBP0QRyFrNexV/sw84Ji5iAJCmTzP49Y4AH6HbnN5dwczuXC4XjaruIJoOYheJEI7mx1SWdr9RmZKHSq6xIUq2Tu/6t5AUFbF9N1Ae1beJ3aoY8W2+nMhJJZpOlX1h7tzci/vWgGeKTrZqLnKAkvVLNbB5aCbBG3XfysgMvk59b1hrXpAcdWlXshNbjkOW9B8ManaAF/PX9K2WdUE4yjBcQFbtq6d5qp8TPY/NqdL6kuemNuBUtEmNQS6NR/b3UaUYKeK5g9MbjEVw5ByUuUYD+vEnx5hk1zYClnPzQeum6EqBz9suB0kwS7fzjuKsW+wOyI+hs9JzKQ0tDloisfOovAc5p2vDBnhYcQI8o9pv92IKTqYwcoKFe0MAav+V7XTG7o8Sa2/k7ATdo3nFXjKSCDRbdkrrmYlqzgzo/OeWmciRBXV/nO8MVCh46De/tsYsttLxhuWeStXEpJLU97eQRS9Ha0skvK/1RSnmKXZkTKsY6AtXst2aqLJOBpAV2LvmA9GdhxyJaoZQZccRYaJ7LJ8PrNUs4Km4laEUAdcGZrMvyEIJxq+GK3VFVwxSSyO9wMCqoAHwuC7WowMCwGYJz+zmWCjr7cRd14ykvJYIjkrCSCfDJQZ2xQhKB5FBzhVgJ3Hq/z7Mqo4Ap7aDQv37jBctDvdVvsLlJce+N4JnUxvGJYqJRInfxD/bm4jz+tZaXTfUZjDzGI3np21aXs6Pr70r4Ul7EiNFPSAPlZTwsmvONoP1rWZoh4sG1EeuFIiJMIkLrRhy06hno9583CLQFfRIULwf7YeSstbKCvPKGnE6q+AoJdjjA6ZdR9MDHKX+y+OMM8auoCO3kEhPN4VEP2yw3OcnS62NsNva9b7Sl0ctjsmfenuimLPgf3rj4nOrBtOrRJy+Tuf6fIEkW8zuvT3T5/QYJg5ApunIOXSkQFx9v0zya9qfBlTkNQvjjBNNhqIoN2FuJSJ/OFB4S9R/Pbg3xEApkcmYYQx0iB8k5d4Z0gBmhTobFgcYlPEZdGlvfiBLWkYMkwcaW8VSf3l+7Uk2ud9Lxl8un91JDCCuBQ0Xl9hPn6PVO/LcictyEIOTEeJNbmcEL/HpnSesXLvNGvmTIUIfwvIHGYhAvpIvg+/o7mztifGyfATGbswu66JkhzHUhrakt6HzLpp4qRjlqkx06/xHRy4RsBYK7HBpfpuzmGtpYuKQFyjuvUmdfx7rKPR2dFwEUtqBTQkV0quGp6xqcCki9R803VUG7QJCwLgsPrEJVpXY1+o459omBctV5pv3RqGYvjMAD720TjwhtOw4nOUaLBAufbXN6pIJdFso180kly7h5h46WpVfqHQZfq9ZCHTBo4w60rREr+3w4pvEb5h87sJLSAuFXDxEpSbTkGM0a1+ijv/pVRSgjvcRuP2+R2hyUUkjl1z9RxRfwWdIw4n+2k7jZGj/8IRDCwTp+vN9HBmNZpwEeUke2LuhnQhJu3wJGQYlf2rxTFjmDBj5+VVsMMiADI/gWRTyRRAy/Fqm+k+oCaKFM9htkQnucdd8Yb0Lj9mM2UIuFZO1Yik182Smpa/YA9ZJ/pNPQLz8ww1GF8/hr+XPYDMeR002AdfMsH6wZl5lPivMcJ77rjQmVvTdfP2SkttT3uNah3KAmDUtJxte0teir4L2u9OxrfinnrckSTwxhbRSG3esy9gL+6v7JVFLH+EnpqILI+a3SY3KYqHjavA7nWj0L9GhbnLhjAhdspMX+Vu91pWXLaiyJyCdMtKbYFbLqDqucdN3Mcg57ZoBCugkyaLkcoaIDK0/5OTVt/Z7epwOKAsQ42pE4i0FIHbK4iSndQ1qV0O8udEib8EogSngjzHxQLOyER3yxn/T5odpcAJZIjp7c32Y+w4/7uVDID+92u3xXwY2d109qKNgKos8N+1SIu73E+XUCKlx+KB3XhDhFAFmivP64SQz5emeFbcRvAwUa6flMCPx7j7FvN+rZ902xAF98vifPXgqKnmSu5xvKyjjvOMXK3cdKOMa1FwEMnYxUFyQV9JUcnu4TDKTyuroILLJy5bwKrDAPlbEs31eXxeYk+AR3VGecRLqeSUggglGrRZtMkkl9ixDhgRb96zfMMsOQqVu9lkhgMisramIipX6QJJldmiYjCQIk5EAzi40Csp/KDMlVzG6qVjzi1AI2s8tVE7fygiSp4dfuzrhcT7ZVR/L/m4zb0ZWOsa3WvzzLOfaScmH4F8pcLDxs9riIsPRv7fZXWH85hiv4pi5ayjLa7EgWCRondew8w9pW8BL5vb6DtXP1Z2Hz+tNL67y++xVwteQQZL/ap8UVctKA/SWAb9k/stK50MwpgXp/yZpgDKusgF3wPP0Xe98UlQU3Ej9Hk/7hg+muWpSegGBLcBB255F17FfjfmN/dTMvZkULMYkZa3TGT3FWKPmABDrwHn4XbXwl+dszYqObsFA4GiWSLsV+98G6bP+42Stlumk3UpdcUoai4/0gsw3lr++1JbsGuNRtF616expLTWHyQI71/BVGnXpU4dF90k5CQz9Nl95m46pblIRZPk4B21CUuD7YCXcDK6VCjnbOY8nL9vaYx4WsFTL6e7hDDibGu59NkP/9XHtizo/4sbeJs606xB5MOJOrMrUmKfGQO8LEhuF0TGCznQaKOr5UmvYZl8/wEXrMEQluL+sohHGwgfPmI0jXljwwMQfkd7tFxPg5RVmK5qlReeRHMcC6tiKts6aUaImtHAY1pIe1wA98jFMSMdVZU6QFI1kb10ouISbZmS3czR3+K1/EiigWjMqWxO8UNcJkZeLMPecSMkWlS5iD3VjSawrDJbVFtDtZupB7YmQQhzpjL8jW3mG1lomu3WTRGihttu5u2tcexoAPciNBzM5e8pMDFuMhrjJiau8VYXCovh6zcOQYr14yxOqNXaIwR44DJKVekJXfWfzGPSRz3yr6bzqykFc5pNUawIa7qvBQHgGn0gn76VpiWmOPQjZN4UJXX+Htc56hCE7D1NmbrOJTF21ni5Wle3IB7EPLalvAooAeuL2qhMKdKVvoi+OgMSqpNxXNuP5Fdlgf2/qyfCFjMBm72nt10CPkRwuPQ9hBYcKcNqh19c18xvUivUibIF8mN61Gf/SoK9WhGH6/vV90Bykml4m/kv9nq2Zt2ZNVv0WrClcn0awvjFkPIQVNblL2hqcjT17kH8knK1rXzjPkOOuqTNhzPnVyfd93KuZUWV9XDJYlO4JcvxPmTU+hKdXnAFF3Bs/b5UmmIQraeGqNDWAktOeFXDMYShc78Ku/cOtuZueR6xbj37rffCVy6Zsd5h/99bUMjomy3tYCxAjV0FXGE05+6InlCVrfgxJn9ByBgPLkq0omjvSsz3ZarWH5qSqLgakAER/SvWDJ86/0IiJh361HI7kcNSXk1JJ0iq1tUqmtHs5bAQAkKeajmMxLReAGGYe12PNZcb01JyFKaBFczsBFlpr/9PP0uu5V+kJ0F/dOXCjII4ejut5FsNPa//X+Xg5SV0qFdkuGsAUt1VB1sQzkgQ/ZOJe2wtr9vk4MimOjabSXgMEHBf+Ohk0oQURWaHbHmpC0Qey3ged5YaT4F5JUZCdhmFyNbQOL1qdV4NLY8Iqx7HLDlfuUzeBPa35NrTXtU9U5jA3A1K8Rp9FOCuA4pd34QYH1cwE6wJz36RIADCo2wpIajMBFI+vfTG2VJKUBWd/K3VFblh0WJJBjyguDqp8Y60JuNSIblYMXFF2w2aV/QGZYxw8n5rhm79Ojmlxscoc6b4d5P2rocY1UpLhoiZvuXJYaadecQ0vnuqTSZQBH+Fxona4BNp4uQzYz4iLI/ZHAI/rqsijmRfHQ9ITDMs8JTlydb+eZkQh6nCLmTqflA+idp53xbfVc4JBv1v2ogF+d0sdJJpuwcNkPsiS6hHLtigpqmTIDa7vcWSzQyZXHPt3w/OBmPwVFbwTyvuhgJVKTVzjr0mQdFjUIHsCXrZLeO1h710VFN7RTcOnlvV8X5MuWopbvNqhvxWYU5rbEcrytJ7lB30J+Gq2gIonztdUfF7cB9A4+Unz+m0R85QC2xvoXs00XLwJMo1XUIxv7aUQVW92ezpVov5tHsJXUJoW6x60cPIb8y3O8vanJH5mqFvZjRjLrSebWYRDW9gxv5V4Gx+lRQsdWgvfTkFckjX/KDeocVMjLs95jJHcXqTy/H+u4jd9t/mOmBSH9tSpwsqpZJNgBqXJFfZnOPut0ce4uIvKy0mUQvHKpcVNgcrKf8itxeBU0Kijed+zrFC50tLPslgBKjhGSz4KxAuin2PmgGrxogo/QXKTZYO4SCx3/88J6zJ/B63Z/Peno4nf1XVtCteiGw5DPIQ1X0r0UWEZWLDvFtp//0dXa5d2390kLtTZCQgKAPSzMX19ZHfbg5u4UYcAKZ6KE8ORWkUmy3P5yn06tpvqr10Tg9yiC8/Xrt1eSCiyVbCe/c5fNLTc+dU9N1GjOz7198VB03LZllsHStRvtGnPynqyK3W6ppc1dcxyfgFqt83LtlpI+4NFHbZsaGRnh2A/ONqpR7vh2VQccLpK9WLkGVgUgA23JPHWheVKu41S4uSBPK+NtXGACVtSAGmWouPlzKyx4xUGV9S2uUxkjVXtUD1qsTWjuQOr+etVpdpWBvxrWJhdwyUGfMiXf4aIZpmykY29ZzFMEirc79TTztT142RWC7wCGQI1mOd53Xko7cHI4Mt6iNhtODToVa8M3cgzOCdXj0oRI8UtUPvWDDWB5DmWuJYDOZ+V+ShUQVoXxNC3N+wAW0ViuAy2rzmJulVNrdXjJLY9cS7wWIB+9SEFXq5vB9QAXfJoHi3uU+3Z4Q5vx+rWH0+15L3TW2RXY92Ng8CTpJDskgRzWNNXBjXX8zhMnBjk/tjlxnPKRD47H7rGdhmxki9oRzXaOvg1x9mLzKhwMz1ROOzlra50LeLMqYBpHKFXfGHfGUgIABQ4KwLtH5DyaGHgNAQXP1UO0NxPdYGxiGXG7vCyoUZqzujZju+MtyhRsxhDkuFQLLaHnhRRxYTNgTT1nR/ez+T71t5bhwiwGi+PLYV+GLlfWWQBicl6VphsWckK/pPTevzgy3kN2C0YETavfd8y0GNIj4W770nGDcJqijyt0KG0d+b2jzvUZcSA1v9rpciF7Y7Al+vm4iC6Q9/0H6sZcM5I3SUNs8lhu/agTnNKlhfzQbyWotM6qjcef+LtevGcBYsIbyXYxvhXARXBXaU9qsB1oVCxABP6CZ0oX78JAMxKHu4JGumn7VNsOfIVZpXnGEV6zTuo5Yny3mjWfvHRoH7aBjZ/jULx7KhLV3M/KKZnmbXqssMQ8N1WBtHcLGX/RTFquqM5c7D0bhodJge5+wT8YW9yZwbkXzoZkkQXaacsZJ6HBxXMOqhA3cV+EJWnwkbCFRw5rqmBV33SWIGZYZt8k0M0MvbMnNAauiEZ68/87wsfv+chZrhZsVp0+LZHmxSLpYiSQ3bj7eVrF3mGcFeVSomieN6mVTX8Afc0wIhv1R7NClXeyf3opsXsc4YrMO44ZicUnxPzfXWNh3Ci8BB+GEgNza5WGfL1kYxCFPfo6L75jdtkp4pP527v/o90TLbvOFwsk2kQyCiAtgz+puqwttezQBY2KAUTGU66/w7/oGz1Ae2AQnc2k0eXmC5cywvhF3QEdJt4vcCdEN5ZFXgpy93NpRlqRJxs7Fe7QhG4x9ppxmbmJX8pb7IXj1OBZzzqjmXhVzBt4Dlvl6GPMJcbSl8FMesG2ESHaNSoGEXt5U7R0XQhzm91XlfaQ2eEFmZ5yX1WjZFbXpoSpeu+h0yZJu42u20vAsiFxuLz7WNVLMDA9PEoWqn6BB/cvL4YEMX1uUfmTSUXldvb4yu8l8IhBO+oO5UfmORFBd5VgB23OqaO2QTFaGrSugpMjhD6pZHsdtdd7jQQy8aMC8APXSoV7U8illCFd75wgio7fYiK4jXTDnbaIvq+h4JfCG4VgMiUJ/fHr95+waYBIJIhMfi+q9P2sgxSaQkIHThFPgWlMcJy9zvhRyImz5ItDeLsuRIeVHRYzm0zftNnQadAstXyEZ1UjU9zaUDFyWhFH2ARajqHOTsLwaIXZz3QvVDkeWB6kk4IYmzyOQm8SF6x7nCr+9USADE1U3ju2tdN7ZrWrOH9CEQ4BM97szLKcyfHfnlVYYYjP0ARkGVkgttpV2KRtTeeGQlORFgH4tevtEb+lJHRrlREFrjqVcxY4iG9TcdFt/EibBp+Yu282bttgAMpBzC08R76VGZ06qniI6A6XFAZSaMPy/9EWOYnSSstNNv0TRCvGX3I+zOdQ/lR0xBMpVeUj5RXsZPS18jWUP8bxJKMxPSU27233q49p9S6fyfgQaDlQhG7VSBJbqmub1XN2LTK5MGs97Hp5ggJAXbag1TNb2mE/JEHb5JNLLnMoY6TMgp8z+EYmAOP6jHlmyu07c4aLYvYejxinOjhzlrr0sburml0vlv1KxoH0Ep/YVZPgirUrkeAq3qKG1UNy26QWWu+/7ZLUHM5k5S93u7R4xIRVQSx9wQipC3y9GdXSs9hp/kEIcVcITSpvdwKjkruSJSDU+XMoaeAlg6UIdSQTI2zYBKknXjMKWyPGSuBAuvM6vpQXHw0WsCA5drdZ4ILbjgscn5VxL6X2Vq8UpMFAjUIbSoHU8GzgjWBZquFk1qNEGRWKN3+UU6bWt6c2A8lrD/BCpXDVsX90AO5Yf4T8Vyt1MwBz3WDemVCkgCEbkcfvAYefiCUojyFj3Wt4QedhWTryNuK0Tdthw0FQNLME/u8xvsBIRHjkU3yBFzT+31NMUpP05nsbUgRRzJAdWRyGvo8suHXZxnTaX2VB/RE1d+6CG/rFE71umN1svizC5YBMMg7HUpShRI8TQJclrmWfVvCbmM7HuGu8OGbXKStWjUF73uTrHQenWQCamH5j4kq6d+rU8MQRlERKbBTe9jSZVouUeG4z1nFTohkOCqdD/E7xgFtuAlJGrv4E/0OKkkZgMxhRjET0B8p2nSXXLnMpJH/pssr2GhxUDZki3fEOPmWiR9YzzC6n8PNx2x80n7wMCXPaHIK0dCFKBZXQKZJ9BWm3wAo6DkhVDSDo9+lc+ZMZlhPPTdCJAtaC2DC8K+VdPvWMn+WfB/eHX6wIACunGftsSX6WZgIFTMo4V9TAme5dMLHmEtXO//LaLUS4NeqVlUSPlHisnNx6QWkbYlrDSiA0ijVnw0OcYsloIIBnNqnF6nL9zI8SMxFbv90Q/KMMoc6a6wpYNp1z9Q4TA/a1CAF4b6jXoNn+sFbi+2xUP/3qnJkYgSU7x2lpZCxrPL/RVr2f+K/6vvrRocs9cm6PGu2f+UhB0XGmYo0MNSZsXUWYACAyUZEl08ULg57I1vM+GIG/pVvKrFDAnx6+ITykci3sU+kibMgpUIpBzVcBRT+lao/1gvwLF3V0R8zXns0UrhGFbUSlkwjF42KfPvBAIAFSoRjUhf8wOndK3jtJ4naU6BekH9SlrrXNgj6wlw42ce9xavRTIkE/R8Csjp+Digqc2+HGEBtTVczKFXwT043S1LbQIvhiF9O+ZAh9cfMpvRZF9kasJ5ZnN9b3dEJqnFUsptxTogOHfFi6i84XUsBfVEDQolvpqo/4tzGHQ33HBPS6ZP24pmc+Sg2uUvzbSXPXrbGsUPNWBS2RPDVORUy+lbFbAhxpF80UAs3VCiBi9YQuvyA1wzmp/Q/TOsC0ktN6YazlArYdogX7Ak14kN9mTfyKDUX6UrRNxzdy1rPiHxuJk/XeWItIoxR14MtIXdipLslVo23iH57c/NSDnHWgANgjVvWx3kJjIeTFLX07ewKo6qs8vCTFStCAx6UVXFfcZ6Jj3isfHX1cRtFrIq7EFxpPOc//eV0CBbwvuMo8YErenTQh8pV+3Yzr96SY1IBid/Cx2uatXVub2FFBMzyWj8qFc8fajuYTHtz41euHrNRsGnc3BQ6FIn52I37pegYaXsfqcaDbNN4Cakin5QWPc1fZloFdJB8Zk7OZOUNCWgHllf4SMD+wNubH4/Ps0Nuze8S59vwfCvyMgGWpmIrgBWpaD+3GE4yhgN4bEGJ0N8QEBIFBsp18ceV4HVYXTyrP2gxz3SQhS+T/sQWhGfO0U8YOyxZJC7bZ93v2jPEUNF5oWdMo3woHxP6wLgfKJJosOgeCQSnUQInkq3k8uAsC0HSe/UXKUzt2aTw4vXysynkC+nevomC9I21HXlWw2BfTfrdGkBNJ025neyif0ESu5Gte476TpOLsDBDQMZHOiUrjUvkTbimnKOwka45V4ULn9DF95YQukXz4H1YM/SWdE4HBgpIV2ROdTp3Uhaqa+1Mh+Omp9zSifAfGTnX9DSwVa37trutEvwg0bTpFZpO+wJSoouHze7TzcwvmmjT5hf3YamJgwTJJbPbG2sZGCkkmNby6JSpEtUp7bIMOP3nlu+hsEmOZwBOX4SAjzyQwFPufOE3mDZMdJVOz1qOlSVDrGpezJbh1PJ0z4WGdbsOcL31pJ2fO/682Bk+N15McuR0soZjk4PvVZMwPkCLzmW0WzWR2upjH3ljEm9Ly/IIZ8zHsxtbsrp7v5s+6XG0wKRAXB+J1YisC78edkI7G2DhnDnZxcN/bzvZlppyirRuHa9oyGbWO4+UIQXIED5TyurbBnojzFN3zUL9z+MvKOZFM1S6/ru8dxh4uLLddJlzSeRDvEAgjJrPujJRqv+GX8kUmsnC1RvnIHqiVHTQSILvHQD8btZZ9jY/uvJC3wu6TXuo73SphNb5mht3HDw6fiEpMexGZBCpo+mt+lrz1WgrhqRW1t6pRjXpocPEnpjBwLyGJJrEV4sSbSNUr0iVLllA+yWEUe2q9wihtnzxNl+Zj9MYQTLk7oXeIcf1Ca3LtIqr+tVxxa5rKpzCcufdP5jHtLmkG/VuWoRNV3xvBgXxEf4eT/HyC5Mz3fxj3bCyAQleW/j+G9WOy84mvN9D9mTgozGryfRuW87rJW0wKHON8fzyNjQ+ueZ8Qrni/ZvwCIHsr0lvcr6K7u4PFJSiGKq7jGaKUhnL315ibjw9sBjn9f9AfZycM+0YoCVYupt0F3E7sTk4fko8qQJ6kj0AO/6N1Jx9EMRYxpoyjpPZF8UJkhvY3vRveQb5J7HD0PX/6o0n7v35bv2/3yTHiUPzIsGtE7GJlnGFO9ZIoJj5m1Cu85vQVD6HOGXgR8V6Lb8159cYHA5hI7v9XQ4uZh7NJxkhnaUQ4VthvyVQANF/lBDHljIo3LlLmIR7281i2CISDoXdT2gto8DWFQpYzil1w+8LhimRd7ryXZx3RfyWka5G+y+KSpqAg5FlSdPZBQyC0amSSClGYfFQ3OJMESLW0F8AQZPp15OQyGSnQlmRT4KirVpBQI8NdCt/HTPKToqB6D4fKT+MilqwTXACHlocJYfbdoC22dL6FZJ216X0EfGeXZEcOnGhngmjx8xc1iz5dhb4zjMWZ//2bNeurJQRzgD9cP/tbfa3v60OXoYi8kZBJoIFnb2rWCalLfvkzx9or+zVSffZl+llddswBZyR+ibLI/qdXHzo9LG6TeSLINzNqgy6nyijUp9F5JwQ7QvIvG8SBDivIJvcCGFnTWX04P4GL+zwKbN9TVXxHV8kb64okBoBe5AIwWf2G3g1TsuJRGwpEq87msWamhAO9xySpJRrJRqQrU1y0BI5GT87pNkM32U0GaSKsWH81Y137KUkEDSh0b7XoEHIcHfJywQm6q3sFvpdgAjAJ4sAoaHWmdsPypMXDkHYp4pUbsTOaxHUac3NwJ7gses1a+OU4U4Lf0ZkjImhN3bIA7zXjkMxZkoRTLcfEkOBi9bluUU0d27wJfJw9yxUvWLQfdm4e0D0XBnlTojNKMkXRxdLzZcaBm2XuCAD53V8aNAic08p9B75IX4rq8VDeM7BCJYyLus6YkRQE7CaFNXIxpwXZC5rWGIOdKfZ/ryiCVLS1dmTo1aMe961C2lAcXczlIc8kzsw3JQynSg3P1VNBZ9kxbVdp4m83S6oUj10NU4rv3twV98dZvimujKJCeU1mVIhSX6wYVpp9Jrjpc00kUgbCnKNum1bYnd0bqhnD41zN7ma5FVr/yytNtTK5tTHfcCkHXqdZdnRaiKG/0jdQLkqK2eJyR02i5Ht9ANljSnfeI7fKlNnO0GxCOBNkxXCh3HpeO1hsNTUOBZFC26Jr5A3aYBX98/YRwcayi6WJz0RatdEYxK2XMqWXNplV0PcvNmbQj2IiY68TGdnM/N/NbIJeP2Qwxj9e0ZTk74OQXfJNxn6QeVEhwra+/Uh1Dl0vAVlgjPElQKsPeBaP5tPFwcIyIHh+wuxZ1Tkjc5QTqTyHVYxYspy7WPie/5/ETdfTDJSlPllsVp4s6cVN6Kl3U+HeE2qHmHAIvFeffWQclviI5u4sOpqZei/nEQqSk6xHMD8KJM9zXe91Kh/NfKZeWhl4iAwYzO1rCOemdZoIkszGSe8XNelc9L7vO7eNw4WwlL19aqQjz9UXWKKxGSjF9o58tinsPrmq+k95OBKprYg6GjfP+YK/YrKN+Q4wtg9xER47SNiLr5Y0qaxQYj+biFcVBNuVWOan4OPQmcLLFCyyePut1Izc4OHjdfuxfMNjUJ4lAZbxe2XuygPzpgHprFNl+S7LTVmgQYesmvdjxQH7VGEeCyE+8VqxDMen3UoASD69mBFuQyCpnoq0HXuY6S2clG3f2Iw1EWWKe6EYLSzRa5OF7hJZWwIEzDB3hl2NMdgOFtkHm2dA3ompMO1BJG2ZKto4id8ZmQWNKD9vLqEMbUDNZUCCmlTAmPz3I6TnaL7ToMhAmccHvaVKsDR5h9b3p2BK7oQkmaL7mgc8yr14Axoyam0lTObZSgWXW34ggIEkWE7KTppZu1ED0MN0lFcKzseWet8A5+w6PsShAG6t8lY/2h0Pdv2PJKURotTNe6N/0/dj4sqY8mdakhdPfNedHiAD3dj4u/bCCAgP/oorEU+Swu4If/oDJWGQLHI/uUmUaAgIa1oHnEx3XyjwPe/pqYUkTOHgreSpIsQ4vy04sTdsHjFmBNQNz9l6tAmO1jXYmntMHa7U+iU/wXfG8cZmbPwlenxk664jrM+Ch0mZJyJbVe9QedMa4E//OD7rd92kkgIx/18TN33ffqv9pbgudIeMxTVhchgDIb5Ap7aLEpW0JV5vgcyDvk1OGBGQm/dtSVHDET+mMCXt8HmV+vcEuq9X/fHE7vwRIonletsTgLavbd725MLgkJoagVH9+SJlxEbUGW3xReEsSSWTJobQQ9fzASmvW5DnkoKVmBp3BAt7Y/e9fGg7PK5P7odJFuI4zNoSacINHU+YuBJo4ZX4/WSYm+r3cNZGUeo44fkEd29yes1NlOYzEUzNKVQBnLlIa3lkB5O5avdLmjn2FGOPZ2PMkQn8EyMS9kMbduko6y8lOVVhDp4CtUN2fyFAw/x/O7B2/vQYEmny5kEz7G/5RDlTjUJ/Do0474HjZQDAyIszxj6JLXNv/PehxsnBjWmQxhVcXP+rcXFzSvMcx0nqAVyKTPKX/3+VY6cZ3Vi6+Ge/phiLzO7BVVnefE84LzlTazHNrTVN00jU/RE35+iruCELsc/37B5Q1kAHJj7ls9UYkL+OnwazbvCyfC31qZv+wpo2yAKgbRW/9huz/rez1iLGZco0oAZavNSQUDGVZ2aqiH5Sd3hEJsDo8DDSgHFXKOM7ZRSPYlOeg6h07p6E+x9tIrTojglvS86q4ulE6ur3ODxn/L7k3Tl6U2emjb3oeRX/0hKfNvXrr1QIZOV32Z9L200+rQiSMmWekw6J4te5EhgJ1qfj4Jr3UMyFlsr+fusOLl9JpBSqgZFtgGR07shnMEBwZsMH7JTaaDbKv3/gNk4nq+UB4Hp8/sst/ZLv/Z1TOII+4/1GLBnO+fFjwt1aqL78veItEbLH1PJmwoWWJ3vByj0n0ByeMIvNKQMLPjT7lI+Xmsxe9SyjMgn5FxkzKrqocnAaLlTMX5Jj/rqYGFBe15J1iBJPfZyyaVxwZEecGyQBSok6DSoUIC3/j8Pg46E+ywPwZ6FtpYyyZZQi/1JaDeHIIwLzxwrvU0nrO1oBv5G+p/dFQbYPnXX0+6WkPdAfB4WZD8Qwju6nNAiK5ZSH2/Dmi94zDf+hH/jzMFmytsNe3wLBsZWrLm0FKjhdgs7DAVs8BcsBDIynQ2OY22Tp8NyQ/R7TtKu31eL9pTgYmPhNWgx8kDawfQs8pCktPaUVdTayoXQULyz2OqCJNpfY6hq0+NSuIP1wcsaW97uEHQjv9mVwji+Hhcz5lbPJ/gVaj07QGdSBhXEyAvWHYViQQXFiYMNqTdLpPC1zuHw2KfEoXNtRed12MvGDBDOA8DZdq6OFVNn09P4aMiVhVLxteH3hQMMPodNFoWHonG1yy3bWw7dqoz8Oc5XvUe3oPllwqVLORvFwAKajpVZhuEhzeok8s8c0u1hoQHgvWRH/x39XiZRuamGJ8jAA8aB2C7+tFC2nCbv2CcZ0ui0sXlugurpywQMXbiiSWsUXI8Zo/c6fuA2v7ONGQAcbXVsD4sYAQ40s5pGit9On+hjditpxG3S1Y4FnBGHohO2nbFXgWnXLXkRHaKUMF20ku8khM3/Q+mKOouDMoLJkNAf0eD9K3kbGQnEt6YprnlnPy1ppZJvPpJWgeK9XkLxArYWMunJN92Qr1bIqxb3dQiZxg2bcvR177nC6RyfKpGFnZkqtmFOu2iNXKoKb/hKavSbS99gArobhMeNcNrRuKp5qTcGWzrLBlKBenmD+nZ+LkD/kV8dechanczcHBGEIDSLYHdj0p7JvLbBr5N/nOHQ9iQFkW4MRd4RqabuSxknGhveMGM4q8oM+L6/NsmYVsACx3Nu4pCVgu8MKSH7VKj5L2Oxb7HhWJqVY6oFTuuQkyiMkZoXZPfF/QgE2VCx4664OvU32Kp/BsodLk2Byis29qma/6dscgf8NAE/hVbUrXKj9u6EmN2hEEv8WUN0DYom6lEZIA33RWP/ceIWO3g1tUJGPKeyb7nDxEN95dqAo3SjDU1pTbsbYsV6cOE4ckpgQ0cuvZc529wqsrmH8fr9SUlpRR4tcKIF0pyiSQ4Exq3C+LPWVfdiDZbIERhUotY+KWu03tKEtt/k/zGzqNe9XfzuMGlVapm3xoYeh7L4rhKBiQ6Rr0YwmeEoD9SJiFA6giM4ZY6prJpMxx1EJVbM8b8UNw9c4kmz7KSTaHf7aly8dZCfS6CfPbsvDuTlzeCLGM9+kUof2Ckt9P3tKmF2G6L4bTmQUMJLGn4RcyTFUfEoS5EK9gtjMBYErhwFfpl/MIaPcwDbfx4izx+djB8CXaggYUweXPoOkLDd21tVFGpvS/gMMyOepiqvXZCCe5cOFCKrCdpx3+T4rkRHLsFNF2TQtbWEAkF1MK3kthQ432SjBWXlQq1TlaM/ZNomZdaicPOLL689yFqN9nPHbQIXP+/JYYRF1ymETItTtxZYNFKSRZ+BcP19py4MWoZtMbsty3pLVl6hdNcZiP3Jh/a+KlCBdlsJbbS3NYePIcrIsi+TEQ0KSWBr/lSMbrZMiOMMcA06NYg0ke7t1SgvR0QmIUYYxgjK16P/Jh0FNx1OZspHiZGA82Ep1hjCQgw//IoSxiwQi8sgDHGbxuKdHUrFx/OKf0N6ySSfiAwtkK8IcmxtIMlWOGTZGf5j6Plr/temBDGEbqcJ0x26Ml4B6wYl1obgZlddagIL7P0XCyLf5sYfLCuedY57BlTLkCi8p4CZUYaWnQc+FsfKf1Pbo6Ka0AGG7iTQboA5lmKK3W/0dS3SDwV0VAk04iCp8VlII4AURDuu5dCGqMT/p0Ss1aLeKdwNXGywfAGJKZYuAu5LNAQbOamvdTJAwMaOuQqDidz6INmO/Lha8VPw/oL8UkgOp2Kvo8qPqd3Wh50Mignhlb0kY733nyRFpFHscMI7PmjHC7LkOUSFGczywGF0zzEfDJzs1RN0N3uInYK7rHflBP2ydnmViUl2mFtcM0NjI5qnKulep1ky0KSDLrTMqbJBY3gryYj5Sm9Yw5zHkfl9aR6yNWiXdQ3x9GB+Ys0bVJS4ltJ+7JJ9wXj9sSGiE3A2aBMyvfMneRW+4NAIINZ+nOW165HofHbQyldmPRh1Vmen5tcjhM5LQxEKHeoCdnys43N3xcS/hPq+LZwL/AV9ZfcSkNDy9cqHKqH5vhQLLIhS5CkOSRW3q/7UWEZrSCvFdRNeof23MBZx8jNyw9ALF7o/WqDVeYfDyczIsOTNiFEZiRU7aU7Qghu+bAOGpc1ak/oJ8fdjhehyXi9Mr9IsnAlSv258l2y8+KP1pTX0Xu/RzhjhShtaDaA5Rd8WLNTrSWEqIsxvqxn9IHpXnfLuipxMIqM8QM49zk1YJgUN3k2vQzwN8j+PgZItiP0cux+bkz1jp8itQJqjlq6Kc8/31np4ig5gdJ108oQ5Mq12aG7gWF9VoZ9LKKaeE7rgk1m0A2r5his7n4ICuj7phA2Wjzl4GdtIIopDrUxGwiYHhQlLtwbSlt9Cbw0zvibDx0odkyakNksd2DbfdICm5k43oEEIN/ehHanlvV9eOGPQkWQHAEnxShoAvMa5EEZsy+namOOlX6MnJvD5Xz5DefA2ZL0g8gzoMU8C/RVxRY1WrWguC6MLMwyRij3aT0DmfuUNWCO1hCv3qpbQfTSWmU60fE/tMz8jnNkQb39rUuW+BkiCEH4gyQXqbItHbDhMRzd1ZjMMpy+2UXbln3xNW3JZXOZrbNf8jIRp/UIKCFequ3kNGRqu+JyhI86JlzVhsJmFVZdG7Fnt3CQFiXgDhGh5S2XQRssEKNm6n1QMQn7XQ2dDLZJEF9DIuNkkTIIwEDw33KYqIx2+0mO/izwWi300mGCY7FaL+FYl2/D0uth2daph4XdMKQ+mXoMoIxTyfa5lw5DchzP7UG/nd/WA+IPG7lKBlTvOmtBIVoVrsflV1pUT9KZpcKyv2ub/ki0EsXMvvfoRbT9T47nXIgMYCsL4jLELAUQ6Z//eNEbH0E1BDopK3DjWfgboHbJZ59823suWodhmGPypdUfSs678rFs1erFyw+Mp3sy1ZgmRgYCfCzh2OaE5uYkvYdrk26od79cM9A+z0of/fergL4LS2nWmyfoP74gGRzYpB7TTaE9S4kDPEItwsM3X8dU+Fa5DwiEGeybiff4aWRXYDboXcIoH0/5rOjRYnXSPsVC8aLyaxVho+Yud4x03BBCrIRV/46/WelzhHBFIfEzk3/Jwle9tls2E3EH3tDA7pGClgVyhzjaZ6gKA6EFYu1xyR8Z8cPSZ7HjbPBWPLkmiG7Z4/Z2LWWEz9hGp2pwqncG7dVVhisKJ4Mj2PwDPLC5klfufw2IgcUBAkJtMdc3bAQ8rzFg6896Z93ldu9aZC8aqCSmB/VxXFGEbi/9UWPrkOSnJQQRxeKcEozTfx+ipBo5Cz5A669Ac5Pa7klo+Fjo2KPbYVBMPByMEWYlGzONNLCmNIsIyY2/GUScyop/l8431DDWK+X77bhekd/AXIJnA33+FV4Jw+M09uV5Fte5lvVNgY1GWNb/IoUNuNxSmcij8NnQRyJQ0l+1inMVj2emBV6uq7kTJbDBGQiJ0Xf/fWr5Kvr9QJVClfQzxCORj4p0uVfzDORkNxqfKVnSKyCWrnD4hkdKYS1krnDf9Jx72V+FKd/exD8oo8NVTodM4TuNw/0FPVpvyYPV2yiQURn3pOsid3auZCV0LUNSxVr87iJMyFjdlEbhzY4L5K/bENws0WAM0nozSt8at2yexVdppVkzw8Xb9tbjTzBNYWTYztNZy9TIIAKnuq/xN55oEh9nojHEer6wGAyna0DB2znnMDyA1X92wgnFPhYVNnGo1L6cYgEPlEaQsxcQOttgGZbDQe7jMOKsauuaC/RcTfzXx5BKIXgs1uSwcHPm2QJi05//WGJcOE4YEyfjQb39z14l+v94QUKBDVM5W115+Ba5FHyr0B7HgQNvRCFErr2oRUSZrKr0dOadgR6UepJY16mYbs1j35RfG3WcmirksAefzZi2LO/wsuRpPLRINWf1Nq2hXwx27nENuONhTZg59GMWUNrOClqwDueM6kva0UpYZS4FAHfzJQsMtbZXO0HjmDJB2r9pnJ54s/7W6/yVt7ghot0e/4zCuhG63KbdzeQb42zjBVsMoSkn684m6sG2HG9fcoqu6s5bmVWZaxU5RAwb8/Ld0vX7szmCWdDSy9UgpaHaSZV7lQTCX7Pw3u2ZdT2gcK3AfL8r3XE2eVMpZGY9M8CPgOC0YuTX+O8GLCaMvhS8JhV9NmDaB3idKLU9UzVircPe6A5MoAc/gSR7yViae3rlzFmQrgQbkwJSbnDpIjka6ODAd9VQKN/267Rw/s79+qI4DVx+jHB8WkVGXLci37x1xOE8UoA9k04ifXX0EkZXhzjSZcKgHINzqh+bJkk1lDNRGeRbcP+KSn+dKpEG4TYxJqLfGntZx5zGhcyMjOpRJBLZ9sjQ+Rzt8pMTfCk8Sp4ZsJ+drDXMIGxk3FNglrduSgkDXMtsk+2emZfJdumx8tlDYKT+JHHwalZvc7sfsutMeTlIfs5mNxjfqEj57o1wg5zcUCelF+D9RtJb1xI/gNxRdQNQQcRxYuVTmkzy6xeIxRma9UAh+4wX1ZfvTkl1DQlzs7B7hXIWOWtNPN3VuWVLiODHxu9DBynIER58xv6uCCJaqmDe9ejjSNXFNoe4lSkgrUqbvV3+QzJwkzXqkaDroWFWzx7DsuEaAtj6cHVBqAgso7shHqPOn9VtIr0/51su2ihIorTsWoANWA7qCToOGl83nMFRt5+K6aZ5KSm6fqzTKu+iGLIcLgcGCzmjxDTOZkHf/TMFOWoB8YonCVMCel9XZeHD54h+quWdn/Me6R/feGIAhmjjw5s3FAomYHnaF5+m9hleRYpb99XJZf0SXblhwt9CU5Xrwck7OiVrbRxVnvgC91P5eMe8eb8yfssQUjXlqvKtYWQkNKGKUTcF1PsZanDWiSelJJX+OxBrL1l5EB/kABx5O6KSGDDMyEvf2yXa0jGXoHF//uNvpHjTlfIQV/zfTvMGlfMS+FtEohJh0qJsO11ejP3MYSDYGLibVnIXjmnAS/3wosn2eZMQ2W1niCOZogXg8gmaqNaQn9eT2NoVdvScnqfeXibKtYTtKitkuApsUOFxnQjObsFM9o10VJVKkwFC75+wP2HpMjWd0ZeSWusdfB3HOpQ3cXuYzd0S8J0Y49K/ClICkYr0v5pry5WkIEBbIbYyvZryB7a3//JMQgLjWfmsJuxtRqD5mOOG9oWayLLy7zDHACko6Mu6YTiiHkAluArKPxrdmhx+g/uz4Dr0JmbdXySOMBfYrsKTrK3gN/ziFHxN2Y2egsJ999q1cTjfGX5K+Cko/UAqfCvtenSdsg4KXaqlgd7KR6HTKAWNvgEYNiWcedf27uPBr6cQ8HV/DrEbYe62MHkYtErAzxMHhjghjit6eXrtxFWYsVbsJ84/VOFSJLHXXFgNvg1b49zGVTD+QdJfWs8QVnyIgdqMmZ0Guj4Gaxgd9I2kvtyLB4WSI3hAYGPSuGlsdf+RHjJIL1DWNkSXp1KzHNkTvCVlNuVu0Eqgc2FsZNdes35HsTyEqwCNpY7fqyO95FMIoNNCTz6d5SeMzzdZ3b7lzdaTrWnCEJ6vrGqeEtg2sRvfKVSf1H0rMazB3h0i0Uey2fodH1L5qr4osr+OcizqXtxkEbYRJ05FjkYWzs3mux3NlBwAJA9Ixuim0+bZI8E07gGEj9zrAqDoyagryUsYKYT6k2AcOYIrBbyDI6D0D2J/gT5oS2DcQrP+Q5+bPem1wCfSp7dyklE06CaUZ0+or+vWrpL1Lfo6n0uAeSH7O/JE51PQPr+Doz6pz3J91/E1kipQ6MD5tKQXedfx+j4081MI9+E+6qa6ojm99+R7oFcAIWAc51TCwCKoWOsUXFa+asFaScRCPYnTDh0R6P9nMA1mP9WGExhZ9APA8YB0XXXABD34ElI1RntmSvSBOZGvVzeL8FPt6hnebPJJ917g0DxqMbdu2lmZ2iOGBqXzuExRgCH9lbjmkbeOALGyUsIvA54/xwhejg5seO9KUCzqAQWnkUiKjEDDQT5EPp6z9nMRMWmYJ+ur2ioiHDOaeeg82jNq3nE0AV7ldTMzICT5KR1zurtZJ0tV2s84z9+5f5G4zyMo7B6cUFwUDUE2lHj/QXMoInjPA70lrphzNh4ZdeXXns3esYdiTjYvsxVWmrOpMDcwbIGafLtxo0J0bBK2sr8jgliNnKeic9/Z7a89/dRO72UE7vSPtaiSIQo2HPu+OB5AeLzvg9XtKxWAK0MvveSmuVmN/2zpSFjTQdALNM+R4QW9P/V1AsN10fZw4sndLTlrO1x4usIht5f9xCGYuDj0kqx1TAIeE4SY97J58Zn8bznQOPNouwua7YSpCo5akplPx89LUIwvsBWnoS6n1LxZ2l7MtmcGhyh9dZpWGq9w+dfiQYRo0gECLFlBRzcZj3bTuolnRB0T9VRYX2J9hz63cTQjbDWUdWnQeke/X/RYrdzzdEZzY9dHCsFRDDt8jKlwzmYUDWwkT/AFeb+XHRNUK0KAA7+vkL8s6BrdudCNVceHbz5yJcItAjtYO+3+pzlgIuPyFtJznrNWh7RzT95RakezVbShcCBhxl7hYqmG5GnAU4QzzCJDwKYYtZhK8CEp35kOkh3z6MtfHVkomjFSAG/nqRcxNUqSgVWn6fu0gbUqKI0pLXhZ94Xw/JtkyjZRA1QOfQ79fhHLezfNl1om+CJZ8HpgmnKjrbDc/CUiRsqJQQi4MQs3BQaByzG79PQUe1RN2y8qfgPTbW2OtNx+/K1+2KJFcxpGxskX/TaNpaIwsaSMrdMlZas+cgLEwC0D3bVg/xdR5eyqAYWEd9tesiyoKI6kJHvmE+kNew+o7lPWmOpn6eLNqBPDrnIh4WOlNtJ4F19cZa6oav037VJyjlJ72Ru2AmBgk54GdFpNduY8IpdVzXX9ojzdGYgSOR/rtEIdApogIu/YV39ARfpdD7WiHmIrEDs6HJL4H3tjepD7jaSH0IwzQDAsd/4JrT0a1p127EMACCiaiP0jV8evZhQh0k6vvfb/94tbPTirp8xT27pAzyu4r0RQFeRCH0bFMOhNU0CQdKZEo2uZXnuTco9FisjlJzaAkFEFzghm1vCclSbFd/ZEpVFePZEcxFnTalLFsNRySh1nfpFfsKP3kIa7L8KIGnF1i4zBkQN9bWKbPYsXIEoQlucrBK620knMsZ2yirhkvfHm5aP6yopN/9UAGcz0+wf2xAeocJJbjiLdgdJJbIBjCnlLDFak9qhiVCnDjEsOqATJPkzavSEefllg62SU0U/nLqBbNjrasTAxKv3SwlGqNOFdW5GzJ4c5PrPqXj4Ku5+ybxERY42mRdBV9k4syQ7NEVp+q4mNmFncb3G7fA6QSUW4L4aREyQ/J9M123aBsWvvna5xhnAZoyf7aNAM83yJGsyq33liio+gjVdwpgYskouoQl5JzBvwjctZ1OQSM5ZfQUBpEbUdZxBftW25Xl2CVG4ZbkZxeWpqaLmi3Qax5yijtv0O5jOvT0PwGgwUjxyGv01Y02yMKWQ0u5UVJ3Xx4M1ez03yjBaWUIC1idcxSwHx374o6QRu/emyL1G0pRd5UCcgcWCzMZpCMhNdcH0jC6xfxrwoO/dp+8INC2l297xNzahJRz0H6kNdECxXBaE1h+rpG8sAAw2KYGSje7bBken70n6qcxJ75GUnZWmnnIyXJPioJ/qlDBHAHJGifBzh9VhKQ1ru9eBgqd4xzEtAy8e3mGnNI7ygz/87caAO+naru1x2SkjyleL4SzFJF+rEtVBt2/Yg0tXj02GhOIkeNt0i5upC3T5xeTcT/Mmp5C63xyozLF0krjMAsD1nMfEvJH4rDYBJloQilYNACpvs0plb8MoykX676nDcN22BIS9zgDICaJOp2vEc/hc/1+W4Q00rdjoLIdc6BxlrRWH6Thh+K046+Z97GyKvdVuCqe41Tuo05N84iwjK47WROTINEf+ai1Wr8NWmVFhHTFA1Q2c39WFo5JEA5R6UG0WWJ5tyo5Omyx9CYQoi9IMl4vai/ARDA39Qg/IVwO8A9zp7lx1K2+gtVjupegKrqbJMKR/DFfRx8Ct0Ls4rREXFz2Z4MZfWD7JUPRz39BlmX+lJUiRScTU/xyqzbDA+ooh+lGyQT4Gx6mYXompoS5+XHXFPbDZdUa/rUnLRhmXY2oRVxqmB305kTnevA7NIVyw0Gbkm09fb1ZcmYeZdgZ5n2JJvanuvXRtF0N3goTDKBF0RoX4pt16hdOPvjYA4UlOhZKJxn5hHRveDsM+LC4jh7Tu4e3vOTn1cdM0aHfl7ZXKq5mBeNCmbmCQlGH16iJyeUcRI6edUKmR9clM8m3j/pN7N19WbWL4g6nX+TON/oBws9fpLE5HEwwyIcqQTMkss6j3vmWfUdQ0u+044EkimNKxzBuLvh0lUW22saSf57OP4RGvolUCtCdDfwmtB3Ls2G5qz1PgFRDXm/Kd5cibHGvMJLPbMRydG7aWHphndtEVvfXJir1JRxnNGRnQeYBKzTnBueC3tnaJt/a7BqSizgERROu+LZnAMUmPZXLsGkeL72e0Av11RpiMMmi5KEYu6CPweNHQOeCdi3KtGkBB463+yDMRVCqR6pVhyycTt1f+6+6IUT3yjPtx/igybS5t03CnleLqukYcGbbFtS0T/L6voNhUpGlOw8UvaD0AP5PZH2HwFYx/6oxzhdskg9dFL7ALWq7cdEfmrtl06qNWXRUmmNpjkkWfAoudoXzE3P7cyvEBwT2IHeoKuaAA7Yc20fbm9ZK+y7og4BQnhSwre2fEAroR1YKNl6/A5aHAvU1m33AX1PpRichkNXTKVa7UZIPzJFaEpD0LjUneOjI47dQubudPKX3BSU2BPv75u4dTohsE/hpmIGVgxpPLeoB3RY5DSAQ6xawcXhKNCha5RvvQL+CLhAMcDHgQuvBbCBzoFyeBSofyw9llezeTCVEZr7/VQLbjcMgMLzQO57veK+Db9yITCFtl7yk0d7xkKoSFHT+v3SoT8JM5nUiwxJBrjW/dFTXA1/u0OXA/R5+K9kcqktQmDyh63aDwlXPIA6DIRAwCs/dBIsc74hWEpgdCnykl65I9yS/yJytpqIA1U24qMD/cduTwyrqy/EeYgtuLcB41Ql4s/WoAyYYQ2bZmfqhIXFAsaXK26i6E+A2vZ24nzcoRO1oEO7q3XftvVBIAFT1Xnk2fs33U2RCHO/EYT4I3G8rYNWA0ZFZpPdg+6cI1/ZqyYVpVeKan7ypfxetU9Zes0qlqkO7rZf6znDiCzr2zA8adTKCn99KPseKj+yQKhwk+kgzJe2U3uDgzTqeMrQCWyfg4+84jRex0wQyNHuObdMhGrdf40xgprCn/cXlkpmEox2Ygi8E0IvleRP/4zHgUkKaZIWUsHzj7p5CB3AyEt03auehKHSmogJkVzv1b6yifUOXSzMnrKOUOnmQVk2s6+GIVtYTqV809jMw9TzyHvVO1saEKGeLgytnAQT2clr35ozWpSd9ruVa/X41+ISmFglReZdCIKvOsa0X8GBzlTCjRvot4GmTVOtEKgg3AnxcEMuL+vMay7Gas2GbbVQKp67X/QrObGXZqcEa2iyY2jVk9TboNTGoftwO+81xKfXwaGB+IqzAKtPczbX2f4G2zhkutWiGaWMNYIyuEaZSSo1g66iMhRGm0HigUG0McBV6fCsGhKBtfzNmsOX68wmyTWsyHSqDLbo75XSFQRE9wRshhleClXJ8OsCl+32BpLjl5ZeOG+Azi5T3kxf1YBP974LhHohVO06H/Qz0CFdF7wtBLHkK/AAovyj5GQd0IODFHZxxm5KLV5q9xKAJ0nlPSNVgnfs9wNfZniQ3kYewW26bTwzviSno72mVga9L72dDTBAXyhb0U7SqzrUgBc2oMhNDEiI13w2o4fVKq+XTlAnHYIwCruhH0uKmzwl7I54p9ziiDwCIMZvswOVijPNu49cZ6BZ8DwUVLlzX6bgLaU1U9BWvt39XyuwbEfqNAJvUqr3NeaPtK4mNRuDJ8H/grb/E0xECPvT5G3Lp+zhNYakbSBLD72/M2oPj9/2WcC3yA3u++nEGGYsD5HxqtXQW7giVrJWQGfj13JjhpPklM3DDb4Yi7nyVIr5SHNhAg0UDL7R6w8g1ZipbGNacQ9boTHxUua7jIY//n7BrAcOnta/ltkJi5JApG7BQ856lhV7b5UZzmaUzVXXilFTtfW6WYwmDs1gfd6Pwlhm0wG1oKDRuorrc+1CeA4zVBre1ruqpAixDHtnNQ4cq1Na7ny8P50gsspljlpT8kwGYsBYgAdSFY9LO52q7S9DAdlYu8RJ83JHyy1Os8Pu98MTDbNXNgHkNmjuikASlQCPdllgQdWKcSpJqaUkuULeqPxvMFLgvZkDcy26mHtdmmzxHFAEidagQ5vcEKsx8p2M+uKavU8RWwv0IRRlOCWSgqtkMky8mEtf7yYAdirDq0cPtahxHFkDa+LQs2f/k0JrVw8sG0UMDjt3PF+RWeEIRcg3mAVn8dqWc69cXWIbr7hpbI0gJXDkTDZ+vCthWpOVeupmjL9Anugic5DjekG97s/AueL4uxQ1K72IWwnMLLQr9bhrmqvxjkTsTWuFcyt0QvqKI8xvzEGSOTV2lUUyNbHc3rpcHMK63lprjkn7tnFktirZicM+zKeCOsFBW6SZmKnVEtUnhC4ANR0Z0Wqkxv5wt6U70C0FWnGRLmIkwhlY58em4dJY76mkkOtX4G4drEZrJASngO6yr1h8dBzCSit6mgQ5p9AsdiOh2ntjHW6QDedVa+bPWMQ0tK73waTPxYP74bx5c6cE8siY4LYbof6WHnZxVv2grMvnQBWMARsF6FcvbaVPq7H2g/GNKU7gJffi/tOMuUkoXejE0Ezp16g=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8</TotalTime>
  <Words>759</Words>
  <Application>Microsoft Office PowerPoint</Application>
  <PresentationFormat>Widescreen</PresentationFormat>
  <Paragraphs>104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Bain Core</vt:lpstr>
      <vt:lpstr>think-cell Slide</vt:lpstr>
      <vt:lpstr>Workforce Deck 5 – Job Postings and Compensation analysis</vt:lpstr>
      <vt:lpstr>Auto body technician related roles constitute majority of the total technician/ field related job postings across most players followed by detailers and painters</vt:lpstr>
      <vt:lpstr>Target witnessed an increasing trend in number of job postings for technical/ field related roles between 2019-22</vt:lpstr>
      <vt:lpstr>Target has majority of job postings for technical/ field roles in New York and Massachusetts regions; Competitors hire technicians across MSAs in US</vt:lpstr>
      <vt:lpstr>Across players, majority of job postings for technical/ field related roles are published in NY-NJ-PA MSA; Target is hiring across regions incl. New Haven, Springfield etc.</vt:lpstr>
      <vt:lpstr>Target has relatively higher average compensation for both Mid-Senior and Junior level roles compared to most peers</vt:lpstr>
      <vt:lpstr>Target offers competitive compensation across different sales roles compared to other player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werve</dc:title>
  <dc:creator>Sikka, Ayushmn</dc:creator>
  <cp:lastModifiedBy>BCN</cp:lastModifiedBy>
  <cp:revision>5</cp:revision>
  <cp:lastPrinted>2017-02-15T14:23:56Z</cp:lastPrinted>
  <dcterms:created xsi:type="dcterms:W3CDTF">2023-06-08T06:48:02Z</dcterms:created>
  <dcterms:modified xsi:type="dcterms:W3CDTF">2025-05-29T12:23:12Z</dcterms:modified>
</cp:coreProperties>
</file>